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7.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8.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0.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1.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2.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charts/chart3.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charts/chart4.xml" ContentType="application/vnd.openxmlformats-officedocument.drawingml.chart+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97" r:id="rId1"/>
    <p:sldMasterId id="2147483699" r:id="rId2"/>
    <p:sldMasterId id="2147483701" r:id="rId3"/>
    <p:sldMasterId id="2147483706" r:id="rId4"/>
    <p:sldMasterId id="2147483714" r:id="rId5"/>
    <p:sldMasterId id="2147483719" r:id="rId6"/>
    <p:sldMasterId id="2147483774" r:id="rId7"/>
    <p:sldMasterId id="2147483779" r:id="rId8"/>
    <p:sldMasterId id="2147483790" r:id="rId9"/>
    <p:sldMasterId id="2147483800" r:id="rId10"/>
    <p:sldMasterId id="2147483818" r:id="rId11"/>
    <p:sldMasterId id="2147483823" r:id="rId12"/>
  </p:sldMasterIdLst>
  <p:notesMasterIdLst>
    <p:notesMasterId r:id="rId38"/>
  </p:notesMasterIdLst>
  <p:sldIdLst>
    <p:sldId id="256" r:id="rId13"/>
    <p:sldId id="294" r:id="rId14"/>
    <p:sldId id="295" r:id="rId15"/>
    <p:sldId id="296" r:id="rId16"/>
    <p:sldId id="297" r:id="rId17"/>
    <p:sldId id="298" r:id="rId18"/>
    <p:sldId id="290" r:id="rId19"/>
    <p:sldId id="291" r:id="rId20"/>
    <p:sldId id="299" r:id="rId21"/>
    <p:sldId id="300" r:id="rId22"/>
    <p:sldId id="269" r:id="rId23"/>
    <p:sldId id="270" r:id="rId24"/>
    <p:sldId id="303" r:id="rId25"/>
    <p:sldId id="304" r:id="rId26"/>
    <p:sldId id="305" r:id="rId27"/>
    <p:sldId id="306" r:id="rId28"/>
    <p:sldId id="307" r:id="rId29"/>
    <p:sldId id="308" r:id="rId30"/>
    <p:sldId id="272" r:id="rId31"/>
    <p:sldId id="275" r:id="rId32"/>
    <p:sldId id="276" r:id="rId33"/>
    <p:sldId id="292" r:id="rId34"/>
    <p:sldId id="293" r:id="rId35"/>
    <p:sldId id="281" r:id="rId36"/>
    <p:sldId id="266" r:id="rId37"/>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15793CF-415D-47BA-B810-BE28F38DE05F}">
  <a:tblStyle styleId="{F15793CF-415D-47BA-B810-BE28F38DE05F}"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199" autoAdjust="0"/>
  </p:normalViewPr>
  <p:slideViewPr>
    <p:cSldViewPr snapToGrid="0">
      <p:cViewPr varScale="1">
        <p:scale>
          <a:sx n="101" d="100"/>
          <a:sy n="101" d="100"/>
        </p:scale>
        <p:origin x="95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316137185102325"/>
          <c:y val="6.4775987640697419E-2"/>
          <c:w val="0.4329896907216495"/>
          <c:h val="0.85079327236285096"/>
        </c:manualLayout>
      </c:layout>
      <c:barChart>
        <c:barDir val="bar"/>
        <c:grouping val="stacked"/>
        <c:varyColors val="0"/>
        <c:ser>
          <c:idx val="0"/>
          <c:order val="0"/>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errBars>
            <c:errBarType val="both"/>
            <c:errValType val="stdErr"/>
            <c:noEndCap val="0"/>
            <c:spPr>
              <a:noFill/>
              <a:ln w="9525">
                <a:solidFill>
                  <a:schemeClr val="tx1">
                    <a:lumMod val="50000"/>
                    <a:lumOff val="50000"/>
                  </a:schemeClr>
                </a:solidFill>
                <a:round/>
              </a:ln>
              <a:effectLst/>
            </c:spPr>
          </c:errBars>
          <c:val>
            <c:numRef>
              <c:f>Sheet1!$A$1:$E$1</c:f>
              <c:numCache>
                <c:formatCode>General</c:formatCode>
                <c:ptCount val="5"/>
                <c:pt idx="0">
                  <c:v>40</c:v>
                </c:pt>
                <c:pt idx="1">
                  <c:v>211</c:v>
                </c:pt>
                <c:pt idx="2">
                  <c:v>74</c:v>
                </c:pt>
                <c:pt idx="3">
                  <c:v>59</c:v>
                </c:pt>
                <c:pt idx="4">
                  <c:v>0</c:v>
                </c:pt>
              </c:numCache>
            </c:numRef>
          </c:val>
          <c:extLst>
            <c:ext xmlns:c16="http://schemas.microsoft.com/office/drawing/2014/chart" uri="{C3380CC4-5D6E-409C-BE32-E72D297353CC}">
              <c16:uniqueId val="{00000001-B576-45A4-97E3-02829EBC67C2}"/>
            </c:ext>
          </c:extLst>
        </c:ser>
        <c:ser>
          <c:idx val="1"/>
          <c:order val="1"/>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dLbl>
              <c:idx val="0"/>
              <c:layout>
                <c:manualLayout>
                  <c:x val="0.2108883999066424"/>
                  <c:y val="-1.9189054666643272E-3"/>
                </c:manualLayout>
              </c:layout>
              <c:tx>
                <c:rich>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r>
                      <a:rPr lang="en-US" dirty="0">
                        <a:solidFill>
                          <a:schemeClr val="bg1"/>
                        </a:solidFill>
                      </a:rPr>
                      <a:t>20,278</a:t>
                    </a:r>
                  </a:p>
                </c:rich>
              </c:tx>
              <c:numFmt formatCode="#,##0;&quot;-&quot;#,##0;0" sourceLinked="0"/>
              <c:spPr>
                <a:solidFill>
                  <a:schemeClr val="accent5"/>
                </a:solidFill>
                <a:ln>
                  <a:solidFill>
                    <a:schemeClr val="dk1">
                      <a:lumMod val="25000"/>
                      <a:lumOff val="75000"/>
                    </a:schemeClr>
                  </a:solidFill>
                </a:ln>
                <a:effectLst/>
              </c:spPr>
              <c:txPr>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1"/>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4304943372703051"/>
                      <c:h val="5.2343763494983223E-2"/>
                    </c:manualLayout>
                  </c15:layout>
                </c:ext>
                <c:ext xmlns:c16="http://schemas.microsoft.com/office/drawing/2014/chart" uri="{C3380CC4-5D6E-409C-BE32-E72D297353CC}">
                  <c16:uniqueId val="{00000002-B576-45A4-97E3-02829EBC67C2}"/>
                </c:ext>
              </c:extLst>
            </c:dLbl>
            <c:dLbl>
              <c:idx val="1"/>
              <c:layout>
                <c:manualLayout>
                  <c:x val="0.23553168583930306"/>
                  <c:y val="-3.2525817035411169E-3"/>
                </c:manualLayout>
              </c:layout>
              <c:tx>
                <c:rich>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r>
                      <a:rPr lang="en-US" dirty="0">
                        <a:solidFill>
                          <a:schemeClr val="bg1"/>
                        </a:solidFill>
                      </a:rPr>
                      <a:t>5,561</a:t>
                    </a:r>
                  </a:p>
                </c:rich>
              </c:tx>
              <c:numFmt formatCode="#,##0;&quot;-&quot;#,##0;0" sourceLinked="0"/>
              <c:spPr>
                <a:solidFill>
                  <a:schemeClr val="accent5"/>
                </a:solidFill>
                <a:ln>
                  <a:solidFill>
                    <a:schemeClr val="dk1">
                      <a:lumMod val="25000"/>
                      <a:lumOff val="75000"/>
                    </a:schemeClr>
                  </a:solidFill>
                </a:ln>
                <a:effectLst/>
              </c:spPr>
              <c:txPr>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1"/>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3010454360995056"/>
                      <c:h val="5.3486950427044183E-2"/>
                    </c:manualLayout>
                  </c15:layout>
                </c:ext>
                <c:ext xmlns:c16="http://schemas.microsoft.com/office/drawing/2014/chart" uri="{C3380CC4-5D6E-409C-BE32-E72D297353CC}">
                  <c16:uniqueId val="{00000003-B576-45A4-97E3-02829EBC67C2}"/>
                </c:ext>
              </c:extLst>
            </c:dLbl>
            <c:dLbl>
              <c:idx val="2"/>
              <c:layout>
                <c:manualLayout>
                  <c:x val="0.19199480225656079"/>
                  <c:y val="-2.7240285194784983E-3"/>
                </c:manualLayout>
              </c:layout>
              <c:tx>
                <c:rich>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endParaRPr lang="en-US" dirty="0">
                      <a:solidFill>
                        <a:schemeClr val="bg1"/>
                      </a:solidFill>
                    </a:endParaRPr>
                  </a:p>
                  <a:p>
                    <a:pPr>
                      <a:defRPr>
                        <a:solidFill>
                          <a:schemeClr val="bg1"/>
                        </a:solidFill>
                      </a:defRPr>
                    </a:pPr>
                    <a:r>
                      <a:rPr lang="en-US" dirty="0">
                        <a:solidFill>
                          <a:schemeClr val="bg1"/>
                        </a:solidFill>
                      </a:rPr>
                      <a:t>22,972</a:t>
                    </a:r>
                  </a:p>
                  <a:p>
                    <a:pPr>
                      <a:defRPr>
                        <a:solidFill>
                          <a:schemeClr val="bg1"/>
                        </a:solidFill>
                      </a:defRPr>
                    </a:pPr>
                    <a:endParaRPr lang="en-US" dirty="0">
                      <a:solidFill>
                        <a:schemeClr val="bg1"/>
                      </a:solidFill>
                    </a:endParaRPr>
                  </a:p>
                </c:rich>
              </c:tx>
              <c:numFmt formatCode="#,##0;&quot;-&quot;#,##0;0" sourceLinked="0"/>
              <c:spPr>
                <a:solidFill>
                  <a:schemeClr val="accent5"/>
                </a:solidFill>
                <a:ln>
                  <a:solidFill>
                    <a:schemeClr val="dk1">
                      <a:lumMod val="25000"/>
                      <a:lumOff val="75000"/>
                    </a:schemeClr>
                  </a:solidFill>
                </a:ln>
                <a:effectLst/>
              </c:spPr>
              <c:txPr>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1"/>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0570700454802552"/>
                      <c:h val="4.3474336255400953E-2"/>
                    </c:manualLayout>
                  </c15:layout>
                </c:ext>
                <c:ext xmlns:c16="http://schemas.microsoft.com/office/drawing/2014/chart" uri="{C3380CC4-5D6E-409C-BE32-E72D297353CC}">
                  <c16:uniqueId val="{00000004-B576-45A4-97E3-02829EBC67C2}"/>
                </c:ext>
              </c:extLst>
            </c:dLbl>
            <c:dLbl>
              <c:idx val="3"/>
              <c:layout>
                <c:manualLayout>
                  <c:x val="0.27672306666862923"/>
                  <c:y val="2.9284298775124093E-3"/>
                </c:manualLayout>
              </c:layout>
              <c:tx>
                <c:rich>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r>
                      <a:rPr lang="en-US" dirty="0">
                        <a:solidFill>
                          <a:schemeClr val="bg1"/>
                        </a:solidFill>
                      </a:rPr>
                      <a:t>   451</a:t>
                    </a:r>
                  </a:p>
                </c:rich>
              </c:tx>
              <c:numFmt formatCode="#,##0;&quot;-&quot;#,##0;0" sourceLinked="0"/>
              <c:spPr>
                <a:solidFill>
                  <a:schemeClr val="accent5"/>
                </a:solidFill>
                <a:ln>
                  <a:solidFill>
                    <a:schemeClr val="dk1">
                      <a:lumMod val="25000"/>
                      <a:lumOff val="75000"/>
                    </a:schemeClr>
                  </a:solidFill>
                </a:ln>
                <a:effectLst/>
              </c:spPr>
              <c:txPr>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1"/>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5897734356467866"/>
                      <c:h val="3.9589435157999016E-2"/>
                    </c:manualLayout>
                  </c15:layout>
                </c:ext>
                <c:ext xmlns:c16="http://schemas.microsoft.com/office/drawing/2014/chart" uri="{C3380CC4-5D6E-409C-BE32-E72D297353CC}">
                  <c16:uniqueId val="{00000005-B576-45A4-97E3-02829EBC67C2}"/>
                </c:ext>
              </c:extLst>
            </c:dLbl>
            <c:dLbl>
              <c:idx val="4"/>
              <c:layout>
                <c:manualLayout>
                  <c:x val="0.14308933516403802"/>
                  <c:y val="4.3248093791814456E-3"/>
                </c:manualLayout>
              </c:layout>
              <c:tx>
                <c:rich>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r>
                      <a:rPr lang="en-US" dirty="0">
                        <a:solidFill>
                          <a:schemeClr val="bg1"/>
                        </a:solidFill>
                      </a:rPr>
                      <a:t>11,678</a:t>
                    </a:r>
                  </a:p>
                </c:rich>
              </c:tx>
              <c:numFmt formatCode="#,##0;&quot;-&quot;#,##0;0" sourceLinked="0"/>
              <c:spPr>
                <a:solidFill>
                  <a:schemeClr val="accent5"/>
                </a:solidFill>
                <a:ln>
                  <a:solidFill>
                    <a:schemeClr val="dk1">
                      <a:lumMod val="25000"/>
                      <a:lumOff val="75000"/>
                    </a:schemeClr>
                  </a:solidFill>
                </a:ln>
                <a:effectLst/>
              </c:spPr>
              <c:txPr>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1"/>
              <c:showSerName val="1"/>
              <c:showPercent val="0"/>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38246255711314975"/>
                      <c:h val="4.8385182873168467E-2"/>
                    </c:manualLayout>
                  </c15:layout>
                </c:ext>
                <c:ext xmlns:c16="http://schemas.microsoft.com/office/drawing/2014/chart" uri="{C3380CC4-5D6E-409C-BE32-E72D297353CC}">
                  <c16:uniqueId val="{00000006-B576-45A4-97E3-02829EBC67C2}"/>
                </c:ext>
              </c:extLst>
            </c:dLbl>
            <c:spPr>
              <a:solidFill>
                <a:schemeClr val="accent5"/>
              </a:solidFill>
              <a:ln>
                <a:noFill/>
              </a:ln>
              <a:effectLst/>
            </c:spPr>
            <c:txPr>
              <a:bodyPr rot="0" spcFirstLastPara="1" vertOverflow="overflow" horzOverflow="overflow" vert="horz" wrap="square" lIns="38100" tIns="19050" rIns="38100" bIns="19050" anchor="ctr" anchorCtr="1">
                <a:norm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1"/>
            <c:showSerName val="1"/>
            <c:showPercent val="0"/>
            <c:showBubbleSize val="0"/>
            <c:showLeaderLines val="0"/>
            <c:extLst>
              <c:ext xmlns:c15="http://schemas.microsoft.com/office/drawing/2012/chart" uri="{CE6537A1-D6FC-4f65-9D91-7224C49458BB}">
                <c15:showLeaderLines val="0"/>
              </c:ext>
            </c:extLst>
          </c:dLbls>
          <c:errBars>
            <c:errBarType val="both"/>
            <c:errValType val="stdErr"/>
            <c:noEndCap val="0"/>
            <c:spPr>
              <a:noFill/>
              <a:ln w="9525">
                <a:solidFill>
                  <a:schemeClr val="tx1">
                    <a:lumMod val="50000"/>
                    <a:lumOff val="50000"/>
                  </a:schemeClr>
                </a:solidFill>
                <a:round/>
              </a:ln>
              <a:effectLst/>
            </c:spPr>
          </c:errBars>
          <c:val>
            <c:numRef>
              <c:f>Sheet1!$A$2:$E$2</c:f>
              <c:numCache>
                <c:formatCode>General</c:formatCode>
                <c:ptCount val="5"/>
                <c:pt idx="0">
                  <c:v>1021</c:v>
                </c:pt>
                <c:pt idx="1">
                  <c:v>3001</c:v>
                </c:pt>
                <c:pt idx="2">
                  <c:v>4418</c:v>
                </c:pt>
                <c:pt idx="3">
                  <c:v>86</c:v>
                </c:pt>
                <c:pt idx="4">
                  <c:v>5484</c:v>
                </c:pt>
              </c:numCache>
            </c:numRef>
          </c:val>
          <c:extLst>
            <c:ext xmlns:c16="http://schemas.microsoft.com/office/drawing/2014/chart" uri="{C3380CC4-5D6E-409C-BE32-E72D297353CC}">
              <c16:uniqueId val="{00000007-B576-45A4-97E3-02829EBC67C2}"/>
            </c:ext>
          </c:extLst>
        </c:ser>
        <c:dLbls>
          <c:showLegendKey val="0"/>
          <c:showVal val="0"/>
          <c:showCatName val="0"/>
          <c:showSerName val="0"/>
          <c:showPercent val="0"/>
          <c:showBubbleSize val="0"/>
        </c:dLbls>
        <c:gapWidth val="100"/>
        <c:overlap val="100"/>
        <c:axId val="-1586969984"/>
        <c:axId val="-1586969440"/>
      </c:barChart>
      <c:catAx>
        <c:axId val="-1586969984"/>
        <c:scaling>
          <c:orientation val="maxMin"/>
        </c:scaling>
        <c:delete val="0"/>
        <c:axPos val="l"/>
        <c:majorTickMark val="none"/>
        <c:minorTickMark val="none"/>
        <c:tickLblPos val="none"/>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586969440"/>
        <c:crosses val="min"/>
        <c:auto val="0"/>
        <c:lblAlgn val="ctr"/>
        <c:lblOffset val="100"/>
        <c:noMultiLvlLbl val="0"/>
      </c:catAx>
      <c:valAx>
        <c:axId val="-1586969440"/>
        <c:scaling>
          <c:orientation val="minMax"/>
          <c:max val="3429"/>
          <c:min val="0"/>
        </c:scaling>
        <c:delete val="0"/>
        <c:axPos val="t"/>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586969984"/>
        <c:crosses val="min"/>
        <c:crossBetween val="between"/>
      </c:valAx>
      <c:spPr>
        <a:noFill/>
        <a:ln>
          <a:noFill/>
        </a:ln>
        <a:effectLst/>
      </c:spPr>
    </c:plotArea>
    <c:plotVisOnly val="0"/>
    <c:dispBlanksAs val="gap"/>
    <c:showDLblsOverMax val="1"/>
  </c:chart>
  <c:spPr>
    <a:noFill/>
    <a:ln>
      <a:noFill/>
    </a:ln>
    <a:effectLst/>
  </c:spPr>
  <c:txPr>
    <a:bodyPr/>
    <a:lstStyle/>
    <a:p>
      <a:pPr>
        <a:defRPr/>
      </a:pPr>
      <a:endParaRPr lang="de-DE"/>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505602987681315"/>
          <c:y val="2.9369062629848203E-2"/>
          <c:w val="0.16179775280898878"/>
          <c:h val="0.96272401433691757"/>
        </c:manualLayout>
      </c:layout>
      <c:barChart>
        <c:barDir val="bar"/>
        <c:grouping val="stacked"/>
        <c:varyColors val="0"/>
        <c:ser>
          <c:idx val="0"/>
          <c:order val="0"/>
          <c:spPr>
            <a:solidFill>
              <a:schemeClr val="accent1"/>
            </a:solidFill>
            <a:ln w="9525" algn="ctr">
              <a:solidFill>
                <a:schemeClr val="accent6"/>
              </a:solidFill>
              <a:prstDash val="solid"/>
            </a:ln>
          </c:spPr>
          <c:invertIfNegative val="0"/>
          <c:dLbls>
            <c:dLbl>
              <c:idx val="0"/>
              <c:layout>
                <c:manualLayout>
                  <c:x val="0.15604462859747237"/>
                  <c:y val="4.4840472735653359E-3"/>
                </c:manualLayout>
              </c:layout>
              <c:tx>
                <c:rich>
                  <a:bodyPr wrap="none"/>
                  <a:lstStyle/>
                  <a:p>
                    <a:pPr>
                      <a:defRPr sz="1200">
                        <a:solidFill>
                          <a:schemeClr val="tx1"/>
                        </a:solidFill>
                        <a:latin typeface="+mn-lt"/>
                        <a:ea typeface="+mn-ea"/>
                        <a:cs typeface="+mn-cs"/>
                        <a:sym typeface="+mn-lt"/>
                      </a:defRPr>
                    </a:pPr>
                    <a:r>
                      <a:rPr lang="en-US" sz="1200" dirty="0"/>
                      <a:t>6,029,832</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8984039316774812"/>
                      <c:h val="4.0978535002797911E-2"/>
                    </c:manualLayout>
                  </c15:layout>
                </c:ext>
                <c:ext xmlns:c16="http://schemas.microsoft.com/office/drawing/2014/chart" uri="{C3380CC4-5D6E-409C-BE32-E72D297353CC}">
                  <c16:uniqueId val="{00000000-65F0-4090-AE32-53585715F4C3}"/>
                </c:ext>
              </c:extLst>
            </c:dLbl>
            <c:dLbl>
              <c:idx val="1"/>
              <c:layout>
                <c:manualLayout>
                  <c:x val="0.14448287257196235"/>
                  <c:y val="6.2886930481952166E-3"/>
                </c:manualLayout>
              </c:layout>
              <c:tx>
                <c:rich>
                  <a:bodyPr wrap="none"/>
                  <a:lstStyle/>
                  <a:p>
                    <a:pPr>
                      <a:defRPr sz="1200">
                        <a:solidFill>
                          <a:schemeClr val="tx1"/>
                        </a:solidFill>
                        <a:latin typeface="+mn-lt"/>
                        <a:ea typeface="+mn-ea"/>
                        <a:cs typeface="+mn-cs"/>
                        <a:sym typeface="+mn-lt"/>
                      </a:defRPr>
                    </a:pPr>
                    <a:r>
                      <a:rPr lang="en-US" sz="1200" dirty="0"/>
                      <a:t>10,402,086</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F0-4090-AE32-53585715F4C3}"/>
                </c:ext>
              </c:extLst>
            </c:dLbl>
            <c:dLbl>
              <c:idx val="2"/>
              <c:layout>
                <c:manualLayout>
                  <c:x val="6.5524467585909921E-2"/>
                  <c:y val="1.2226048459553267E-2"/>
                </c:manualLayout>
              </c:layout>
              <c:tx>
                <c:rich>
                  <a:bodyPr wrap="none"/>
                  <a:lstStyle/>
                  <a:p>
                    <a:pPr>
                      <a:defRPr sz="1200">
                        <a:solidFill>
                          <a:schemeClr val="tx1"/>
                        </a:solidFill>
                        <a:latin typeface="+mn-lt"/>
                        <a:ea typeface="+mn-ea"/>
                        <a:cs typeface="+mn-cs"/>
                        <a:sym typeface="+mn-lt"/>
                      </a:defRPr>
                    </a:pPr>
                    <a:r>
                      <a:rPr lang="en-US" sz="1200" dirty="0"/>
                      <a:t>25</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7.3241233833714933E-2"/>
                      <c:h val="3.5542140216709664E-2"/>
                    </c:manualLayout>
                  </c15:layout>
                </c:ext>
                <c:ext xmlns:c16="http://schemas.microsoft.com/office/drawing/2014/chart" uri="{C3380CC4-5D6E-409C-BE32-E72D297353CC}">
                  <c16:uniqueId val="{00000002-65F0-4090-AE32-53585715F4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813164</c:v>
                </c:pt>
                <c:pt idx="1">
                  <c:v>9195884</c:v>
                </c:pt>
                <c:pt idx="2">
                  <c:v>433137</c:v>
                </c:pt>
                <c:pt idx="3">
                  <c:v>9346</c:v>
                </c:pt>
                <c:pt idx="4">
                  <c:v>485945</c:v>
                </c:pt>
                <c:pt idx="5">
                  <c:v>108</c:v>
                </c:pt>
                <c:pt idx="6">
                  <c:v>3543</c:v>
                </c:pt>
                <c:pt idx="7">
                  <c:v>636</c:v>
                </c:pt>
              </c:numCache>
            </c:numRef>
          </c:val>
          <c:extLst>
            <c:ext xmlns:c16="http://schemas.microsoft.com/office/drawing/2014/chart" uri="{C3380CC4-5D6E-409C-BE32-E72D297353CC}">
              <c16:uniqueId val="{00000003-65F0-4090-AE32-53585715F4C3}"/>
            </c:ext>
          </c:extLst>
        </c:ser>
        <c:dLbls>
          <c:showLegendKey val="0"/>
          <c:showVal val="0"/>
          <c:showCatName val="0"/>
          <c:showSerName val="0"/>
          <c:showPercent val="0"/>
          <c:showBubbleSize val="0"/>
        </c:dLbls>
        <c:gapWidth val="40"/>
        <c:overlap val="100"/>
        <c:axId val="-1204122592"/>
        <c:axId val="-1028749408"/>
      </c:barChart>
      <c:catAx>
        <c:axId val="-1204122592"/>
        <c:scaling>
          <c:orientation val="maxMin"/>
        </c:scaling>
        <c:delete val="0"/>
        <c:axPos val="l"/>
        <c:majorGridlines>
          <c:spPr>
            <a:ln>
              <a:noFill/>
            </a:ln>
          </c:spPr>
        </c:majorGridlines>
        <c:majorTickMark val="none"/>
        <c:minorTickMark val="none"/>
        <c:tickLblPos val="none"/>
        <c:spPr>
          <a:ln w="28575" algn="ctr">
            <a:solidFill>
              <a:schemeClr val="accent6"/>
            </a:solidFill>
            <a:prstDash val="solid"/>
          </a:ln>
        </c:spPr>
        <c:crossAx val="-1028749408"/>
        <c:crosses val="min"/>
        <c:auto val="0"/>
        <c:lblAlgn val="ctr"/>
        <c:lblOffset val="100"/>
        <c:noMultiLvlLbl val="0"/>
      </c:catAx>
      <c:valAx>
        <c:axId val="-1028749408"/>
        <c:scaling>
          <c:orientation val="minMax"/>
          <c:max val="9195884"/>
          <c:min val="0"/>
        </c:scaling>
        <c:delete val="1"/>
        <c:axPos val="t"/>
        <c:numFmt formatCode="General" sourceLinked="1"/>
        <c:majorTickMark val="out"/>
        <c:minorTickMark val="none"/>
        <c:tickLblPos val="nextTo"/>
        <c:crossAx val="-1204122592"/>
        <c:crosses val="min"/>
        <c:crossBetween val="between"/>
      </c:valAx>
      <c:spPr>
        <a:noFill/>
        <a:ln w="25400">
          <a:noFill/>
        </a:ln>
      </c:spPr>
    </c:plotArea>
    <c:plotVisOnly val="0"/>
    <c:dispBlanksAs val="gap"/>
    <c:showDLblsOverMax val="1"/>
  </c:chart>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090286376948329E-2"/>
          <c:y val="3.7276089901964952E-2"/>
          <c:w val="0.41955555555555557"/>
          <c:h val="0.96272401433691757"/>
        </c:manualLayout>
      </c:layout>
      <c:barChart>
        <c:barDir val="bar"/>
        <c:grouping val="stacked"/>
        <c:varyColors val="0"/>
        <c:ser>
          <c:idx val="0"/>
          <c:order val="0"/>
          <c:spPr>
            <a:noFill/>
            <a:ln>
              <a:noFill/>
            </a:ln>
          </c:spPr>
          <c:invertIfNegative val="0"/>
          <c:dPt>
            <c:idx val="0"/>
            <c:invertIfNegative val="0"/>
            <c:bubble3D val="0"/>
            <c:spPr>
              <a:solidFill>
                <a:schemeClr val="accent2"/>
              </a:solidFill>
              <a:ln w="9525" algn="ctr">
                <a:solidFill>
                  <a:schemeClr val="accent6"/>
                </a:solidFill>
                <a:prstDash val="solid"/>
              </a:ln>
            </c:spPr>
            <c:extLst>
              <c:ext xmlns:c16="http://schemas.microsoft.com/office/drawing/2014/chart" uri="{C3380CC4-5D6E-409C-BE32-E72D297353CC}">
                <c16:uniqueId val="{00000000-6066-4978-83CD-D853231C585E}"/>
              </c:ext>
            </c:extLst>
          </c:dPt>
          <c:dPt>
            <c:idx val="2"/>
            <c:invertIfNegative val="0"/>
            <c:bubble3D val="0"/>
            <c:spPr>
              <a:solidFill>
                <a:schemeClr val="hlink"/>
              </a:solidFill>
              <a:ln w="9525" algn="ctr">
                <a:solidFill>
                  <a:schemeClr val="accent6"/>
                </a:solidFill>
                <a:prstDash val="solid"/>
              </a:ln>
            </c:spPr>
            <c:extLst>
              <c:ext xmlns:c16="http://schemas.microsoft.com/office/drawing/2014/chart" uri="{C3380CC4-5D6E-409C-BE32-E72D297353CC}">
                <c16:uniqueId val="{00000001-6066-4978-83CD-D853231C585E}"/>
              </c:ext>
            </c:extLst>
          </c:dPt>
          <c:dLbls>
            <c:dLbl>
              <c:idx val="0"/>
              <c:layout>
                <c:manualLayout>
                  <c:x val="0.21369996817012216"/>
                  <c:y val="2.8491223498954461E-2"/>
                </c:manualLayout>
              </c:layout>
              <c:tx>
                <c:rich>
                  <a:bodyPr/>
                  <a:lstStyle/>
                  <a:p>
                    <a:pPr>
                      <a:defRPr/>
                    </a:pPr>
                    <a:r>
                      <a:rPr lang="en-US" dirty="0"/>
                      <a:t>165</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53943624669856138"/>
                      <c:h val="4.0542324869401104E-2"/>
                    </c:manualLayout>
                  </c15:layout>
                </c:ext>
                <c:ext xmlns:c16="http://schemas.microsoft.com/office/drawing/2014/chart" uri="{C3380CC4-5D6E-409C-BE32-E72D297353CC}">
                  <c16:uniqueId val="{00000000-6066-4978-83CD-D853231C585E}"/>
                </c:ext>
              </c:extLst>
            </c:dLbl>
            <c:dLbl>
              <c:idx val="2"/>
              <c:layout>
                <c:manualLayout>
                  <c:x val="0.4114876943238005"/>
                  <c:y val="-0.11569502878152008"/>
                </c:manualLayout>
              </c:layout>
              <c:tx>
                <c:rich>
                  <a:bodyPr/>
                  <a:lstStyle/>
                  <a:p>
                    <a:pPr>
                      <a:defRPr/>
                    </a:pPr>
                    <a:r>
                      <a:rPr lang="en-US" dirty="0"/>
                      <a:t>9,433</a:t>
                    </a:r>
                  </a:p>
                </c:rich>
              </c:tx>
              <c:numFmt formatCode="#,##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58851257280173386"/>
                      <c:h val="6.5912554967291412E-2"/>
                    </c:manualLayout>
                  </c15:layout>
                </c:ext>
                <c:ext xmlns:c16="http://schemas.microsoft.com/office/drawing/2014/chart" uri="{C3380CC4-5D6E-409C-BE32-E72D297353CC}">
                  <c16:uniqueId val="{00000001-6066-4978-83CD-D853231C58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46</c:v>
                </c:pt>
                <c:pt idx="1">
                  <c:v>146</c:v>
                </c:pt>
                <c:pt idx="2">
                  <c:v>241</c:v>
                </c:pt>
              </c:numCache>
            </c:numRef>
          </c:val>
          <c:extLst>
            <c:ext xmlns:c16="http://schemas.microsoft.com/office/drawing/2014/chart" uri="{C3380CC4-5D6E-409C-BE32-E72D297353CC}">
              <c16:uniqueId val="{00000002-6066-4978-83CD-D853231C585E}"/>
            </c:ext>
          </c:extLst>
        </c:ser>
        <c:ser>
          <c:idx val="1"/>
          <c:order val="1"/>
          <c:spPr>
            <a:solidFill>
              <a:schemeClr val="accent3"/>
            </a:solidFill>
            <a:ln w="9525" algn="ctr">
              <a:solidFill>
                <a:schemeClr val="accent6"/>
              </a:solidFill>
              <a:prstDash val="solid"/>
            </a:ln>
          </c:spPr>
          <c:invertIfNegative val="0"/>
          <c:dLbls>
            <c:dLbl>
              <c:idx val="1"/>
              <c:layout>
                <c:manualLayout>
                  <c:x val="0.32155489541836468"/>
                  <c:y val="5.3508013209299439E-2"/>
                </c:manualLayout>
              </c:layout>
              <c:tx>
                <c:rich>
                  <a:bodyPr/>
                  <a:lstStyle/>
                  <a:p>
                    <a:pPr>
                      <a:defRPr/>
                    </a:pPr>
                    <a:r>
                      <a:rPr lang="en-US" dirty="0"/>
                      <a:t>9,245</a:t>
                    </a:r>
                  </a:p>
                </c:rich>
              </c:tx>
              <c:numFmt formatCode="#,##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57793460539455677"/>
                      <c:h val="6.0882038245043096E-2"/>
                    </c:manualLayout>
                  </c15:layout>
                </c:ext>
                <c:ext xmlns:c16="http://schemas.microsoft.com/office/drawing/2014/chart" uri="{C3380CC4-5D6E-409C-BE32-E72D297353CC}">
                  <c16:uniqueId val="{00000003-6066-4978-83CD-D853231C58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95</c:v>
                </c:pt>
              </c:numCache>
            </c:numRef>
          </c:val>
          <c:extLst>
            <c:ext xmlns:c16="http://schemas.microsoft.com/office/drawing/2014/chart" uri="{C3380CC4-5D6E-409C-BE32-E72D297353CC}">
              <c16:uniqueId val="{00000004-6066-4978-83CD-D853231C585E}"/>
            </c:ext>
          </c:extLst>
        </c:ser>
        <c:dLbls>
          <c:showLegendKey val="0"/>
          <c:showVal val="0"/>
          <c:showCatName val="0"/>
          <c:showSerName val="0"/>
          <c:showPercent val="0"/>
          <c:showBubbleSize val="0"/>
        </c:dLbls>
        <c:gapWidth val="40"/>
        <c:overlap val="100"/>
        <c:axId val="-906810624"/>
        <c:axId val="-906814432"/>
      </c:barChart>
      <c:catAx>
        <c:axId val="-906810624"/>
        <c:scaling>
          <c:orientation val="maxMin"/>
        </c:scaling>
        <c:delete val="0"/>
        <c:axPos val="l"/>
        <c:majorGridlines>
          <c:spPr>
            <a:ln>
              <a:noFill/>
            </a:ln>
          </c:spPr>
        </c:majorGridlines>
        <c:majorTickMark val="none"/>
        <c:minorTickMark val="none"/>
        <c:tickLblPos val="none"/>
        <c:spPr>
          <a:ln w="28575" algn="ctr">
            <a:solidFill>
              <a:schemeClr val="accent6"/>
            </a:solidFill>
            <a:prstDash val="solid"/>
          </a:ln>
        </c:spPr>
        <c:crossAx val="-906814432"/>
        <c:crosses val="min"/>
        <c:auto val="0"/>
        <c:lblAlgn val="ctr"/>
        <c:lblOffset val="100"/>
        <c:noMultiLvlLbl val="0"/>
      </c:catAx>
      <c:valAx>
        <c:axId val="-906814432"/>
        <c:scaling>
          <c:orientation val="minMax"/>
          <c:max val="241"/>
          <c:min val="0"/>
        </c:scaling>
        <c:delete val="1"/>
        <c:axPos val="t"/>
        <c:numFmt formatCode="General" sourceLinked="1"/>
        <c:majorTickMark val="out"/>
        <c:minorTickMark val="none"/>
        <c:tickLblPos val="nextTo"/>
        <c:crossAx val="-906810624"/>
        <c:crosses val="min"/>
        <c:crossBetween val="between"/>
      </c:valAx>
    </c:plotArea>
    <c:plotVisOnly val="0"/>
    <c:dispBlanksAs val="gap"/>
    <c:showDLblsOverMax val="1"/>
  </c:chart>
  <c:txPr>
    <a:bodyPr/>
    <a:lstStyle/>
    <a:p>
      <a:pPr>
        <a:defRPr sz="12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085224641037517E-2"/>
          <c:y val="2.8602860286028601E-2"/>
          <c:w val="0.95182955071792497"/>
          <c:h val="0.94279427942794269"/>
        </c:manualLayout>
      </c:layout>
      <c:barChart>
        <c:barDir val="col"/>
        <c:grouping val="stacked"/>
        <c:varyColors val="0"/>
        <c:ser>
          <c:idx val="0"/>
          <c:order val="0"/>
          <c:spPr>
            <a:solidFill>
              <a:schemeClr val="tx2"/>
            </a:solidFill>
            <a:ln w="9525" algn="ctr">
              <a:solidFill>
                <a:srgbClr val="FFFFFF"/>
              </a:solidFill>
              <a:prstDash val="solid"/>
            </a:ln>
          </c:spPr>
          <c:invertIfNegative val="0"/>
          <c:dLbls>
            <c:dLbl>
              <c:idx val="0"/>
              <c:layout>
                <c:manualLayout>
                  <c:x val="0"/>
                  <c:y val="-5.5005500550055003E-4"/>
                </c:manualLayout>
              </c:layout>
              <c:numFmt formatCode="#,##0;&quot;-&quot;#,##0;0" sourceLinked="0"/>
              <c:spPr>
                <a:noFill/>
                <a:ln>
                  <a:noFill/>
                </a:ln>
              </c:spPr>
              <c:txPr>
                <a:bodyPr wrap="none"/>
                <a:lstStyle/>
                <a:p>
                  <a:pPr>
                    <a:defRPr sz="18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F5-4F9C-9CA6-6BC5DF19CA52}"/>
                </c:ext>
              </c:extLst>
            </c:dLbl>
            <c:dLbl>
              <c:idx val="1"/>
              <c:layout>
                <c:manualLayout>
                  <c:x val="0"/>
                  <c:y val="0"/>
                </c:manualLayout>
              </c:layout>
              <c:numFmt formatCode="#,##0;&quot;-&quot;#,##0;0" sourceLinked="0"/>
              <c:spPr>
                <a:noFill/>
                <a:ln>
                  <a:noFill/>
                </a:ln>
              </c:spPr>
              <c:txPr>
                <a:bodyPr wrap="none"/>
                <a:lstStyle/>
                <a:p>
                  <a:pPr>
                    <a:defRPr sz="18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F5-4F9C-9CA6-6BC5DF19CA52}"/>
                </c:ext>
              </c:extLst>
            </c:dLbl>
            <c:dLbl>
              <c:idx val="2"/>
              <c:layout>
                <c:manualLayout>
                  <c:x val="0"/>
                  <c:y val="0"/>
                </c:manualLayout>
              </c:layout>
              <c:numFmt formatCode="#,##0;&quot;-&quot;#,##0;0" sourceLinked="0"/>
              <c:spPr>
                <a:noFill/>
                <a:ln>
                  <a:noFill/>
                </a:ln>
              </c:spPr>
              <c:txPr>
                <a:bodyPr wrap="none"/>
                <a:lstStyle/>
                <a:p>
                  <a:pPr>
                    <a:defRPr sz="1800">
                      <a:solidFill>
                        <a:schemeClr val="bg1"/>
                      </a:solidFill>
                      <a:latin typeface="+mn-lt"/>
                      <a:ea typeface="+mn-ea"/>
                      <a:cs typeface="+mn-cs"/>
                      <a:sym typeface="+mn-l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F5-4F9C-9CA6-6BC5DF19CA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c:v>
                </c:pt>
                <c:pt idx="1">
                  <c:v>16</c:v>
                </c:pt>
                <c:pt idx="2">
                  <c:v>23</c:v>
                </c:pt>
              </c:numCache>
            </c:numRef>
          </c:val>
          <c:extLst>
            <c:ext xmlns:c16="http://schemas.microsoft.com/office/drawing/2014/chart" uri="{C3380CC4-5D6E-409C-BE32-E72D297353CC}">
              <c16:uniqueId val="{00000003-BBF5-4F9C-9CA6-6BC5DF19CA52}"/>
            </c:ext>
          </c:extLst>
        </c:ser>
        <c:ser>
          <c:idx val="1"/>
          <c:order val="1"/>
          <c:spPr>
            <a:noFill/>
            <a:ln>
              <a:noFill/>
            </a:ln>
          </c:spPr>
          <c:invertIfNegative val="0"/>
          <c:val>
            <c:numRef>
              <c:f>Sheet1!$A$2:$C$2</c:f>
              <c:numCache>
                <c:formatCode>General</c:formatCode>
                <c:ptCount val="3"/>
                <c:pt idx="0">
                  <c:v>2</c:v>
                </c:pt>
                <c:pt idx="1">
                  <c:v>5</c:v>
                </c:pt>
                <c:pt idx="2">
                  <c:v>12</c:v>
                </c:pt>
              </c:numCache>
            </c:numRef>
          </c:val>
          <c:extLst>
            <c:ext xmlns:c16="http://schemas.microsoft.com/office/drawing/2014/chart" uri="{C3380CC4-5D6E-409C-BE32-E72D297353CC}">
              <c16:uniqueId val="{00000004-BBF5-4F9C-9CA6-6BC5DF19CA52}"/>
            </c:ext>
          </c:extLst>
        </c:ser>
        <c:dLbls>
          <c:showLegendKey val="0"/>
          <c:showVal val="0"/>
          <c:showCatName val="0"/>
          <c:showSerName val="0"/>
          <c:showPercent val="0"/>
          <c:showBubbleSize val="0"/>
        </c:dLbls>
        <c:gapWidth val="40"/>
        <c:overlap val="100"/>
        <c:axId val="-1204118240"/>
        <c:axId val="-1204123136"/>
      </c:barChart>
      <c:catAx>
        <c:axId val="-1204118240"/>
        <c:scaling>
          <c:orientation val="minMax"/>
        </c:scaling>
        <c:delete val="0"/>
        <c:axPos val="b"/>
        <c:majorGridlines>
          <c:spPr>
            <a:ln>
              <a:noFill/>
            </a:ln>
          </c:spPr>
        </c:majorGridlines>
        <c:majorTickMark val="none"/>
        <c:minorTickMark val="none"/>
        <c:tickLblPos val="none"/>
        <c:spPr>
          <a:ln w="3175" algn="ctr">
            <a:solidFill>
              <a:schemeClr val="accent6"/>
            </a:solidFill>
            <a:prstDash val="solid"/>
          </a:ln>
        </c:spPr>
        <c:crossAx val="-1204123136"/>
        <c:crosses val="min"/>
        <c:auto val="0"/>
        <c:lblAlgn val="ctr"/>
        <c:lblOffset val="100"/>
        <c:noMultiLvlLbl val="0"/>
      </c:catAx>
      <c:valAx>
        <c:axId val="-1204123136"/>
        <c:scaling>
          <c:orientation val="minMax"/>
          <c:max val="35"/>
          <c:min val="0"/>
        </c:scaling>
        <c:delete val="1"/>
        <c:axPos val="l"/>
        <c:numFmt formatCode="General" sourceLinked="1"/>
        <c:majorTickMark val="out"/>
        <c:minorTickMark val="none"/>
        <c:tickLblPos val="nextTo"/>
        <c:crossAx val="-120411824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9">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styleClr val="auto"/>
    </cs:lnRef>
    <cs:fillRef idx="0">
      <cs:styleClr val="auto"/>
    </cs:fillRef>
    <cs:effectRef idx="0"/>
    <cs:fontRef idx="minor">
      <a:schemeClr val="tx1"/>
    </cs:fontRef>
    <cs:spPr>
      <a:pattFill prst="ltDnDiag">
        <a:fgClr>
          <a:schemeClr val="phClr"/>
        </a:fgClr>
        <a:bgClr>
          <a:schemeClr val="phClr">
            <a:lumMod val="20000"/>
            <a:lumOff val="80000"/>
          </a:schemeClr>
        </a:bgClr>
      </a:pattFill>
      <a:ln>
        <a:solidFill>
          <a:schemeClr val="phClr"/>
        </a:solidFill>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spPr>
      <a:ln w="19050" cap="flat" cmpd="sng" algn="ctr">
        <a:solidFill>
          <a:schemeClr val="tx1">
            <a:lumMod val="25000"/>
            <a:lumOff val="75000"/>
          </a:schemeClr>
        </a:solidFill>
        <a:round/>
      </a:ln>
    </cs:spPr>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drawings/drawing1.xml><?xml version="1.0" encoding="utf-8"?>
<c:userShapes xmlns:c="http://schemas.openxmlformats.org/drawingml/2006/chart">
  <cdr:relSizeAnchor xmlns:cdr="http://schemas.openxmlformats.org/drawingml/2006/chartDrawing">
    <cdr:from>
      <cdr:x>0.15871</cdr:x>
      <cdr:y>0.84903</cdr:y>
    </cdr:from>
    <cdr:to>
      <cdr:x>0.35235</cdr:x>
      <cdr:y>0.89287</cdr:y>
    </cdr:to>
    <cdr:sp macro="" textlink="">
      <cdr:nvSpPr>
        <cdr:cNvPr id="3" name="Text Placeholder 2">
          <a:extLst xmlns:a="http://schemas.openxmlformats.org/drawingml/2006/main">
            <a:ext uri="{FF2B5EF4-FFF2-40B4-BE49-F238E27FC236}">
              <a16:creationId xmlns:a16="http://schemas.microsoft.com/office/drawing/2014/main" id="{13D67EAA-2D9A-455F-90BA-F16D151699DB}"/>
            </a:ext>
          </a:extLst>
        </cdr:cNvPr>
        <cdr:cNvSpPr>
          <a:spLocks xmlns:a="http://schemas.openxmlformats.org/drawingml/2006/main" noGrp="1"/>
        </cdr:cNvSpPr>
      </cdr:nvSpPr>
      <cdr:spPr bwMode="gray">
        <a:xfrm xmlns:a="http://schemas.openxmlformats.org/drawingml/2006/main">
          <a:off x="287701" y="3895451"/>
          <a:ext cx="351008" cy="201141"/>
        </a:xfrm>
        <a:prstGeom xmlns:a="http://schemas.openxmlformats.org/drawingml/2006/main" prst="rect">
          <a:avLst/>
        </a:prstGeom>
        <a:solidFill xmlns:a="http://schemas.openxmlformats.org/drawingml/2006/main">
          <a:schemeClr val="accent1"/>
        </a:solidFill>
        <a:ln xmlns:a="http://schemas.openxmlformats.org/drawingml/2006/main">
          <a:noFill/>
        </a:ln>
      </cdr:spPr>
      <cdr:txBody>
        <a:bodyPr xmlns:a="http://schemas.openxmlformats.org/drawingml/2006/main" vert="horz" wrap="none" lIns="17463" tIns="0" rIns="17463" bIns="0" numCol="1" spcCol="0" rtlCol="0" anchor="ctr" anchorCtr="0">
          <a:noAutofit/>
        </a:bodyPr>
        <a:lstStyle xmlns:a="http://schemas.openxmlformats.org/drawingml/2006/main">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xmlns:a="http://schemas.openxmlformats.org/drawingml/2006/main">
          <a:pPr algn="ctr"/>
          <a:r>
            <a:rPr lang="en-US" sz="1200" dirty="0">
              <a:sym typeface="+mn-lt"/>
            </a:rPr>
            <a:t>30</a:t>
          </a:r>
        </a:p>
      </cdr:txBody>
    </cdr:sp>
  </cdr:relSizeAnchor>
  <cdr:relSizeAnchor xmlns:cdr="http://schemas.openxmlformats.org/drawingml/2006/chartDrawing">
    <cdr:from>
      <cdr:x>0.08447</cdr:x>
      <cdr:y>0.09931</cdr:y>
    </cdr:from>
    <cdr:to>
      <cdr:x>0.33771</cdr:x>
      <cdr:y>0.13715</cdr:y>
    </cdr:to>
    <cdr:sp macro="" textlink="">
      <cdr:nvSpPr>
        <cdr:cNvPr id="5" name="Text Placeholder 2">
          <a:extLst xmlns:a="http://schemas.openxmlformats.org/drawingml/2006/main">
            <a:ext uri="{FF2B5EF4-FFF2-40B4-BE49-F238E27FC236}">
              <a16:creationId xmlns:a16="http://schemas.microsoft.com/office/drawing/2014/main" id="{13D67EAA-2D9A-455F-90BA-F16D151699DB}"/>
            </a:ext>
          </a:extLst>
        </cdr:cNvPr>
        <cdr:cNvSpPr>
          <a:spLocks xmlns:a="http://schemas.openxmlformats.org/drawingml/2006/main" noGrp="1"/>
        </cdr:cNvSpPr>
      </cdr:nvSpPr>
      <cdr:spPr bwMode="gray">
        <a:xfrm xmlns:a="http://schemas.openxmlformats.org/drawingml/2006/main">
          <a:off x="153117" y="494456"/>
          <a:ext cx="459055" cy="188378"/>
        </a:xfrm>
        <a:prstGeom xmlns:a="http://schemas.openxmlformats.org/drawingml/2006/main" prst="rect">
          <a:avLst/>
        </a:prstGeom>
        <a:solidFill xmlns:a="http://schemas.openxmlformats.org/drawingml/2006/main">
          <a:schemeClr val="accent1"/>
        </a:solidFill>
        <a:ln xmlns:a="http://schemas.openxmlformats.org/drawingml/2006/main">
          <a:noFill/>
        </a:ln>
      </cdr:spPr>
      <cdr:txBody>
        <a:bodyPr xmlns:a="http://schemas.openxmlformats.org/drawingml/2006/main" vert="horz" wrap="none" lIns="17463" tIns="0" rIns="17463" bIns="0" numCol="1" spcCol="0" rtlCol="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a:sym typeface="+mn-lt"/>
            </a:rPr>
            <a:t>53</a:t>
          </a:r>
        </a:p>
      </cdr:txBody>
    </cdr:sp>
  </cdr:relSizeAnchor>
  <cdr:relSizeAnchor xmlns:cdr="http://schemas.openxmlformats.org/drawingml/2006/chartDrawing">
    <cdr:from>
      <cdr:x>0.10452</cdr:x>
      <cdr:y>0.51033</cdr:y>
    </cdr:from>
    <cdr:to>
      <cdr:x>0.28371</cdr:x>
      <cdr:y>0.55902</cdr:y>
    </cdr:to>
    <cdr:sp macro="" textlink="">
      <cdr:nvSpPr>
        <cdr:cNvPr id="7" name="Text Placeholder 2">
          <a:extLst xmlns:a="http://schemas.openxmlformats.org/drawingml/2006/main">
            <a:ext uri="{FF2B5EF4-FFF2-40B4-BE49-F238E27FC236}">
              <a16:creationId xmlns:a16="http://schemas.microsoft.com/office/drawing/2014/main" id="{13D67EAA-2D9A-455F-90BA-F16D151699DB}"/>
            </a:ext>
          </a:extLst>
        </cdr:cNvPr>
        <cdr:cNvSpPr>
          <a:spLocks xmlns:a="http://schemas.openxmlformats.org/drawingml/2006/main" noGrp="1"/>
        </cdr:cNvSpPr>
      </cdr:nvSpPr>
      <cdr:spPr bwMode="gray">
        <a:xfrm xmlns:a="http://schemas.openxmlformats.org/drawingml/2006/main">
          <a:off x="198829" y="2210551"/>
          <a:ext cx="340885" cy="210908"/>
        </a:xfrm>
        <a:prstGeom xmlns:a="http://schemas.openxmlformats.org/drawingml/2006/main" prst="rect">
          <a:avLst/>
        </a:prstGeom>
        <a:solidFill xmlns:a="http://schemas.openxmlformats.org/drawingml/2006/main">
          <a:schemeClr val="bg1">
            <a:lumMod val="85000"/>
          </a:schemeClr>
        </a:solidFill>
        <a:ln xmlns:a="http://schemas.openxmlformats.org/drawingml/2006/main">
          <a:noFill/>
        </a:ln>
      </cdr:spPr>
      <cdr:txBody>
        <a:bodyPr xmlns:a="http://schemas.openxmlformats.org/drawingml/2006/main" vert="horz" wrap="none" lIns="17463" tIns="0" rIns="17463" bIns="0" numCol="1" spcCol="0" rtlCol="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a:sym typeface="+mn-lt"/>
            </a:rPr>
            <a:t>119</a:t>
          </a:r>
        </a:p>
      </cdr:txBody>
    </cdr:sp>
  </cdr:relSizeAnchor>
  <cdr:relSizeAnchor xmlns:cdr="http://schemas.openxmlformats.org/drawingml/2006/chartDrawing">
    <cdr:from>
      <cdr:x>0.07321</cdr:x>
      <cdr:y>0.15542</cdr:y>
    </cdr:from>
    <cdr:to>
      <cdr:x>0.42673</cdr:x>
      <cdr:y>0.20597</cdr:y>
    </cdr:to>
    <cdr:sp macro="" textlink="">
      <cdr:nvSpPr>
        <cdr:cNvPr id="6" name="Rectangle 5"/>
        <cdr:cNvSpPr/>
      </cdr:nvSpPr>
      <cdr:spPr>
        <a:xfrm xmlns:a="http://schemas.openxmlformats.org/drawingml/2006/main">
          <a:off x="139272" y="673223"/>
          <a:ext cx="672526" cy="218966"/>
        </a:xfrm>
        <a:prstGeom xmlns:a="http://schemas.openxmlformats.org/drawingml/2006/main" prst="rect">
          <a:avLst/>
        </a:prstGeom>
        <a:solidFill xmlns:a="http://schemas.openxmlformats.org/drawingml/2006/main">
          <a:schemeClr val="bg1">
            <a:lumMod val="85000"/>
          </a:schemeClr>
        </a:solidFill>
        <a:ln xmlns:a="http://schemas.openxmlformats.org/drawingml/2006/main" w="9525">
          <a:solidFill>
            <a:schemeClr val="accent6"/>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algn="l" rtl="0" fontAlgn="base">
            <a:spcBef>
              <a:spcPct val="0"/>
            </a:spcBef>
            <a:spcAft>
              <a:spcPct val="0"/>
            </a:spcAft>
            <a:defRPr sz="1632" kern="1200">
              <a:solidFill>
                <a:schemeClr val="lt1"/>
              </a:solidFill>
              <a:latin typeface="+mn-lt"/>
              <a:ea typeface="+mn-ea"/>
              <a:cs typeface="+mn-cs"/>
            </a:defRPr>
          </a:lvl1pPr>
          <a:lvl2pPr marL="466481" algn="l" rtl="0" fontAlgn="base">
            <a:spcBef>
              <a:spcPct val="0"/>
            </a:spcBef>
            <a:spcAft>
              <a:spcPct val="0"/>
            </a:spcAft>
            <a:defRPr sz="1632" kern="1200">
              <a:solidFill>
                <a:schemeClr val="lt1"/>
              </a:solidFill>
              <a:latin typeface="+mn-lt"/>
              <a:ea typeface="+mn-ea"/>
              <a:cs typeface="+mn-cs"/>
            </a:defRPr>
          </a:lvl2pPr>
          <a:lvl3pPr marL="932962" algn="l" rtl="0" fontAlgn="base">
            <a:spcBef>
              <a:spcPct val="0"/>
            </a:spcBef>
            <a:spcAft>
              <a:spcPct val="0"/>
            </a:spcAft>
            <a:defRPr sz="1632" kern="1200">
              <a:solidFill>
                <a:schemeClr val="lt1"/>
              </a:solidFill>
              <a:latin typeface="+mn-lt"/>
              <a:ea typeface="+mn-ea"/>
              <a:cs typeface="+mn-cs"/>
            </a:defRPr>
          </a:lvl3pPr>
          <a:lvl4pPr marL="1399443" algn="l" rtl="0" fontAlgn="base">
            <a:spcBef>
              <a:spcPct val="0"/>
            </a:spcBef>
            <a:spcAft>
              <a:spcPct val="0"/>
            </a:spcAft>
            <a:defRPr sz="1632" kern="1200">
              <a:solidFill>
                <a:schemeClr val="lt1"/>
              </a:solidFill>
              <a:latin typeface="+mn-lt"/>
              <a:ea typeface="+mn-ea"/>
              <a:cs typeface="+mn-cs"/>
            </a:defRPr>
          </a:lvl4pPr>
          <a:lvl5pPr marL="1865925" algn="l" rtl="0" fontAlgn="base">
            <a:spcBef>
              <a:spcPct val="0"/>
            </a:spcBef>
            <a:spcAft>
              <a:spcPct val="0"/>
            </a:spcAft>
            <a:defRPr sz="1632" kern="1200">
              <a:solidFill>
                <a:schemeClr val="lt1"/>
              </a:solidFill>
              <a:latin typeface="+mn-lt"/>
              <a:ea typeface="+mn-ea"/>
              <a:cs typeface="+mn-cs"/>
            </a:defRPr>
          </a:lvl5pPr>
          <a:lvl6pPr marL="2332406" algn="l" defTabSz="932962" rtl="0" eaLnBrk="1" latinLnBrk="0" hangingPunct="1">
            <a:defRPr sz="1632" kern="1200">
              <a:solidFill>
                <a:schemeClr val="lt1"/>
              </a:solidFill>
              <a:latin typeface="+mn-lt"/>
              <a:ea typeface="+mn-ea"/>
              <a:cs typeface="+mn-cs"/>
            </a:defRPr>
          </a:lvl6pPr>
          <a:lvl7pPr marL="2798887" algn="l" defTabSz="932962" rtl="0" eaLnBrk="1" latinLnBrk="0" hangingPunct="1">
            <a:defRPr sz="1632" kern="1200">
              <a:solidFill>
                <a:schemeClr val="lt1"/>
              </a:solidFill>
              <a:latin typeface="+mn-lt"/>
              <a:ea typeface="+mn-ea"/>
              <a:cs typeface="+mn-cs"/>
            </a:defRPr>
          </a:lvl7pPr>
          <a:lvl8pPr marL="3265368" algn="l" defTabSz="932962" rtl="0" eaLnBrk="1" latinLnBrk="0" hangingPunct="1">
            <a:defRPr sz="1632" kern="1200">
              <a:solidFill>
                <a:schemeClr val="lt1"/>
              </a:solidFill>
              <a:latin typeface="+mn-lt"/>
              <a:ea typeface="+mn-ea"/>
              <a:cs typeface="+mn-cs"/>
            </a:defRPr>
          </a:lvl8pPr>
          <a:lvl9pPr marL="3731849" algn="l" defTabSz="932962" rtl="0" eaLnBrk="1" latinLnBrk="0" hangingPunct="1">
            <a:defRPr sz="1632" kern="1200">
              <a:solidFill>
                <a:schemeClr val="lt1"/>
              </a:solidFill>
              <a:latin typeface="+mn-lt"/>
              <a:ea typeface="+mn-ea"/>
              <a:cs typeface="+mn-cs"/>
            </a:defRPr>
          </a:lvl9pPr>
        </a:lstStyle>
        <a:p xmlns:a="http://schemas.openxmlformats.org/drawingml/2006/main">
          <a:pPr algn="ctr"/>
          <a:r>
            <a:rPr lang="en-US" sz="1300" dirty="0">
              <a:solidFill>
                <a:schemeClr val="tx1"/>
              </a:solidFill>
            </a:rPr>
            <a:t> 1,373 </a:t>
          </a:r>
        </a:p>
      </cdr:txBody>
    </cdr:sp>
  </cdr:relSizeAnchor>
  <cdr:relSizeAnchor xmlns:cdr="http://schemas.openxmlformats.org/drawingml/2006/chartDrawing">
    <cdr:from>
      <cdr:x>0.03854</cdr:x>
      <cdr:y>0.69196</cdr:y>
    </cdr:from>
    <cdr:to>
      <cdr:x>0.29626</cdr:x>
      <cdr:y>0.7481</cdr:y>
    </cdr:to>
    <cdr:sp macro="" textlink="">
      <cdr:nvSpPr>
        <cdr:cNvPr id="9" name="Rectangle 8"/>
        <cdr:cNvSpPr/>
      </cdr:nvSpPr>
      <cdr:spPr>
        <a:xfrm xmlns:a="http://schemas.openxmlformats.org/drawingml/2006/main">
          <a:off x="73309" y="2997301"/>
          <a:ext cx="490277" cy="243177"/>
        </a:xfrm>
        <a:prstGeom xmlns:a="http://schemas.openxmlformats.org/drawingml/2006/main" prst="rect">
          <a:avLst/>
        </a:prstGeom>
        <a:solidFill xmlns:a="http://schemas.openxmlformats.org/drawingml/2006/main">
          <a:schemeClr val="bg1">
            <a:lumMod val="85000"/>
          </a:schemeClr>
        </a:solidFill>
        <a:ln xmlns:a="http://schemas.openxmlformats.org/drawingml/2006/main" w="9525">
          <a:solidFill>
            <a:schemeClr val="accent6"/>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algn="l" rtl="0" fontAlgn="base">
            <a:spcBef>
              <a:spcPct val="0"/>
            </a:spcBef>
            <a:spcAft>
              <a:spcPct val="0"/>
            </a:spcAft>
            <a:defRPr sz="1632" kern="1200">
              <a:solidFill>
                <a:schemeClr val="lt1"/>
              </a:solidFill>
              <a:latin typeface="+mn-lt"/>
              <a:ea typeface="+mn-ea"/>
              <a:cs typeface="+mn-cs"/>
            </a:defRPr>
          </a:lvl1pPr>
          <a:lvl2pPr marL="466481" algn="l" rtl="0" fontAlgn="base">
            <a:spcBef>
              <a:spcPct val="0"/>
            </a:spcBef>
            <a:spcAft>
              <a:spcPct val="0"/>
            </a:spcAft>
            <a:defRPr sz="1632" kern="1200">
              <a:solidFill>
                <a:schemeClr val="lt1"/>
              </a:solidFill>
              <a:latin typeface="+mn-lt"/>
              <a:ea typeface="+mn-ea"/>
              <a:cs typeface="+mn-cs"/>
            </a:defRPr>
          </a:lvl2pPr>
          <a:lvl3pPr marL="932962" algn="l" rtl="0" fontAlgn="base">
            <a:spcBef>
              <a:spcPct val="0"/>
            </a:spcBef>
            <a:spcAft>
              <a:spcPct val="0"/>
            </a:spcAft>
            <a:defRPr sz="1632" kern="1200">
              <a:solidFill>
                <a:schemeClr val="lt1"/>
              </a:solidFill>
              <a:latin typeface="+mn-lt"/>
              <a:ea typeface="+mn-ea"/>
              <a:cs typeface="+mn-cs"/>
            </a:defRPr>
          </a:lvl3pPr>
          <a:lvl4pPr marL="1399443" algn="l" rtl="0" fontAlgn="base">
            <a:spcBef>
              <a:spcPct val="0"/>
            </a:spcBef>
            <a:spcAft>
              <a:spcPct val="0"/>
            </a:spcAft>
            <a:defRPr sz="1632" kern="1200">
              <a:solidFill>
                <a:schemeClr val="lt1"/>
              </a:solidFill>
              <a:latin typeface="+mn-lt"/>
              <a:ea typeface="+mn-ea"/>
              <a:cs typeface="+mn-cs"/>
            </a:defRPr>
          </a:lvl4pPr>
          <a:lvl5pPr marL="1865925" algn="l" rtl="0" fontAlgn="base">
            <a:spcBef>
              <a:spcPct val="0"/>
            </a:spcBef>
            <a:spcAft>
              <a:spcPct val="0"/>
            </a:spcAft>
            <a:defRPr sz="1632" kern="1200">
              <a:solidFill>
                <a:schemeClr val="lt1"/>
              </a:solidFill>
              <a:latin typeface="+mn-lt"/>
              <a:ea typeface="+mn-ea"/>
              <a:cs typeface="+mn-cs"/>
            </a:defRPr>
          </a:lvl5pPr>
          <a:lvl6pPr marL="2332406" algn="l" defTabSz="932962" rtl="0" eaLnBrk="1" latinLnBrk="0" hangingPunct="1">
            <a:defRPr sz="1632" kern="1200">
              <a:solidFill>
                <a:schemeClr val="lt1"/>
              </a:solidFill>
              <a:latin typeface="+mn-lt"/>
              <a:ea typeface="+mn-ea"/>
              <a:cs typeface="+mn-cs"/>
            </a:defRPr>
          </a:lvl6pPr>
          <a:lvl7pPr marL="2798887" algn="l" defTabSz="932962" rtl="0" eaLnBrk="1" latinLnBrk="0" hangingPunct="1">
            <a:defRPr sz="1632" kern="1200">
              <a:solidFill>
                <a:schemeClr val="lt1"/>
              </a:solidFill>
              <a:latin typeface="+mn-lt"/>
              <a:ea typeface="+mn-ea"/>
              <a:cs typeface="+mn-cs"/>
            </a:defRPr>
          </a:lvl7pPr>
          <a:lvl8pPr marL="3265368" algn="l" defTabSz="932962" rtl="0" eaLnBrk="1" latinLnBrk="0" hangingPunct="1">
            <a:defRPr sz="1632" kern="1200">
              <a:solidFill>
                <a:schemeClr val="lt1"/>
              </a:solidFill>
              <a:latin typeface="+mn-lt"/>
              <a:ea typeface="+mn-ea"/>
              <a:cs typeface="+mn-cs"/>
            </a:defRPr>
          </a:lvl8pPr>
          <a:lvl9pPr marL="3731849" algn="l" defTabSz="932962" rtl="0" eaLnBrk="1" latinLnBrk="0" hangingPunct="1">
            <a:defRPr sz="1632" kern="1200">
              <a:solidFill>
                <a:schemeClr val="lt1"/>
              </a:solidFill>
              <a:latin typeface="+mn-lt"/>
              <a:ea typeface="+mn-ea"/>
              <a:cs typeface="+mn-cs"/>
            </a:defRPr>
          </a:lvl9pPr>
        </a:lstStyle>
        <a:p xmlns:a="http://schemas.openxmlformats.org/drawingml/2006/main">
          <a:pPr algn="ctr"/>
          <a:r>
            <a:rPr lang="en-US" sz="1200" dirty="0">
              <a:solidFill>
                <a:schemeClr val="tx1"/>
              </a:solidFill>
            </a:rPr>
            <a:t>262</a:t>
          </a:r>
        </a:p>
      </cdr:txBody>
    </cdr:sp>
  </cdr:relSizeAnchor>
</c:userShapes>
</file>

<file path=ppt/drawings/drawing2.xml><?xml version="1.0" encoding="utf-8"?>
<c:userShapes xmlns:c="http://schemas.openxmlformats.org/drawingml/2006/chart">
  <cdr:relSizeAnchor xmlns:cdr="http://schemas.openxmlformats.org/drawingml/2006/chartDrawing">
    <cdr:from>
      <cdr:x>0.0328</cdr:x>
      <cdr:y>0.85189</cdr:y>
    </cdr:from>
    <cdr:to>
      <cdr:x>0.44028</cdr:x>
      <cdr:y>0.90871</cdr:y>
    </cdr:to>
    <cdr:sp macro="" textlink="">
      <cdr:nvSpPr>
        <cdr:cNvPr id="8" name="Text Placeholder 2">
          <a:extLst xmlns:a="http://schemas.openxmlformats.org/drawingml/2006/main">
            <a:ext uri="{FF2B5EF4-FFF2-40B4-BE49-F238E27FC236}">
              <a16:creationId xmlns:a16="http://schemas.microsoft.com/office/drawing/2014/main" id="{D01E6510-543A-46B9-BEC1-E16654CD655E}"/>
            </a:ext>
          </a:extLst>
        </cdr:cNvPr>
        <cdr:cNvSpPr>
          <a:spLocks xmlns:a="http://schemas.openxmlformats.org/drawingml/2006/main" noGrp="1"/>
        </cdr:cNvSpPr>
      </cdr:nvSpPr>
      <cdr:spPr bwMode="auto">
        <a:xfrm xmlns:a="http://schemas.openxmlformats.org/drawingml/2006/main">
          <a:off x="90682" y="4163257"/>
          <a:ext cx="1126445" cy="277685"/>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0" tIns="0" rIns="0" bIns="0" numCol="1" spcCol="0" rtlCol="0" anchor="ctr" anchorCtr="0">
          <a:noAutofit/>
        </a:bodyPr>
        <a:lstStyle xmlns:a="http://schemas.openxmlformats.org/drawingml/2006/main">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xmlns:a="http://schemas.openxmlformats.org/drawingml/2006/main">
          <a:r>
            <a:rPr lang="en-US" sz="1200" dirty="0">
              <a:sym typeface="+mn-lt"/>
            </a:rPr>
            <a:t>Face shield</a:t>
          </a:r>
        </a:p>
      </cdr:txBody>
    </cdr:sp>
  </cdr:relSizeAnchor>
  <cdr:relSizeAnchor xmlns:cdr="http://schemas.openxmlformats.org/drawingml/2006/chartDrawing">
    <cdr:from>
      <cdr:x>0.05521</cdr:x>
      <cdr:y>0.94581</cdr:y>
    </cdr:from>
    <cdr:to>
      <cdr:x>0.22373</cdr:x>
      <cdr:y>0.98439</cdr:y>
    </cdr:to>
    <cdr:sp macro="" textlink="">
      <cdr:nvSpPr>
        <cdr:cNvPr id="9" name="Text Placeholder 2">
          <a:extLst xmlns:a="http://schemas.openxmlformats.org/drawingml/2006/main">
            <a:ext uri="{FF2B5EF4-FFF2-40B4-BE49-F238E27FC236}">
              <a16:creationId xmlns:a16="http://schemas.microsoft.com/office/drawing/2014/main" id="{D01E6510-543A-46B9-BEC1-E16654CD655E}"/>
            </a:ext>
          </a:extLst>
        </cdr:cNvPr>
        <cdr:cNvSpPr>
          <a:spLocks xmlns:a="http://schemas.openxmlformats.org/drawingml/2006/main" noGrp="1"/>
        </cdr:cNvSpPr>
      </cdr:nvSpPr>
      <cdr:spPr bwMode="auto">
        <a:xfrm xmlns:a="http://schemas.openxmlformats.org/drawingml/2006/main">
          <a:off x="152610" y="4622262"/>
          <a:ext cx="465860" cy="188545"/>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0" tIns="0" rIns="0" bIns="0" numCol="1" spcCol="0" rtlCol="0" anchor="ctr" anchorCtr="0">
          <a:noAutofit/>
        </a:bodyPr>
        <a:lstStyle xmlns:a="http://schemas.openxmlformats.org/drawingml/2006/main">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xmlns:a="http://schemas.openxmlformats.org/drawingml/2006/main">
          <a:r>
            <a:rPr lang="en-US" altLang="en-US" sz="1200" dirty="0"/>
            <a:t>Googles</a:t>
          </a:r>
          <a:r>
            <a:rPr lang="en-US" altLang="en-US" sz="1000" dirty="0"/>
            <a:t> </a:t>
          </a:r>
          <a:endParaRPr lang="en-US" sz="1000" dirty="0">
            <a:sym typeface="+mn-lt"/>
          </a:endParaRPr>
        </a:p>
      </cdr:txBody>
    </cdr:sp>
  </cdr:relSizeAnchor>
  <cdr:relSizeAnchor xmlns:cdr="http://schemas.openxmlformats.org/drawingml/2006/chartDrawing">
    <cdr:from>
      <cdr:x>0.58152</cdr:x>
      <cdr:y>0.85821</cdr:y>
    </cdr:from>
    <cdr:to>
      <cdr:x>0.6866</cdr:x>
      <cdr:y>0.88565</cdr:y>
    </cdr:to>
    <cdr:sp macro="" textlink="">
      <cdr:nvSpPr>
        <cdr:cNvPr id="14" name="Text Placeholder 2">
          <a:extLst xmlns:a="http://schemas.openxmlformats.org/drawingml/2006/main">
            <a:ext uri="{FF2B5EF4-FFF2-40B4-BE49-F238E27FC236}">
              <a16:creationId xmlns:a16="http://schemas.microsoft.com/office/drawing/2014/main" id="{297CBE7A-1945-4062-8834-CAE4D45701DC}"/>
            </a:ext>
          </a:extLst>
        </cdr:cNvPr>
        <cdr:cNvSpPr>
          <a:spLocks xmlns:a="http://schemas.openxmlformats.org/drawingml/2006/main" noGrp="1"/>
        </cdr:cNvSpPr>
      </cdr:nvSpPr>
      <cdr:spPr bwMode="gray">
        <a:xfrm xmlns:a="http://schemas.openxmlformats.org/drawingml/2006/main">
          <a:off x="1726314" y="3833205"/>
          <a:ext cx="311931" cy="122588"/>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17463" tIns="0" rIns="17463" bIns="0" numCol="1" spcCol="0" rtlCol="0" anchor="ctr" anchorCtr="0">
          <a:noAutofit/>
        </a:bodyPr>
        <a:lstStyle xmlns:a="http://schemas.openxmlformats.org/drawingml/2006/main">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xmlns:a="http://schemas.openxmlformats.org/drawingml/2006/main">
          <a:endParaRPr lang="en-US" sz="1000" dirty="0">
            <a:sym typeface="+mn-lt"/>
          </a:endParaRPr>
        </a:p>
      </cdr:txBody>
    </cdr:sp>
  </cdr:relSizeAnchor>
  <cdr:relSizeAnchor xmlns:cdr="http://schemas.openxmlformats.org/drawingml/2006/chartDrawing">
    <cdr:from>
      <cdr:x>0.91765</cdr:x>
      <cdr:y>0.96588</cdr:y>
    </cdr:from>
    <cdr:to>
      <cdr:x>1</cdr:x>
      <cdr:y>1</cdr:y>
    </cdr:to>
    <cdr:sp macro="" textlink="">
      <cdr:nvSpPr>
        <cdr:cNvPr id="15" name="Text Placeholder 2">
          <a:extLst xmlns:a="http://schemas.openxmlformats.org/drawingml/2006/main">
            <a:ext uri="{FF2B5EF4-FFF2-40B4-BE49-F238E27FC236}">
              <a16:creationId xmlns:a16="http://schemas.microsoft.com/office/drawing/2014/main" id="{297CBE7A-1945-4062-8834-CAE4D45701DC}"/>
            </a:ext>
          </a:extLst>
        </cdr:cNvPr>
        <cdr:cNvSpPr>
          <a:spLocks xmlns:a="http://schemas.openxmlformats.org/drawingml/2006/main" noGrp="1"/>
        </cdr:cNvSpPr>
      </cdr:nvSpPr>
      <cdr:spPr bwMode="gray">
        <a:xfrm xmlns:a="http://schemas.openxmlformats.org/drawingml/2006/main">
          <a:off x="2724126" y="4314129"/>
          <a:ext cx="244475" cy="15240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17463" tIns="0" rIns="17463" bIns="0" numCol="1" spcCol="0" rtlCol="0" anchor="ctr" anchorCtr="0">
          <a:noAutofit/>
        </a:bodyPr>
        <a:lstStyle xmlns:a="http://schemas.openxmlformats.org/drawingml/2006/main">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xmlns:a="http://schemas.openxmlformats.org/drawingml/2006/main">
          <a:endParaRPr lang="en-US" sz="1000" dirty="0">
            <a:sym typeface="+mn-lt"/>
          </a:endParaRPr>
        </a:p>
      </cdr:txBody>
    </cdr:sp>
  </cdr:relSizeAnchor>
  <cdr:relSizeAnchor xmlns:cdr="http://schemas.openxmlformats.org/drawingml/2006/chartDrawing">
    <cdr:from>
      <cdr:x>0.47907</cdr:x>
      <cdr:y>0.9509</cdr:y>
    </cdr:from>
    <cdr:to>
      <cdr:x>0.56142</cdr:x>
      <cdr:y>0.98502</cdr:y>
    </cdr:to>
    <cdr:sp macro="" textlink="">
      <cdr:nvSpPr>
        <cdr:cNvPr id="21" name="Text Placeholder 2">
          <a:extLst xmlns:a="http://schemas.openxmlformats.org/drawingml/2006/main">
            <a:ext uri="{FF2B5EF4-FFF2-40B4-BE49-F238E27FC236}">
              <a16:creationId xmlns:a16="http://schemas.microsoft.com/office/drawing/2014/main" id="{297CBE7A-1945-4062-8834-CAE4D45701DC}"/>
            </a:ext>
          </a:extLst>
        </cdr:cNvPr>
        <cdr:cNvSpPr>
          <a:spLocks xmlns:a="http://schemas.openxmlformats.org/drawingml/2006/main" noGrp="1"/>
        </cdr:cNvSpPr>
      </cdr:nvSpPr>
      <cdr:spPr bwMode="gray">
        <a:xfrm xmlns:a="http://schemas.openxmlformats.org/drawingml/2006/main">
          <a:off x="1324349" y="4647130"/>
          <a:ext cx="227650" cy="166749"/>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rgbClr r="0" g="0" b="0"/>
              </a:solidFill>
            </a14:hiddenFill>
          </a:ext>
        </a:extLst>
      </cdr:spPr>
      <cdr:txBody>
        <a:bodyPr xmlns:a="http://schemas.openxmlformats.org/drawingml/2006/main" vert="horz" wrap="none" lIns="17463" tIns="0" rIns="17463" bIns="0" numCol="1" spcCol="0" rtlCol="0" anchor="ctr" anchorCtr="0">
          <a:noAutofit/>
        </a:bodyPr>
        <a:lstStyle xmlns:a="http://schemas.openxmlformats.org/drawingml/2006/main">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xmlns:a="http://schemas.openxmlformats.org/drawingml/2006/main">
          <a:r>
            <a:rPr lang="en-US" sz="1200" dirty="0">
              <a:sym typeface="+mn-lt"/>
            </a:rPr>
            <a:t>9,346</a:t>
          </a:r>
        </a:p>
      </cdr:txBody>
    </cdr:sp>
  </cdr:relSizeAnchor>
  <cdr:relSizeAnchor xmlns:cdr="http://schemas.openxmlformats.org/drawingml/2006/chartDrawing">
    <cdr:from>
      <cdr:x>0.39417</cdr:x>
      <cdr:y>0.3851</cdr:y>
    </cdr:from>
    <cdr:to>
      <cdr:x>0.56625</cdr:x>
      <cdr:y>0.4264</cdr:y>
    </cdr:to>
    <cdr:sp macro="" textlink="">
      <cdr:nvSpPr>
        <cdr:cNvPr id="23" name="Text Placeholder 2">
          <a:extLst xmlns:a="http://schemas.openxmlformats.org/drawingml/2006/main">
            <a:ext uri="{FF2B5EF4-FFF2-40B4-BE49-F238E27FC236}">
              <a16:creationId xmlns:a16="http://schemas.microsoft.com/office/drawing/2014/main" id="{13D67EAA-2D9A-455F-90BA-F16D151699DB}"/>
            </a:ext>
          </a:extLst>
        </cdr:cNvPr>
        <cdr:cNvSpPr>
          <a:spLocks xmlns:a="http://schemas.openxmlformats.org/drawingml/2006/main" noGrp="1"/>
        </cdr:cNvSpPr>
      </cdr:nvSpPr>
      <cdr:spPr bwMode="gray">
        <a:xfrm xmlns:a="http://schemas.openxmlformats.org/drawingml/2006/main">
          <a:off x="1089651" y="1823022"/>
          <a:ext cx="475701" cy="195510"/>
        </a:xfrm>
        <a:prstGeom xmlns:a="http://schemas.openxmlformats.org/drawingml/2006/main" prst="rect">
          <a:avLst/>
        </a:prstGeom>
        <a:solidFill xmlns:a="http://schemas.openxmlformats.org/drawingml/2006/main">
          <a:schemeClr val="accent1"/>
        </a:solidFill>
        <a:ln xmlns:a="http://schemas.openxmlformats.org/drawingml/2006/main">
          <a:noFill/>
        </a:ln>
      </cdr:spPr>
      <cdr:txBody>
        <a:bodyPr xmlns:a="http://schemas.openxmlformats.org/drawingml/2006/main" vert="horz" wrap="none" lIns="17463" tIns="0" rIns="17463" bIns="0" numCol="1" spcCol="0" rtlCol="0" anchor="ctr" anchorCtr="0">
          <a:noAutofit/>
        </a:bodyPr>
        <a:lstStyle xmlns:a="http://schemas.openxmlformats.org/drawingml/2006/main">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xmlns:a="http://schemas.openxmlformats.org/drawingml/2006/main">
          <a:pPr algn="ctr"/>
          <a:r>
            <a:rPr lang="en-US" sz="1200" dirty="0">
              <a:sym typeface="+mn-lt"/>
            </a:rPr>
            <a:t>                    536,111</a:t>
          </a:r>
        </a:p>
      </cdr:txBody>
    </cdr:sp>
  </cdr:relSizeAnchor>
  <cdr:relSizeAnchor xmlns:cdr="http://schemas.openxmlformats.org/drawingml/2006/chartDrawing">
    <cdr:from>
      <cdr:x>0.3987</cdr:x>
      <cdr:y>0.6316</cdr:y>
    </cdr:from>
    <cdr:to>
      <cdr:x>0.48416</cdr:x>
      <cdr:y>0.69983</cdr:y>
    </cdr:to>
    <cdr:sp macro="" textlink="">
      <cdr:nvSpPr>
        <cdr:cNvPr id="10" name="Text Placeholder 2">
          <a:extLst xmlns:a="http://schemas.openxmlformats.org/drawingml/2006/main">
            <a:ext uri="{FF2B5EF4-FFF2-40B4-BE49-F238E27FC236}">
              <a16:creationId xmlns:a16="http://schemas.microsoft.com/office/drawing/2014/main" id="{13D67EAA-2D9A-455F-90BA-F16D151699DB}"/>
            </a:ext>
          </a:extLst>
        </cdr:cNvPr>
        <cdr:cNvSpPr>
          <a:spLocks xmlns:a="http://schemas.openxmlformats.org/drawingml/2006/main" noGrp="1"/>
        </cdr:cNvSpPr>
      </cdr:nvSpPr>
      <cdr:spPr bwMode="gray">
        <a:xfrm xmlns:a="http://schemas.openxmlformats.org/drawingml/2006/main">
          <a:off x="1102173" y="2989927"/>
          <a:ext cx="236247" cy="322993"/>
        </a:xfrm>
        <a:prstGeom xmlns:a="http://schemas.openxmlformats.org/drawingml/2006/main" prst="rect">
          <a:avLst/>
        </a:prstGeom>
        <a:solidFill xmlns:a="http://schemas.openxmlformats.org/drawingml/2006/main">
          <a:schemeClr val="accent1"/>
        </a:solidFill>
        <a:ln xmlns:a="http://schemas.openxmlformats.org/drawingml/2006/main">
          <a:noFill/>
        </a:ln>
      </cdr:spPr>
      <cdr:txBody>
        <a:bodyPr xmlns:a="http://schemas.openxmlformats.org/drawingml/2006/main" vert="horz" wrap="none" lIns="17463" tIns="0" rIns="17463" bIns="0" numCol="1" spcCol="0" rtlCol="0" anchor="ctr" anchorCtr="0">
          <a:noAutofit/>
        </a:bodyPr>
        <a:lstStyle xmlns:a="http://schemas.openxmlformats.org/drawingml/2006/main">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81" algn="l" rtl="0" fontAlgn="base">
            <a:spcBef>
              <a:spcPct val="0"/>
            </a:spcBef>
            <a:spcAft>
              <a:spcPct val="0"/>
            </a:spcAft>
            <a:defRPr sz="1632" kern="1200">
              <a:solidFill>
                <a:schemeClr val="tx1"/>
              </a:solidFill>
              <a:latin typeface="Arial" charset="0"/>
              <a:ea typeface="+mn-ea"/>
              <a:cs typeface="+mn-cs"/>
            </a:defRPr>
          </a:lvl2pPr>
          <a:lvl3pPr marL="932962" algn="l" rtl="0" fontAlgn="base">
            <a:spcBef>
              <a:spcPct val="0"/>
            </a:spcBef>
            <a:spcAft>
              <a:spcPct val="0"/>
            </a:spcAft>
            <a:defRPr sz="1632" kern="1200">
              <a:solidFill>
                <a:schemeClr val="tx1"/>
              </a:solidFill>
              <a:latin typeface="Arial" charset="0"/>
              <a:ea typeface="+mn-ea"/>
              <a:cs typeface="+mn-cs"/>
            </a:defRPr>
          </a:lvl3pPr>
          <a:lvl4pPr marL="1399443" algn="l" rtl="0" fontAlgn="base">
            <a:spcBef>
              <a:spcPct val="0"/>
            </a:spcBef>
            <a:spcAft>
              <a:spcPct val="0"/>
            </a:spcAft>
            <a:defRPr sz="1632" kern="1200">
              <a:solidFill>
                <a:schemeClr val="tx1"/>
              </a:solidFill>
              <a:latin typeface="Arial" charset="0"/>
              <a:ea typeface="+mn-ea"/>
              <a:cs typeface="+mn-cs"/>
            </a:defRPr>
          </a:lvl4pPr>
          <a:lvl5pPr marL="1865925" algn="l" rtl="0" fontAlgn="base">
            <a:spcBef>
              <a:spcPct val="0"/>
            </a:spcBef>
            <a:spcAft>
              <a:spcPct val="0"/>
            </a:spcAft>
            <a:defRPr sz="1632" kern="1200">
              <a:solidFill>
                <a:schemeClr val="tx1"/>
              </a:solidFill>
              <a:latin typeface="Arial" charset="0"/>
              <a:ea typeface="+mn-ea"/>
              <a:cs typeface="+mn-cs"/>
            </a:defRPr>
          </a:lvl5pPr>
          <a:lvl6pPr marL="2332406" algn="l" defTabSz="932962" rtl="0" eaLnBrk="1" latinLnBrk="0" hangingPunct="1">
            <a:defRPr sz="1632" kern="1200">
              <a:solidFill>
                <a:schemeClr val="tx1"/>
              </a:solidFill>
              <a:latin typeface="Arial" charset="0"/>
              <a:ea typeface="+mn-ea"/>
              <a:cs typeface="+mn-cs"/>
            </a:defRPr>
          </a:lvl6pPr>
          <a:lvl7pPr marL="2798887" algn="l" defTabSz="932962" rtl="0" eaLnBrk="1" latinLnBrk="0" hangingPunct="1">
            <a:defRPr sz="1632" kern="1200">
              <a:solidFill>
                <a:schemeClr val="tx1"/>
              </a:solidFill>
              <a:latin typeface="Arial" charset="0"/>
              <a:ea typeface="+mn-ea"/>
              <a:cs typeface="+mn-cs"/>
            </a:defRPr>
          </a:lvl7pPr>
          <a:lvl8pPr marL="3265368" algn="l" defTabSz="932962" rtl="0" eaLnBrk="1" latinLnBrk="0" hangingPunct="1">
            <a:defRPr sz="1632" kern="1200">
              <a:solidFill>
                <a:schemeClr val="tx1"/>
              </a:solidFill>
              <a:latin typeface="Arial" charset="0"/>
              <a:ea typeface="+mn-ea"/>
              <a:cs typeface="+mn-cs"/>
            </a:defRPr>
          </a:lvl8pPr>
          <a:lvl9pPr marL="3731849" algn="l" defTabSz="932962" rtl="0" eaLnBrk="1" latinLnBrk="0" hangingPunct="1">
            <a:defRPr sz="1632" kern="1200">
              <a:solidFill>
                <a:schemeClr val="tx1"/>
              </a:solidFill>
              <a:latin typeface="Arial" charset="0"/>
              <a:ea typeface="+mn-ea"/>
              <a:cs typeface="+mn-cs"/>
            </a:defRPr>
          </a:lvl9pPr>
        </a:lstStyle>
        <a:p xmlns:a="http://schemas.openxmlformats.org/drawingml/2006/main">
          <a:pPr algn="ctr"/>
          <a:r>
            <a:rPr lang="en-US" sz="1000" dirty="0">
              <a:sym typeface="+mn-lt"/>
            </a:rPr>
            <a:t>                       </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864903"/>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8" name="Google Shape;358;p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100" dirty="0"/>
              <a:t>Good morning, I will take you through the epidemiological situation as of this morning, please next slide</a:t>
            </a:r>
            <a:endParaRPr dirty="0"/>
          </a:p>
          <a:p>
            <a:pPr marL="0" lvl="0" indent="0" algn="l" rtl="0">
              <a:lnSpc>
                <a:spcPct val="100000"/>
              </a:lnSpc>
              <a:spcBef>
                <a:spcPts val="0"/>
              </a:spcBef>
              <a:spcAft>
                <a:spcPts val="0"/>
              </a:spcAft>
              <a:buSzPts val="1400"/>
              <a:buNone/>
            </a:pPr>
            <a:endParaRPr dirty="0"/>
          </a:p>
        </p:txBody>
      </p:sp>
      <p:sp>
        <p:nvSpPr>
          <p:cNvPr id="359" name="Google Shape;359;p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n-US"/>
              <a:t>1</a:t>
            </a:fld>
            <a:endParaRPr/>
          </a:p>
        </p:txBody>
      </p:sp>
    </p:spTree>
    <p:extLst>
      <p:ext uri="{BB962C8B-B14F-4D97-AF65-F5344CB8AC3E}">
        <p14:creationId xmlns:p14="http://schemas.microsoft.com/office/powerpoint/2010/main" val="10544474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5"/>
        <p:cNvGrpSpPr/>
        <p:nvPr/>
      </p:nvGrpSpPr>
      <p:grpSpPr>
        <a:xfrm>
          <a:off x="0" y="0"/>
          <a:ext cx="0" cy="0"/>
          <a:chOff x="0" y="0"/>
          <a:chExt cx="0" cy="0"/>
        </a:xfrm>
      </p:grpSpPr>
      <p:sp>
        <p:nvSpPr>
          <p:cNvPr id="576" name="Google Shape;576;ga2845ca94f_2_37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77" name="Google Shape;577;ga2845ca94f_2_37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69014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1"/>
        <p:cNvGrpSpPr/>
        <p:nvPr/>
      </p:nvGrpSpPr>
      <p:grpSpPr>
        <a:xfrm>
          <a:off x="0" y="0"/>
          <a:ext cx="0" cy="0"/>
          <a:chOff x="0" y="0"/>
          <a:chExt cx="0" cy="0"/>
        </a:xfrm>
      </p:grpSpPr>
      <p:sp>
        <p:nvSpPr>
          <p:cNvPr id="372" name="Google Shape;372;g77b30371e1_0_0:notes"/>
          <p:cNvSpPr txBox="1">
            <a:spLocks noGrp="1"/>
          </p:cNvSpPr>
          <p:nvPr>
            <p:ph type="body" idx="1"/>
          </p:nvPr>
        </p:nvSpPr>
        <p:spPr>
          <a:xfrm>
            <a:off x="789536" y="4473320"/>
            <a:ext cx="5279100" cy="12351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3" name="Google Shape;373;g77b30371e1_0_0:notes"/>
          <p:cNvSpPr>
            <a:spLocks noGrp="1" noRot="1" noChangeAspect="1"/>
          </p:cNvSpPr>
          <p:nvPr>
            <p:ph type="sldImg" idx="2"/>
          </p:nvPr>
        </p:nvSpPr>
        <p:spPr>
          <a:xfrm>
            <a:off x="-146050" y="333375"/>
            <a:ext cx="7150100" cy="40227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7971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7DB6EF-011E-4DE3-B60E-96BB170F2B42}" type="slidenum">
              <a:rPr lang="en-US" smtClean="0"/>
              <a:t>20</a:t>
            </a:fld>
            <a:endParaRPr lang="en-US"/>
          </a:p>
        </p:txBody>
      </p:sp>
    </p:spTree>
    <p:extLst>
      <p:ext uri="{BB962C8B-B14F-4D97-AF65-F5344CB8AC3E}">
        <p14:creationId xmlns:p14="http://schemas.microsoft.com/office/powerpoint/2010/main" val="31055086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9"/>
        <p:cNvGrpSpPr/>
        <p:nvPr/>
      </p:nvGrpSpPr>
      <p:grpSpPr>
        <a:xfrm>
          <a:off x="0" y="0"/>
          <a:ext cx="0" cy="0"/>
          <a:chOff x="0" y="0"/>
          <a:chExt cx="0" cy="0"/>
        </a:xfrm>
      </p:grpSpPr>
      <p:sp>
        <p:nvSpPr>
          <p:cNvPr id="900" name="Google Shape;900;g913ea047e8_0_1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1" name="Google Shape;901;g913ea047e8_0_11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02" name="Google Shape;902;g913ea047e8_0_118: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5</a:t>
            </a:fld>
            <a:endParaRPr/>
          </a:p>
        </p:txBody>
      </p:sp>
    </p:spTree>
    <p:extLst>
      <p:ext uri="{BB962C8B-B14F-4D97-AF65-F5344CB8AC3E}">
        <p14:creationId xmlns:p14="http://schemas.microsoft.com/office/powerpoint/2010/main" val="2106887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5"/>
        <p:cNvGrpSpPr/>
        <p:nvPr/>
      </p:nvGrpSpPr>
      <p:grpSpPr>
        <a:xfrm>
          <a:off x="0" y="0"/>
          <a:ext cx="0" cy="0"/>
          <a:chOff x="0" y="0"/>
          <a:chExt cx="0" cy="0"/>
        </a:xfrm>
      </p:grpSpPr>
      <p:sp>
        <p:nvSpPr>
          <p:cNvPr id="496" name="Google Shape;496;ga2845ca94f_2_1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7" name="Google Shape;497;ga2845ca94f_2_18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 This slide is showing the trend of COVID-19 cases from February to date. the epi chart is showing the number of new cases (y axis) reported by day (x Axis) and the 7 day moving average is shown by the red line.  Over the past four weeks there is an upward trend in new cases being driven by the Northern and Southern regions. Cumulatively over  1.7 m cases have been reported, over 41K deaths (CFR2.4%) 82% recovered)</a:t>
            </a:r>
            <a:endParaRPr/>
          </a:p>
        </p:txBody>
      </p:sp>
      <p:sp>
        <p:nvSpPr>
          <p:cNvPr id="498" name="Google Shape;498;ga2845ca94f_2_18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algn="r">
              <a:buSzPts val="1200"/>
            </a:pPr>
            <a:fld id="{00000000-1234-1234-1234-123412341234}" type="slidenum">
              <a:rPr lang="en-US"/>
              <a:pPr algn="r">
                <a:buSzPts val="1200"/>
              </a:pPr>
              <a:t>2</a:t>
            </a:fld>
            <a:endParaRPr/>
          </a:p>
        </p:txBody>
      </p:sp>
    </p:spTree>
    <p:extLst>
      <p:ext uri="{BB962C8B-B14F-4D97-AF65-F5344CB8AC3E}">
        <p14:creationId xmlns:p14="http://schemas.microsoft.com/office/powerpoint/2010/main" val="3393853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1"/>
        <p:cNvGrpSpPr/>
        <p:nvPr/>
      </p:nvGrpSpPr>
      <p:grpSpPr>
        <a:xfrm>
          <a:off x="0" y="0"/>
          <a:ext cx="0" cy="0"/>
          <a:chOff x="0" y="0"/>
          <a:chExt cx="0" cy="0"/>
        </a:xfrm>
      </p:grpSpPr>
      <p:sp>
        <p:nvSpPr>
          <p:cNvPr id="512" name="Google Shape;512;ga2845ca94f_2_26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3" name="Google Shape;513;ga2845ca94f_2_26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sz="1100"/>
              <a:t>40% less than 5,000 cases </a:t>
            </a:r>
            <a:endParaRPr sz="1100"/>
          </a:p>
          <a:p>
            <a:pPr marL="0" lvl="0" indent="0" algn="l" rtl="0">
              <a:lnSpc>
                <a:spcPct val="100000"/>
              </a:lnSpc>
              <a:spcBef>
                <a:spcPts val="0"/>
              </a:spcBef>
              <a:spcAft>
                <a:spcPts val="0"/>
              </a:spcAft>
              <a:buSzPts val="1400"/>
              <a:buNone/>
            </a:pPr>
            <a:r>
              <a:rPr lang="en-US" sz="1100"/>
              <a:t>1 countries moved from 1st to second category (less than 10K to &gt;10k) </a:t>
            </a:r>
            <a:endParaRPr sz="1100"/>
          </a:p>
          <a:p>
            <a:pPr marL="457200" lvl="0" indent="-298450" algn="l" rtl="0">
              <a:lnSpc>
                <a:spcPct val="100000"/>
              </a:lnSpc>
              <a:spcBef>
                <a:spcPts val="0"/>
              </a:spcBef>
              <a:spcAft>
                <a:spcPts val="0"/>
              </a:spcAft>
              <a:buSzPts val="1100"/>
              <a:buChar char="-"/>
            </a:pPr>
            <a:r>
              <a:rPr lang="en-US" sz="1100"/>
              <a:t>Rwanda</a:t>
            </a:r>
            <a:endParaRPr sz="1100"/>
          </a:p>
          <a:p>
            <a:pPr marL="0" lvl="0" indent="0" algn="l" rtl="0">
              <a:lnSpc>
                <a:spcPct val="100000"/>
              </a:lnSpc>
              <a:spcBef>
                <a:spcPts val="0"/>
              </a:spcBef>
              <a:spcAft>
                <a:spcPts val="0"/>
              </a:spcAft>
              <a:buSzPts val="1400"/>
              <a:buNone/>
            </a:pPr>
            <a:endParaRPr sz="1100"/>
          </a:p>
        </p:txBody>
      </p:sp>
      <p:sp>
        <p:nvSpPr>
          <p:cNvPr id="514" name="Google Shape;514;ga2845ca94f_2_26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algn="r">
              <a:buSzPts val="1400"/>
            </a:pPr>
            <a:fld id="{00000000-1234-1234-1234-123412341234}" type="slidenum">
              <a:rPr lang="en-US"/>
              <a:pPr algn="r">
                <a:buSzPts val="1400"/>
              </a:pPr>
              <a:t>3</a:t>
            </a:fld>
            <a:endParaRPr/>
          </a:p>
        </p:txBody>
      </p:sp>
    </p:spTree>
    <p:extLst>
      <p:ext uri="{BB962C8B-B14F-4D97-AF65-F5344CB8AC3E}">
        <p14:creationId xmlns:p14="http://schemas.microsoft.com/office/powerpoint/2010/main" val="752839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5"/>
        <p:cNvGrpSpPr/>
        <p:nvPr/>
      </p:nvGrpSpPr>
      <p:grpSpPr>
        <a:xfrm>
          <a:off x="0" y="0"/>
          <a:ext cx="0" cy="0"/>
          <a:chOff x="0" y="0"/>
          <a:chExt cx="0" cy="0"/>
        </a:xfrm>
      </p:grpSpPr>
      <p:sp>
        <p:nvSpPr>
          <p:cNvPr id="526" name="Google Shape;526;ga2845ca94f_2_3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7" name="Google Shape;527;ga2845ca94f_2_33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r>
              <a:rPr lang="en-US"/>
              <a:t>If we look at the number of new cases being reported for epidemiologic week 44, there are four countries (Libya, Tunisia, Morocco, and Cabo Verde) that are reporting the highest average daily cases by population.</a:t>
            </a:r>
            <a:endParaRPr/>
          </a:p>
          <a:p>
            <a:pPr marL="0" lvl="0" indent="0" algn="l" rtl="0">
              <a:lnSpc>
                <a:spcPct val="100000"/>
              </a:lnSpc>
              <a:spcBef>
                <a:spcPts val="0"/>
              </a:spcBef>
              <a:spcAft>
                <a:spcPts val="0"/>
              </a:spcAft>
              <a:buClr>
                <a:schemeClr val="dk1"/>
              </a:buClr>
              <a:buSzPts val="1100"/>
              <a:buFont typeface="Arial"/>
              <a:buNone/>
            </a:pPr>
            <a:r>
              <a:rPr lang="en-US"/>
              <a:t>Morocco, Cabo Verde, Libya, Tunisia</a:t>
            </a:r>
            <a:endParaRPr/>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r>
              <a:rPr lang="en-US" sz="1600" i="1"/>
              <a:t>This slide is showing the distribution of new covid-19 cases reported in the last 7 days per 1 million population across all 55 MS. this has categorized into 5 categories. insufficient info for Tanzania.  </a:t>
            </a:r>
            <a:endParaRPr sz="1600" i="1"/>
          </a:p>
          <a:p>
            <a:pPr marL="0" lvl="0" indent="0" algn="l" rtl="0">
              <a:lnSpc>
                <a:spcPct val="100000"/>
              </a:lnSpc>
              <a:spcBef>
                <a:spcPts val="0"/>
              </a:spcBef>
              <a:spcAft>
                <a:spcPts val="0"/>
              </a:spcAft>
              <a:buClr>
                <a:schemeClr val="dk1"/>
              </a:buClr>
              <a:buSzPts val="1100"/>
              <a:buFont typeface="Arial"/>
              <a:buNone/>
            </a:pPr>
            <a:r>
              <a:rPr lang="en-US" sz="1600" i="1"/>
              <a:t>Incidence has increased</a:t>
            </a:r>
            <a:endParaRPr sz="1600" i="1"/>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r>
              <a:rPr lang="en-US" sz="1600" i="1"/>
              <a:t>Eastern: Kenya (36% of regions new cases)</a:t>
            </a:r>
            <a:endParaRPr sz="1600" i="1"/>
          </a:p>
          <a:p>
            <a:pPr marL="457200" lvl="0" indent="-330200" algn="l" rtl="0">
              <a:lnSpc>
                <a:spcPct val="100000"/>
              </a:lnSpc>
              <a:spcBef>
                <a:spcPts val="0"/>
              </a:spcBef>
              <a:spcAft>
                <a:spcPts val="0"/>
              </a:spcAft>
              <a:buSzPts val="1600"/>
              <a:buChar char="-"/>
            </a:pPr>
            <a:r>
              <a:rPr lang="en-US" sz="1600" i="1"/>
              <a:t>(with Ethiopia account for 88% of regions new cases)</a:t>
            </a:r>
            <a:endParaRPr sz="1600" i="1"/>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r>
              <a:rPr lang="en-US" sz="1600" i="1"/>
              <a:t>Southern: Botswana (5% of regions new cases) </a:t>
            </a:r>
            <a:endParaRPr sz="1600" i="1"/>
          </a:p>
          <a:p>
            <a:pPr marL="457200" lvl="0" indent="-330200" algn="l" rtl="0">
              <a:lnSpc>
                <a:spcPct val="100000"/>
              </a:lnSpc>
              <a:spcBef>
                <a:spcPts val="0"/>
              </a:spcBef>
              <a:spcAft>
                <a:spcPts val="0"/>
              </a:spcAft>
              <a:buSzPts val="1600"/>
              <a:buChar char="-"/>
            </a:pPr>
            <a:r>
              <a:rPr lang="en-US" sz="1600" i="1"/>
              <a:t>(SA alone accounted for 74% of regions new cases)</a:t>
            </a:r>
            <a:endParaRPr sz="1600" i="1"/>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endParaRPr sz="1600" i="1"/>
          </a:p>
          <a:p>
            <a:pPr marL="0" lvl="0" indent="0" algn="l" rtl="0">
              <a:lnSpc>
                <a:spcPct val="100000"/>
              </a:lnSpc>
              <a:spcBef>
                <a:spcPts val="0"/>
              </a:spcBef>
              <a:spcAft>
                <a:spcPts val="0"/>
              </a:spcAft>
              <a:buClr>
                <a:schemeClr val="dk1"/>
              </a:buClr>
              <a:buSzPts val="1100"/>
              <a:buFont typeface="Arial"/>
              <a:buNone/>
            </a:pPr>
            <a:r>
              <a:rPr lang="en-US" sz="1600" i="1"/>
              <a:t>seven countries</a:t>
            </a:r>
            <a:endParaRPr sz="1600" i="1"/>
          </a:p>
          <a:p>
            <a:pPr marL="457200" lvl="0" indent="-330200" algn="l" rtl="0">
              <a:lnSpc>
                <a:spcPct val="100000"/>
              </a:lnSpc>
              <a:spcBef>
                <a:spcPts val="0"/>
              </a:spcBef>
              <a:spcAft>
                <a:spcPts val="0"/>
              </a:spcAft>
              <a:buSzPts val="1600"/>
              <a:buChar char="-"/>
            </a:pPr>
            <a:r>
              <a:rPr lang="en-US" sz="1600" i="1"/>
              <a:t>Libya, Morocco, Tunisia, Botswana, Namibia, South Africa, Cape Verde</a:t>
            </a:r>
            <a:endParaRPr sz="1600" i="1"/>
          </a:p>
        </p:txBody>
      </p:sp>
      <p:sp>
        <p:nvSpPr>
          <p:cNvPr id="528" name="Google Shape;528;ga2845ca94f_2_33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algn="r">
              <a:buSzPts val="1400"/>
            </a:pPr>
            <a:fld id="{00000000-1234-1234-1234-123412341234}" type="slidenum">
              <a:rPr lang="en-US"/>
              <a:pPr algn="r">
                <a:buSzPts val="1400"/>
              </a:pPr>
              <a:t>4</a:t>
            </a:fld>
            <a:endParaRPr/>
          </a:p>
        </p:txBody>
      </p:sp>
    </p:spTree>
    <p:extLst>
      <p:ext uri="{BB962C8B-B14F-4D97-AF65-F5344CB8AC3E}">
        <p14:creationId xmlns:p14="http://schemas.microsoft.com/office/powerpoint/2010/main" val="1636280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9"/>
        <p:cNvGrpSpPr/>
        <p:nvPr/>
      </p:nvGrpSpPr>
      <p:grpSpPr>
        <a:xfrm>
          <a:off x="0" y="0"/>
          <a:ext cx="0" cy="0"/>
          <a:chOff x="0" y="0"/>
          <a:chExt cx="0" cy="0"/>
        </a:xfrm>
      </p:grpSpPr>
      <p:sp>
        <p:nvSpPr>
          <p:cNvPr id="540" name="Google Shape;540;ga2845ca94f_2_3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1" name="Google Shape;541;ga2845ca94f_2_34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As the global case fatality rate has steadily declined to 2.6, we are noticing that more Member States are reporting higher case fatality rates, even though the cumulative CFR for the continent is less than what is being reported glonally. There could be a number of reasons that these numbers are becoming elevated. For instance this could indicate that cases are being missed and testing and case finding efforts should be increased, or that these populations are some of the most vulnerable, or this could be indicative that health care systems are overwhelmed leading to poorer outcomes in patients with COVID-19</a:t>
            </a:r>
            <a:endParaRPr/>
          </a:p>
        </p:txBody>
      </p:sp>
      <p:sp>
        <p:nvSpPr>
          <p:cNvPr id="542" name="Google Shape;542;ga2845ca94f_2_34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algn="r">
              <a:buSzPts val="1200"/>
            </a:pPr>
            <a:fld id="{00000000-1234-1234-1234-123412341234}" type="slidenum">
              <a:rPr lang="en-US"/>
              <a:pPr algn="r">
                <a:buSzPts val="1200"/>
              </a:pPr>
              <a:t>5</a:t>
            </a:fld>
            <a:endParaRPr/>
          </a:p>
        </p:txBody>
      </p:sp>
    </p:spTree>
    <p:extLst>
      <p:ext uri="{BB962C8B-B14F-4D97-AF65-F5344CB8AC3E}">
        <p14:creationId xmlns:p14="http://schemas.microsoft.com/office/powerpoint/2010/main" val="3220145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2"/>
        <p:cNvGrpSpPr/>
        <p:nvPr/>
      </p:nvGrpSpPr>
      <p:grpSpPr>
        <a:xfrm>
          <a:off x="0" y="0"/>
          <a:ext cx="0" cy="0"/>
          <a:chOff x="0" y="0"/>
          <a:chExt cx="0" cy="0"/>
        </a:xfrm>
      </p:grpSpPr>
      <p:sp>
        <p:nvSpPr>
          <p:cNvPr id="553" name="Google Shape;553;ga2845ca94f_2_3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4" name="Google Shape;554;ga2845ca94f_2_35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sz="1100"/>
              <a:t>Looking at testing of SARs-COV2, over 12.5m tests have been done, 9.6 tests/case and 10% positivity. in the past week # tests have increased by 4%</a:t>
            </a:r>
            <a:endParaRPr sz="1100"/>
          </a:p>
        </p:txBody>
      </p:sp>
      <p:sp>
        <p:nvSpPr>
          <p:cNvPr id="555" name="Google Shape;555;ga2845ca94f_2_35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algn="r">
              <a:buSzPts val="1400"/>
            </a:pPr>
            <a:fld id="{00000000-1234-1234-1234-123412341234}" type="slidenum">
              <a:rPr lang="en-US"/>
              <a:pPr algn="r">
                <a:buSzPts val="1400"/>
              </a:pPr>
              <a:t>6</a:t>
            </a:fld>
            <a:endParaRPr/>
          </a:p>
        </p:txBody>
      </p:sp>
    </p:spTree>
    <p:extLst>
      <p:ext uri="{BB962C8B-B14F-4D97-AF65-F5344CB8AC3E}">
        <p14:creationId xmlns:p14="http://schemas.microsoft.com/office/powerpoint/2010/main" val="470257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5"/>
        <p:cNvGrpSpPr/>
        <p:nvPr/>
      </p:nvGrpSpPr>
      <p:grpSpPr>
        <a:xfrm>
          <a:off x="0" y="0"/>
          <a:ext cx="0" cy="0"/>
          <a:chOff x="0" y="0"/>
          <a:chExt cx="0" cy="0"/>
        </a:xfrm>
      </p:grpSpPr>
      <p:sp>
        <p:nvSpPr>
          <p:cNvPr id="1146" name="Google Shape;1146;g9c572cd36d_3_29:notes"/>
          <p:cNvSpPr txBox="1">
            <a:spLocks noGrp="1"/>
          </p:cNvSpPr>
          <p:nvPr>
            <p:ph type="body" idx="1"/>
          </p:nvPr>
        </p:nvSpPr>
        <p:spPr>
          <a:xfrm>
            <a:off x="789536" y="4473320"/>
            <a:ext cx="5278943" cy="1235206"/>
          </a:xfrm>
          <a:prstGeom prst="rect">
            <a:avLst/>
          </a:prstGeom>
        </p:spPr>
        <p:txBody>
          <a:bodyPr spcFirstLastPara="1" wrap="square" lIns="90725" tIns="90725" rIns="90725" bIns="90725" anchor="t" anchorCtr="0">
            <a:noAutofit/>
          </a:bodyPr>
          <a:lstStyle/>
          <a:p>
            <a:pPr marL="0" lvl="0" indent="0" algn="l" rtl="0">
              <a:spcBef>
                <a:spcPts val="0"/>
              </a:spcBef>
              <a:spcAft>
                <a:spcPts val="0"/>
              </a:spcAft>
              <a:buNone/>
            </a:pPr>
            <a:endParaRPr/>
          </a:p>
        </p:txBody>
      </p:sp>
      <p:sp>
        <p:nvSpPr>
          <p:cNvPr id="1147" name="Google Shape;1147;g9c572cd36d_3_29:notes"/>
          <p:cNvSpPr>
            <a:spLocks noGrp="1" noRot="1" noChangeAspect="1"/>
          </p:cNvSpPr>
          <p:nvPr>
            <p:ph type="sldImg" idx="2"/>
          </p:nvPr>
        </p:nvSpPr>
        <p:spPr>
          <a:xfrm>
            <a:off x="-194588" y="332595"/>
            <a:ext cx="7247187" cy="402392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12244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0"/>
        <p:cNvGrpSpPr/>
        <p:nvPr/>
      </p:nvGrpSpPr>
      <p:grpSpPr>
        <a:xfrm>
          <a:off x="0" y="0"/>
          <a:ext cx="0" cy="0"/>
          <a:chOff x="0" y="0"/>
          <a:chExt cx="0" cy="0"/>
        </a:xfrm>
      </p:grpSpPr>
      <p:sp>
        <p:nvSpPr>
          <p:cNvPr id="1151" name="Google Shape;1151;g9c572cd36d_3_34:notes"/>
          <p:cNvSpPr txBox="1">
            <a:spLocks noGrp="1"/>
          </p:cNvSpPr>
          <p:nvPr>
            <p:ph type="body" idx="1"/>
          </p:nvPr>
        </p:nvSpPr>
        <p:spPr>
          <a:xfrm>
            <a:off x="789536" y="4473320"/>
            <a:ext cx="5278943" cy="1235206"/>
          </a:xfrm>
          <a:prstGeom prst="rect">
            <a:avLst/>
          </a:prstGeom>
        </p:spPr>
        <p:txBody>
          <a:bodyPr spcFirstLastPara="1" wrap="square" lIns="90725" tIns="90725" rIns="90725" bIns="90725" anchor="t" anchorCtr="0">
            <a:noAutofit/>
          </a:bodyPr>
          <a:lstStyle/>
          <a:p>
            <a:pPr marL="0" lvl="0" indent="0" algn="l" rtl="0">
              <a:spcBef>
                <a:spcPts val="0"/>
              </a:spcBef>
              <a:spcAft>
                <a:spcPts val="0"/>
              </a:spcAft>
              <a:buNone/>
            </a:pPr>
            <a:endParaRPr/>
          </a:p>
        </p:txBody>
      </p:sp>
      <p:sp>
        <p:nvSpPr>
          <p:cNvPr id="1152" name="Google Shape;1152;g9c572cd36d_3_34:notes"/>
          <p:cNvSpPr>
            <a:spLocks noGrp="1" noRot="1" noChangeAspect="1"/>
          </p:cNvSpPr>
          <p:nvPr>
            <p:ph type="sldImg" idx="2"/>
          </p:nvPr>
        </p:nvSpPr>
        <p:spPr>
          <a:xfrm>
            <a:off x="-194588" y="332595"/>
            <a:ext cx="7247187" cy="402392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669203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ga2845ca94f_2_37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0" name="Google Shape;570;ga2845ca94f_2_37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71" name="Google Shape;571;ga2845ca94f_2_37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n-US"/>
              <a:t>9</a:t>
            </a:fld>
            <a:endParaRPr/>
          </a:p>
        </p:txBody>
      </p:sp>
    </p:spTree>
    <p:extLst>
      <p:ext uri="{BB962C8B-B14F-4D97-AF65-F5344CB8AC3E}">
        <p14:creationId xmlns:p14="http://schemas.microsoft.com/office/powerpoint/2010/main" val="17714460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jp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9.xml"/><Relationship Id="rId7" Type="http://schemas.openxmlformats.org/officeDocument/2006/relationships/image" Target="../media/image23.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4.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1.xml"/><Relationship Id="rId7" Type="http://schemas.openxmlformats.org/officeDocument/2006/relationships/image" Target="../media/image23.png"/><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image" Target="../media/image22.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image" Target="../media/image24.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8.vml"/><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3.xml"/><Relationship Id="rId7" Type="http://schemas.openxmlformats.org/officeDocument/2006/relationships/image" Target="../media/image23.png"/><Relationship Id="rId2" Type="http://schemas.openxmlformats.org/officeDocument/2006/relationships/tags" Target="../tags/tag62.xml"/><Relationship Id="rId1" Type="http://schemas.openxmlformats.org/officeDocument/2006/relationships/vmlDrawing" Target="../drawings/vmlDrawing10.vml"/><Relationship Id="rId6" Type="http://schemas.openxmlformats.org/officeDocument/2006/relationships/image" Target="../media/image2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11.vml"/><Relationship Id="rId6" Type="http://schemas.openxmlformats.org/officeDocument/2006/relationships/image" Target="../media/image24.emf"/><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12.vml"/><Relationship Id="rId5" Type="http://schemas.openxmlformats.org/officeDocument/2006/relationships/image" Target="../media/image24.emf"/><Relationship Id="rId4" Type="http://schemas.openxmlformats.org/officeDocument/2006/relationships/oleObject" Target="../embeddings/oleObject12.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85.xml"/><Relationship Id="rId7" Type="http://schemas.openxmlformats.org/officeDocument/2006/relationships/image" Target="../media/image23.png"/><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image" Target="../media/image22.emf"/><Relationship Id="rId5" Type="http://schemas.openxmlformats.org/officeDocument/2006/relationships/oleObject" Target="../embeddings/oleObject14.bin"/><Relationship Id="rId4"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15.vml"/><Relationship Id="rId6" Type="http://schemas.openxmlformats.org/officeDocument/2006/relationships/image" Target="../media/image24.emf"/><Relationship Id="rId5" Type="http://schemas.openxmlformats.org/officeDocument/2006/relationships/oleObject" Target="../embeddings/oleObject15.bin"/><Relationship Id="rId4"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vmlDrawing" Target="../drawings/vmlDrawing16.vml"/><Relationship Id="rId5" Type="http://schemas.openxmlformats.org/officeDocument/2006/relationships/image" Target="../media/image24.emf"/><Relationship Id="rId4" Type="http://schemas.openxmlformats.org/officeDocument/2006/relationships/oleObject" Target="../embeddings/oleObject1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25.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07.xml"/><Relationship Id="rId7" Type="http://schemas.openxmlformats.org/officeDocument/2006/relationships/image" Target="../media/image23.png"/><Relationship Id="rId2" Type="http://schemas.openxmlformats.org/officeDocument/2006/relationships/tags" Target="../tags/tag106.xml"/><Relationship Id="rId1" Type="http://schemas.openxmlformats.org/officeDocument/2006/relationships/vmlDrawing" Target="../drawings/vmlDrawing18.vml"/><Relationship Id="rId6" Type="http://schemas.openxmlformats.org/officeDocument/2006/relationships/image" Target="../media/image22.emf"/><Relationship Id="rId5" Type="http://schemas.openxmlformats.org/officeDocument/2006/relationships/oleObject" Target="../embeddings/oleObject18.bin"/><Relationship Id="rId4"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19.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0.xml"/><Relationship Id="rId1" Type="http://schemas.openxmlformats.org/officeDocument/2006/relationships/vmlDrawing" Target="../drawings/vmlDrawing20.vml"/><Relationship Id="rId5" Type="http://schemas.openxmlformats.org/officeDocument/2006/relationships/image" Target="../media/image24.emf"/><Relationship Id="rId4" Type="http://schemas.openxmlformats.org/officeDocument/2006/relationships/oleObject" Target="../embeddings/oleObject20.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29.xml"/><Relationship Id="rId7" Type="http://schemas.openxmlformats.org/officeDocument/2006/relationships/image" Target="../media/image23.png"/><Relationship Id="rId2" Type="http://schemas.openxmlformats.org/officeDocument/2006/relationships/tags" Target="../tags/tag128.xml"/><Relationship Id="rId1" Type="http://schemas.openxmlformats.org/officeDocument/2006/relationships/vmlDrawing" Target="../drawings/vmlDrawing22.vml"/><Relationship Id="rId6" Type="http://schemas.openxmlformats.org/officeDocument/2006/relationships/image" Target="../media/image22.emf"/><Relationship Id="rId5" Type="http://schemas.openxmlformats.org/officeDocument/2006/relationships/oleObject" Target="../embeddings/oleObject22.bin"/><Relationship Id="rId4"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23.vml"/><Relationship Id="rId6" Type="http://schemas.openxmlformats.org/officeDocument/2006/relationships/image" Target="../media/image24.emf"/><Relationship Id="rId5" Type="http://schemas.openxmlformats.org/officeDocument/2006/relationships/oleObject" Target="../embeddings/oleObject23.bin"/><Relationship Id="rId4"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24.vml"/><Relationship Id="rId5" Type="http://schemas.openxmlformats.org/officeDocument/2006/relationships/image" Target="../media/image24.emf"/><Relationship Id="rId4" Type="http://schemas.openxmlformats.org/officeDocument/2006/relationships/oleObject" Target="../embeddings/oleObject24.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6"/>
        <p:cNvGrpSpPr/>
        <p:nvPr/>
      </p:nvGrpSpPr>
      <p:grpSpPr>
        <a:xfrm>
          <a:off x="0" y="0"/>
          <a:ext cx="0" cy="0"/>
          <a:chOff x="0" y="0"/>
          <a:chExt cx="0" cy="0"/>
        </a:xfrm>
      </p:grpSpPr>
      <p:sp>
        <p:nvSpPr>
          <p:cNvPr id="17" name="Google Shape;17;p2"/>
          <p:cNvSpPr txBox="1">
            <a:spLocks noGrp="1"/>
          </p:cNvSpPr>
          <p:nvPr>
            <p:ph type="title"/>
          </p:nvPr>
        </p:nvSpPr>
        <p:spPr>
          <a:xfrm>
            <a:off x="838200" y="1054100"/>
            <a:ext cx="7899300" cy="6366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2"/>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 name="Google Shape;19;p2"/>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2"/>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8_Title Slide">
  <p:cSld name="8_Title Slide">
    <p:bg>
      <p:bgPr>
        <a:solidFill>
          <a:schemeClr val="lt1"/>
        </a:solidFill>
        <a:effectLst/>
      </p:bgPr>
    </p:bg>
    <p:spTree>
      <p:nvGrpSpPr>
        <p:cNvPr id="1" name="Shape 198"/>
        <p:cNvGrpSpPr/>
        <p:nvPr/>
      </p:nvGrpSpPr>
      <p:grpSpPr>
        <a:xfrm>
          <a:off x="0" y="0"/>
          <a:ext cx="0" cy="0"/>
          <a:chOff x="0" y="0"/>
          <a:chExt cx="0" cy="0"/>
        </a:xfrm>
      </p:grpSpPr>
      <p:pic>
        <p:nvPicPr>
          <p:cNvPr id="199" name="Google Shape;199;p30"/>
          <p:cNvPicPr preferRelativeResize="0"/>
          <p:nvPr/>
        </p:nvPicPr>
        <p:blipFill rotWithShape="1">
          <a:blip r:embed="rId2">
            <a:alphaModFix/>
          </a:blip>
          <a:srcRect l="555" t="41569" r="317" b="16360"/>
          <a:stretch/>
        </p:blipFill>
        <p:spPr>
          <a:xfrm>
            <a:off x="0" y="8704"/>
            <a:ext cx="12191996" cy="6857998"/>
          </a:xfrm>
          <a:prstGeom prst="rect">
            <a:avLst/>
          </a:prstGeom>
          <a:noFill/>
          <a:ln>
            <a:noFill/>
          </a:ln>
        </p:spPr>
      </p:pic>
      <p:sp>
        <p:nvSpPr>
          <p:cNvPr id="200" name="Google Shape;200;p30"/>
          <p:cNvSpPr/>
          <p:nvPr/>
        </p:nvSpPr>
        <p:spPr>
          <a:xfrm flipH="1">
            <a:off x="-68703" y="-78104"/>
            <a:ext cx="12260700" cy="2161200"/>
          </a:xfrm>
          <a:prstGeom prst="rect">
            <a:avLst/>
          </a:prstGeom>
          <a:gradFill>
            <a:gsLst>
              <a:gs pos="0">
                <a:srgbClr val="000000">
                  <a:alpha val="35294"/>
                </a:srgbClr>
              </a:gs>
              <a:gs pos="100000">
                <a:srgbClr val="000000">
                  <a:alpha val="0"/>
                </a:srgbClr>
              </a:gs>
            </a:gsLst>
            <a:lin ang="5400012"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1" name="Google Shape;201;p30"/>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02" name="Google Shape;202;p30"/>
          <p:cNvPicPr preferRelativeResize="0"/>
          <p:nvPr/>
        </p:nvPicPr>
        <p:blipFill rotWithShape="1">
          <a:blip r:embed="rId3">
            <a:alphaModFix/>
          </a:blip>
          <a:srcRect/>
          <a:stretch/>
        </p:blipFill>
        <p:spPr>
          <a:xfrm>
            <a:off x="9478940" y="-234376"/>
            <a:ext cx="3042915" cy="1617405"/>
          </a:xfrm>
          <a:prstGeom prst="rect">
            <a:avLst/>
          </a:prstGeom>
          <a:noFill/>
          <a:ln>
            <a:noFill/>
          </a:ln>
        </p:spPr>
      </p:pic>
      <p:pic>
        <p:nvPicPr>
          <p:cNvPr id="203" name="Google Shape;203;p30"/>
          <p:cNvPicPr preferRelativeResize="0"/>
          <p:nvPr/>
        </p:nvPicPr>
        <p:blipFill rotWithShape="1">
          <a:blip r:embed="rId4">
            <a:alphaModFix/>
          </a:blip>
          <a:srcRect/>
          <a:stretch/>
        </p:blipFill>
        <p:spPr>
          <a:xfrm>
            <a:off x="-30480" y="-17206"/>
            <a:ext cx="2446724" cy="1180589"/>
          </a:xfrm>
          <a:prstGeom prst="rect">
            <a:avLst/>
          </a:prstGeom>
          <a:noFill/>
          <a:ln>
            <a:noFill/>
          </a:ln>
        </p:spPr>
      </p:pic>
      <p:sp>
        <p:nvSpPr>
          <p:cNvPr id="204" name="Google Shape;204;p30"/>
          <p:cNvSpPr txBox="1">
            <a:spLocks noGrp="1"/>
          </p:cNvSpPr>
          <p:nvPr>
            <p:ph type="ctrTitle"/>
          </p:nvPr>
        </p:nvSpPr>
        <p:spPr>
          <a:xfrm>
            <a:off x="1524000" y="1945323"/>
            <a:ext cx="9144000" cy="2387700"/>
          </a:xfrm>
          <a:prstGeom prst="rect">
            <a:avLst/>
          </a:prstGeom>
          <a:solidFill>
            <a:srgbClr val="CFDC34">
              <a:alpha val="80000"/>
            </a:srgbClr>
          </a:solid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rgbClr val="951F39"/>
              </a:buClr>
              <a:buSzPts val="6000"/>
              <a:buFont typeface="Arial"/>
              <a:buNone/>
              <a:defRPr sz="6000">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2_Title Slide">
  <p:cSld name="12_Title Slide">
    <p:bg>
      <p:bgPr>
        <a:blipFill>
          <a:blip r:embed="rId2">
            <a:alphaModFix/>
          </a:blip>
          <a:stretch>
            <a:fillRect/>
          </a:stretch>
        </a:blipFill>
        <a:effectLst/>
      </p:bgPr>
    </p:bg>
    <p:spTree>
      <p:nvGrpSpPr>
        <p:cNvPr id="1" name="Shape 205"/>
        <p:cNvGrpSpPr/>
        <p:nvPr/>
      </p:nvGrpSpPr>
      <p:grpSpPr>
        <a:xfrm>
          <a:off x="0" y="0"/>
          <a:ext cx="0" cy="0"/>
          <a:chOff x="0" y="0"/>
          <a:chExt cx="0" cy="0"/>
        </a:xfrm>
      </p:grpSpPr>
      <p:pic>
        <p:nvPicPr>
          <p:cNvPr id="206" name="Google Shape;206;p31"/>
          <p:cNvPicPr preferRelativeResize="0"/>
          <p:nvPr/>
        </p:nvPicPr>
        <p:blipFill rotWithShape="1">
          <a:blip r:embed="rId3">
            <a:alphaModFix/>
          </a:blip>
          <a:srcRect l="8216" t="835" r="9943" b="923"/>
          <a:stretch/>
        </p:blipFill>
        <p:spPr>
          <a:xfrm>
            <a:off x="-7634" y="-17207"/>
            <a:ext cx="7962900" cy="7009676"/>
          </a:xfrm>
          <a:prstGeom prst="rect">
            <a:avLst/>
          </a:prstGeom>
          <a:noFill/>
          <a:ln>
            <a:noFill/>
          </a:ln>
        </p:spPr>
      </p:pic>
      <p:sp>
        <p:nvSpPr>
          <p:cNvPr id="207" name="Google Shape;207;p31"/>
          <p:cNvSpPr txBox="1">
            <a:spLocks noGrp="1"/>
          </p:cNvSpPr>
          <p:nvPr>
            <p:ph type="ctrTitle"/>
          </p:nvPr>
        </p:nvSpPr>
        <p:spPr>
          <a:xfrm>
            <a:off x="8923020" y="1945323"/>
            <a:ext cx="29337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chemeClr val="lt1"/>
              </a:buClr>
              <a:buSzPts val="3200"/>
              <a:buFont typeface="Arial"/>
              <a:buNone/>
              <a:defRPr sz="3200">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08" name="Google Shape;208;p31"/>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09" name="Google Shape;209;p31"/>
          <p:cNvPicPr preferRelativeResize="0"/>
          <p:nvPr/>
        </p:nvPicPr>
        <p:blipFill rotWithShape="1">
          <a:blip r:embed="rId4">
            <a:alphaModFix/>
          </a:blip>
          <a:srcRect/>
          <a:stretch/>
        </p:blipFill>
        <p:spPr>
          <a:xfrm>
            <a:off x="-30480" y="-17206"/>
            <a:ext cx="2446724" cy="1180589"/>
          </a:xfrm>
          <a:prstGeom prst="rect">
            <a:avLst/>
          </a:prstGeom>
          <a:noFill/>
          <a:ln>
            <a:noFill/>
          </a:ln>
        </p:spPr>
      </p:pic>
      <p:pic>
        <p:nvPicPr>
          <p:cNvPr id="210" name="Google Shape;210;p31"/>
          <p:cNvPicPr preferRelativeResize="0"/>
          <p:nvPr/>
        </p:nvPicPr>
        <p:blipFill rotWithShape="1">
          <a:blip r:embed="rId5">
            <a:alphaModFix/>
          </a:blip>
          <a:srcRect/>
          <a:stretch/>
        </p:blipFill>
        <p:spPr>
          <a:xfrm>
            <a:off x="9478939" y="-234376"/>
            <a:ext cx="3042915" cy="1617405"/>
          </a:xfrm>
          <a:prstGeom prst="rect">
            <a:avLst/>
          </a:prstGeom>
          <a:noFill/>
          <a:ln>
            <a:noFill/>
          </a:ln>
        </p:spPr>
      </p:pic>
      <p:sp>
        <p:nvSpPr>
          <p:cNvPr id="211" name="Google Shape;211;p31"/>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p:cSld name="Title Slide">
    <p:bg>
      <p:bgPr>
        <a:blipFill>
          <a:blip r:embed="rId2">
            <a:alphaModFix/>
          </a:blip>
          <a:stretch>
            <a:fillRect/>
          </a:stretch>
        </a:blipFill>
        <a:effectLst/>
      </p:bgPr>
    </p:bg>
    <p:spTree>
      <p:nvGrpSpPr>
        <p:cNvPr id="1" name="Shape 212"/>
        <p:cNvGrpSpPr/>
        <p:nvPr/>
      </p:nvGrpSpPr>
      <p:grpSpPr>
        <a:xfrm>
          <a:off x="0" y="0"/>
          <a:ext cx="0" cy="0"/>
          <a:chOff x="0" y="0"/>
          <a:chExt cx="0" cy="0"/>
        </a:xfrm>
      </p:grpSpPr>
      <p:sp>
        <p:nvSpPr>
          <p:cNvPr id="213" name="Google Shape;213;p32"/>
          <p:cNvSpPr txBox="1">
            <a:spLocks noGrp="1"/>
          </p:cNvSpPr>
          <p:nvPr>
            <p:ph type="ctrTitle"/>
          </p:nvPr>
        </p:nvSpPr>
        <p:spPr>
          <a:xfrm>
            <a:off x="1524000" y="1945323"/>
            <a:ext cx="91440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chemeClr val="lt1"/>
              </a:buClr>
              <a:buSzPts val="6000"/>
              <a:buFont typeface="Arial"/>
              <a:buNone/>
              <a:defRPr sz="6000">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14" name="Google Shape;214;p32"/>
          <p:cNvSpPr txBox="1">
            <a:spLocks noGrp="1"/>
          </p:cNvSpPr>
          <p:nvPr>
            <p:ph type="dt" idx="10"/>
          </p:nvPr>
        </p:nvSpPr>
        <p:spPr>
          <a:xfrm>
            <a:off x="42672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15" name="Google Shape;215;p32"/>
          <p:cNvPicPr preferRelativeResize="0"/>
          <p:nvPr/>
        </p:nvPicPr>
        <p:blipFill rotWithShape="1">
          <a:blip r:embed="rId3">
            <a:alphaModFix/>
          </a:blip>
          <a:srcRect/>
          <a:stretch/>
        </p:blipFill>
        <p:spPr>
          <a:xfrm>
            <a:off x="-30480" y="-17206"/>
            <a:ext cx="2446724" cy="1180589"/>
          </a:xfrm>
          <a:prstGeom prst="rect">
            <a:avLst/>
          </a:prstGeom>
          <a:noFill/>
          <a:ln>
            <a:noFill/>
          </a:ln>
        </p:spPr>
      </p:pic>
      <p:pic>
        <p:nvPicPr>
          <p:cNvPr id="216" name="Google Shape;216;p32"/>
          <p:cNvPicPr preferRelativeResize="0"/>
          <p:nvPr/>
        </p:nvPicPr>
        <p:blipFill rotWithShape="1">
          <a:blip r:embed="rId4">
            <a:alphaModFix/>
          </a:blip>
          <a:srcRect/>
          <a:stretch/>
        </p:blipFill>
        <p:spPr>
          <a:xfrm>
            <a:off x="9478939" y="-234376"/>
            <a:ext cx="3042915" cy="1617405"/>
          </a:xfrm>
          <a:prstGeom prst="rect">
            <a:avLst/>
          </a:prstGeom>
          <a:noFill/>
          <a:ln>
            <a:noFill/>
          </a:ln>
        </p:spPr>
      </p:pic>
      <p:sp>
        <p:nvSpPr>
          <p:cNvPr id="217" name="Google Shape;217;p32"/>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Slide">
  <p:cSld name="1_Title Slide">
    <p:bg>
      <p:bgPr>
        <a:blipFill>
          <a:blip r:embed="rId2">
            <a:alphaModFix/>
          </a:blip>
          <a:stretch>
            <a:fillRect/>
          </a:stretch>
        </a:blipFill>
        <a:effectLst/>
      </p:bgPr>
    </p:bg>
    <p:spTree>
      <p:nvGrpSpPr>
        <p:cNvPr id="1" name="Shape 218"/>
        <p:cNvGrpSpPr/>
        <p:nvPr/>
      </p:nvGrpSpPr>
      <p:grpSpPr>
        <a:xfrm>
          <a:off x="0" y="0"/>
          <a:ext cx="0" cy="0"/>
          <a:chOff x="0" y="0"/>
          <a:chExt cx="0" cy="0"/>
        </a:xfrm>
      </p:grpSpPr>
      <p:sp>
        <p:nvSpPr>
          <p:cNvPr id="219" name="Google Shape;219;p33"/>
          <p:cNvSpPr txBox="1">
            <a:spLocks noGrp="1"/>
          </p:cNvSpPr>
          <p:nvPr>
            <p:ph type="ctrTitle"/>
          </p:nvPr>
        </p:nvSpPr>
        <p:spPr>
          <a:xfrm>
            <a:off x="1524000" y="1945323"/>
            <a:ext cx="91440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chemeClr val="lt1"/>
              </a:buClr>
              <a:buSzPts val="6000"/>
              <a:buFont typeface="Arial"/>
              <a:buNone/>
              <a:defRPr sz="6000">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20" name="Google Shape;220;p33"/>
          <p:cNvSpPr txBox="1">
            <a:spLocks noGrp="1"/>
          </p:cNvSpPr>
          <p:nvPr>
            <p:ph type="dt" idx="10"/>
          </p:nvPr>
        </p:nvSpPr>
        <p:spPr>
          <a:xfrm>
            <a:off x="42672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21" name="Google Shape;221;p33"/>
          <p:cNvPicPr preferRelativeResize="0"/>
          <p:nvPr/>
        </p:nvPicPr>
        <p:blipFill rotWithShape="1">
          <a:blip r:embed="rId3">
            <a:alphaModFix/>
          </a:blip>
          <a:srcRect/>
          <a:stretch/>
        </p:blipFill>
        <p:spPr>
          <a:xfrm>
            <a:off x="-30480" y="-17206"/>
            <a:ext cx="2446724" cy="1180589"/>
          </a:xfrm>
          <a:prstGeom prst="rect">
            <a:avLst/>
          </a:prstGeom>
          <a:noFill/>
          <a:ln>
            <a:noFill/>
          </a:ln>
        </p:spPr>
      </p:pic>
      <p:pic>
        <p:nvPicPr>
          <p:cNvPr id="222" name="Google Shape;222;p33"/>
          <p:cNvPicPr preferRelativeResize="0"/>
          <p:nvPr/>
        </p:nvPicPr>
        <p:blipFill rotWithShape="1">
          <a:blip r:embed="rId4">
            <a:alphaModFix/>
          </a:blip>
          <a:srcRect/>
          <a:stretch/>
        </p:blipFill>
        <p:spPr>
          <a:xfrm>
            <a:off x="9478939" y="-234376"/>
            <a:ext cx="3042915" cy="1617405"/>
          </a:xfrm>
          <a:prstGeom prst="rect">
            <a:avLst/>
          </a:prstGeom>
          <a:noFill/>
          <a:ln>
            <a:noFill/>
          </a:ln>
        </p:spPr>
      </p:pic>
      <p:sp>
        <p:nvSpPr>
          <p:cNvPr id="223" name="Google Shape;223;p33"/>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_Title Slide">
  <p:cSld name="3_Title Slide">
    <p:bg>
      <p:bgPr>
        <a:blipFill>
          <a:blip r:embed="rId2">
            <a:alphaModFix/>
          </a:blip>
          <a:stretch>
            <a:fillRect/>
          </a:stretch>
        </a:blipFill>
        <a:effectLst/>
      </p:bgPr>
    </p:bg>
    <p:spTree>
      <p:nvGrpSpPr>
        <p:cNvPr id="1" name="Shape 224"/>
        <p:cNvGrpSpPr/>
        <p:nvPr/>
      </p:nvGrpSpPr>
      <p:grpSpPr>
        <a:xfrm>
          <a:off x="0" y="0"/>
          <a:ext cx="0" cy="0"/>
          <a:chOff x="0" y="0"/>
          <a:chExt cx="0" cy="0"/>
        </a:xfrm>
      </p:grpSpPr>
      <p:sp>
        <p:nvSpPr>
          <p:cNvPr id="225" name="Google Shape;225;p34"/>
          <p:cNvSpPr/>
          <p:nvPr/>
        </p:nvSpPr>
        <p:spPr>
          <a:xfrm>
            <a:off x="4229100" y="0"/>
            <a:ext cx="7951500" cy="6858000"/>
          </a:xfrm>
          <a:prstGeom prst="rect">
            <a:avLst/>
          </a:prstGeom>
          <a:solidFill>
            <a:srgbClr val="FFFFFF"/>
          </a:solidFill>
          <a:ln>
            <a:noFill/>
          </a:ln>
        </p:spPr>
      </p:sp>
      <p:sp>
        <p:nvSpPr>
          <p:cNvPr id="226" name="Google Shape;226;p34"/>
          <p:cNvSpPr txBox="1">
            <a:spLocks noGrp="1"/>
          </p:cNvSpPr>
          <p:nvPr>
            <p:ph type="ctrTitle"/>
          </p:nvPr>
        </p:nvSpPr>
        <p:spPr>
          <a:xfrm>
            <a:off x="426720" y="1945323"/>
            <a:ext cx="29337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chemeClr val="lt1"/>
              </a:buClr>
              <a:buSzPts val="3200"/>
              <a:buFont typeface="Arial"/>
              <a:buNone/>
              <a:defRPr sz="3200">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27" name="Google Shape;227;p34"/>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28" name="Google Shape;228;p34"/>
          <p:cNvPicPr preferRelativeResize="0"/>
          <p:nvPr/>
        </p:nvPicPr>
        <p:blipFill rotWithShape="1">
          <a:blip r:embed="rId3">
            <a:alphaModFix/>
          </a:blip>
          <a:srcRect/>
          <a:stretch/>
        </p:blipFill>
        <p:spPr>
          <a:xfrm>
            <a:off x="-30480" y="-17206"/>
            <a:ext cx="2446724" cy="1180589"/>
          </a:xfrm>
          <a:prstGeom prst="rect">
            <a:avLst/>
          </a:prstGeom>
          <a:noFill/>
          <a:ln>
            <a:noFill/>
          </a:ln>
        </p:spPr>
      </p:pic>
      <p:pic>
        <p:nvPicPr>
          <p:cNvPr id="229" name="Google Shape;229;p34"/>
          <p:cNvPicPr preferRelativeResize="0"/>
          <p:nvPr/>
        </p:nvPicPr>
        <p:blipFill rotWithShape="1">
          <a:blip r:embed="rId4">
            <a:alphaModFix/>
          </a:blip>
          <a:srcRect/>
          <a:stretch/>
        </p:blipFill>
        <p:spPr>
          <a:xfrm>
            <a:off x="9478939" y="-234376"/>
            <a:ext cx="3042915" cy="1617405"/>
          </a:xfrm>
          <a:prstGeom prst="rect">
            <a:avLst/>
          </a:prstGeom>
          <a:noFill/>
          <a:ln>
            <a:noFill/>
          </a:ln>
        </p:spPr>
      </p:pic>
      <p:sp>
        <p:nvSpPr>
          <p:cNvPr id="230" name="Google Shape;230;p34"/>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4_Title Slide">
  <p:cSld name="4_Title Slide">
    <p:bg>
      <p:bgPr>
        <a:blipFill>
          <a:blip r:embed="rId2">
            <a:alphaModFix/>
          </a:blip>
          <a:stretch>
            <a:fillRect/>
          </a:stretch>
        </a:blipFill>
        <a:effectLst/>
      </p:bgPr>
    </p:bg>
    <p:spTree>
      <p:nvGrpSpPr>
        <p:cNvPr id="1" name="Shape 231"/>
        <p:cNvGrpSpPr/>
        <p:nvPr/>
      </p:nvGrpSpPr>
      <p:grpSpPr>
        <a:xfrm>
          <a:off x="0" y="0"/>
          <a:ext cx="0" cy="0"/>
          <a:chOff x="0" y="0"/>
          <a:chExt cx="0" cy="0"/>
        </a:xfrm>
      </p:grpSpPr>
      <p:pic>
        <p:nvPicPr>
          <p:cNvPr id="232" name="Google Shape;232;p35"/>
          <p:cNvPicPr preferRelativeResize="0"/>
          <p:nvPr/>
        </p:nvPicPr>
        <p:blipFill rotWithShape="1">
          <a:blip r:embed="rId3">
            <a:alphaModFix/>
          </a:blip>
          <a:srcRect l="4775" t="447" r="18824"/>
          <a:stretch/>
        </p:blipFill>
        <p:spPr>
          <a:xfrm>
            <a:off x="4234815" y="-17206"/>
            <a:ext cx="7951469" cy="6875206"/>
          </a:xfrm>
          <a:prstGeom prst="rect">
            <a:avLst/>
          </a:prstGeom>
          <a:noFill/>
          <a:ln>
            <a:noFill/>
          </a:ln>
        </p:spPr>
      </p:pic>
      <p:sp>
        <p:nvSpPr>
          <p:cNvPr id="233" name="Google Shape;233;p35"/>
          <p:cNvSpPr/>
          <p:nvPr/>
        </p:nvSpPr>
        <p:spPr>
          <a:xfrm flipH="1">
            <a:off x="4234796" y="-78104"/>
            <a:ext cx="7957200" cy="2161200"/>
          </a:xfrm>
          <a:prstGeom prst="rect">
            <a:avLst/>
          </a:prstGeom>
          <a:gradFill>
            <a:gsLst>
              <a:gs pos="0">
                <a:srgbClr val="000000">
                  <a:alpha val="35294"/>
                </a:srgbClr>
              </a:gs>
              <a:gs pos="100000">
                <a:srgbClr val="000000">
                  <a:alpha val="0"/>
                </a:srgbClr>
              </a:gs>
            </a:gsLst>
            <a:lin ang="5400012"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4" name="Google Shape;234;p35"/>
          <p:cNvSpPr txBox="1">
            <a:spLocks noGrp="1"/>
          </p:cNvSpPr>
          <p:nvPr>
            <p:ph type="ctrTitle"/>
          </p:nvPr>
        </p:nvSpPr>
        <p:spPr>
          <a:xfrm>
            <a:off x="426720" y="1945323"/>
            <a:ext cx="29337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chemeClr val="lt1"/>
              </a:buClr>
              <a:buSzPts val="3200"/>
              <a:buFont typeface="Arial"/>
              <a:buNone/>
              <a:defRPr sz="3200">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35" name="Google Shape;235;p35"/>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36" name="Google Shape;236;p35"/>
          <p:cNvPicPr preferRelativeResize="0"/>
          <p:nvPr/>
        </p:nvPicPr>
        <p:blipFill rotWithShape="1">
          <a:blip r:embed="rId4">
            <a:alphaModFix/>
          </a:blip>
          <a:srcRect/>
          <a:stretch/>
        </p:blipFill>
        <p:spPr>
          <a:xfrm>
            <a:off x="-30480" y="-17206"/>
            <a:ext cx="2446724" cy="1180589"/>
          </a:xfrm>
          <a:prstGeom prst="rect">
            <a:avLst/>
          </a:prstGeom>
          <a:noFill/>
          <a:ln>
            <a:noFill/>
          </a:ln>
        </p:spPr>
      </p:pic>
      <p:pic>
        <p:nvPicPr>
          <p:cNvPr id="237" name="Google Shape;237;p35"/>
          <p:cNvPicPr preferRelativeResize="0"/>
          <p:nvPr/>
        </p:nvPicPr>
        <p:blipFill rotWithShape="1">
          <a:blip r:embed="rId5">
            <a:alphaModFix/>
          </a:blip>
          <a:srcRect/>
          <a:stretch/>
        </p:blipFill>
        <p:spPr>
          <a:xfrm>
            <a:off x="9478940" y="-234376"/>
            <a:ext cx="3042915" cy="1617405"/>
          </a:xfrm>
          <a:prstGeom prst="rect">
            <a:avLst/>
          </a:prstGeom>
          <a:noFill/>
          <a:ln>
            <a:noFill/>
          </a:ln>
        </p:spPr>
      </p:pic>
      <p:sp>
        <p:nvSpPr>
          <p:cNvPr id="238" name="Google Shape;238;p35"/>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5_Title Slide">
  <p:cSld name="5_Title Slide">
    <p:bg>
      <p:bgPr>
        <a:solidFill>
          <a:schemeClr val="lt1"/>
        </a:solidFill>
        <a:effectLst/>
      </p:bgPr>
    </p:bg>
    <p:spTree>
      <p:nvGrpSpPr>
        <p:cNvPr id="1" name="Shape 239"/>
        <p:cNvGrpSpPr/>
        <p:nvPr/>
      </p:nvGrpSpPr>
      <p:grpSpPr>
        <a:xfrm>
          <a:off x="0" y="0"/>
          <a:ext cx="0" cy="0"/>
          <a:chOff x="0" y="0"/>
          <a:chExt cx="0" cy="0"/>
        </a:xfrm>
      </p:grpSpPr>
      <p:pic>
        <p:nvPicPr>
          <p:cNvPr id="240" name="Google Shape;240;p36"/>
          <p:cNvPicPr preferRelativeResize="0"/>
          <p:nvPr/>
        </p:nvPicPr>
        <p:blipFill rotWithShape="1">
          <a:blip r:embed="rId2">
            <a:alphaModFix/>
          </a:blip>
          <a:srcRect l="14283" t="249" r="29416"/>
          <a:stretch/>
        </p:blipFill>
        <p:spPr>
          <a:xfrm>
            <a:off x="4229100" y="0"/>
            <a:ext cx="7962900" cy="6858001"/>
          </a:xfrm>
          <a:prstGeom prst="rect">
            <a:avLst/>
          </a:prstGeom>
          <a:noFill/>
          <a:ln>
            <a:noFill/>
          </a:ln>
        </p:spPr>
      </p:pic>
      <p:sp>
        <p:nvSpPr>
          <p:cNvPr id="241" name="Google Shape;241;p36"/>
          <p:cNvSpPr/>
          <p:nvPr/>
        </p:nvSpPr>
        <p:spPr>
          <a:xfrm flipH="1">
            <a:off x="4229096" y="-78104"/>
            <a:ext cx="7962900" cy="2161200"/>
          </a:xfrm>
          <a:prstGeom prst="rect">
            <a:avLst/>
          </a:prstGeom>
          <a:gradFill>
            <a:gsLst>
              <a:gs pos="0">
                <a:srgbClr val="000000">
                  <a:alpha val="35294"/>
                </a:srgbClr>
              </a:gs>
              <a:gs pos="100000">
                <a:srgbClr val="000000">
                  <a:alpha val="0"/>
                </a:srgbClr>
              </a:gs>
            </a:gsLst>
            <a:lin ang="5400012"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 name="Google Shape;242;p36"/>
          <p:cNvSpPr txBox="1">
            <a:spLocks noGrp="1"/>
          </p:cNvSpPr>
          <p:nvPr>
            <p:ph type="ctrTitle"/>
          </p:nvPr>
        </p:nvSpPr>
        <p:spPr>
          <a:xfrm>
            <a:off x="426720" y="1945323"/>
            <a:ext cx="29337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rgbClr val="53575A"/>
              </a:buClr>
              <a:buSzPts val="3200"/>
              <a:buFont typeface="Arial"/>
              <a:buNone/>
              <a:defRPr sz="3200">
                <a:solidFill>
                  <a:srgbClr val="53575A"/>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43" name="Google Shape;243;p36"/>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44" name="Google Shape;244;p36"/>
          <p:cNvPicPr preferRelativeResize="0"/>
          <p:nvPr/>
        </p:nvPicPr>
        <p:blipFill rotWithShape="1">
          <a:blip r:embed="rId3">
            <a:alphaModFix/>
          </a:blip>
          <a:srcRect/>
          <a:stretch/>
        </p:blipFill>
        <p:spPr>
          <a:xfrm>
            <a:off x="9478940" y="-234376"/>
            <a:ext cx="3042915" cy="1617405"/>
          </a:xfrm>
          <a:prstGeom prst="rect">
            <a:avLst/>
          </a:prstGeom>
          <a:noFill/>
          <a:ln>
            <a:noFill/>
          </a:ln>
        </p:spPr>
      </p:pic>
      <p:pic>
        <p:nvPicPr>
          <p:cNvPr id="245" name="Google Shape;245;p36"/>
          <p:cNvPicPr preferRelativeResize="0"/>
          <p:nvPr/>
        </p:nvPicPr>
        <p:blipFill rotWithShape="1">
          <a:blip r:embed="rId4">
            <a:alphaModFix/>
          </a:blip>
          <a:srcRect/>
          <a:stretch/>
        </p:blipFill>
        <p:spPr>
          <a:xfrm>
            <a:off x="-30481" y="-17206"/>
            <a:ext cx="2450595" cy="1182453"/>
          </a:xfrm>
          <a:prstGeom prst="rect">
            <a:avLst/>
          </a:prstGeom>
          <a:noFill/>
          <a:ln>
            <a:noFill/>
          </a:ln>
        </p:spPr>
      </p:pic>
      <p:sp>
        <p:nvSpPr>
          <p:cNvPr id="246" name="Google Shape;246;p36"/>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7_Title Slide">
  <p:cSld name="7_Title Slide">
    <p:bg>
      <p:bgPr>
        <a:solidFill>
          <a:schemeClr val="lt1"/>
        </a:solidFill>
        <a:effectLst/>
      </p:bgPr>
    </p:bg>
    <p:spTree>
      <p:nvGrpSpPr>
        <p:cNvPr id="1" name="Shape 247"/>
        <p:cNvGrpSpPr/>
        <p:nvPr/>
      </p:nvGrpSpPr>
      <p:grpSpPr>
        <a:xfrm>
          <a:off x="0" y="0"/>
          <a:ext cx="0" cy="0"/>
          <a:chOff x="0" y="0"/>
          <a:chExt cx="0" cy="0"/>
        </a:xfrm>
      </p:grpSpPr>
      <p:pic>
        <p:nvPicPr>
          <p:cNvPr id="248" name="Google Shape;248;p37"/>
          <p:cNvPicPr preferRelativeResize="0"/>
          <p:nvPr/>
        </p:nvPicPr>
        <p:blipFill rotWithShape="1">
          <a:blip r:embed="rId2">
            <a:alphaModFix/>
          </a:blip>
          <a:srcRect l="9852" r="12694"/>
          <a:stretch/>
        </p:blipFill>
        <p:spPr>
          <a:xfrm>
            <a:off x="-7634" y="0"/>
            <a:ext cx="7962902" cy="6857999"/>
          </a:xfrm>
          <a:prstGeom prst="rect">
            <a:avLst/>
          </a:prstGeom>
          <a:noFill/>
          <a:ln>
            <a:noFill/>
          </a:ln>
        </p:spPr>
      </p:pic>
      <p:sp>
        <p:nvSpPr>
          <p:cNvPr id="249" name="Google Shape;249;p37"/>
          <p:cNvSpPr txBox="1">
            <a:spLocks noGrp="1"/>
          </p:cNvSpPr>
          <p:nvPr>
            <p:ph type="ctrTitle"/>
          </p:nvPr>
        </p:nvSpPr>
        <p:spPr>
          <a:xfrm>
            <a:off x="8923020" y="1945323"/>
            <a:ext cx="29337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rgbClr val="53575A"/>
              </a:buClr>
              <a:buSzPts val="3200"/>
              <a:buFont typeface="Arial"/>
              <a:buNone/>
              <a:defRPr sz="3200">
                <a:solidFill>
                  <a:srgbClr val="53575A"/>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50" name="Google Shape;250;p37"/>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51" name="Google Shape;251;p37"/>
          <p:cNvPicPr preferRelativeResize="0"/>
          <p:nvPr/>
        </p:nvPicPr>
        <p:blipFill rotWithShape="1">
          <a:blip r:embed="rId3">
            <a:alphaModFix/>
          </a:blip>
          <a:srcRect/>
          <a:stretch/>
        </p:blipFill>
        <p:spPr>
          <a:xfrm>
            <a:off x="9478940" y="-234376"/>
            <a:ext cx="3042915" cy="1617404"/>
          </a:xfrm>
          <a:prstGeom prst="rect">
            <a:avLst/>
          </a:prstGeom>
          <a:noFill/>
          <a:ln>
            <a:noFill/>
          </a:ln>
        </p:spPr>
      </p:pic>
      <p:pic>
        <p:nvPicPr>
          <p:cNvPr id="252" name="Google Shape;252;p37"/>
          <p:cNvPicPr preferRelativeResize="0"/>
          <p:nvPr/>
        </p:nvPicPr>
        <p:blipFill rotWithShape="1">
          <a:blip r:embed="rId4">
            <a:alphaModFix/>
          </a:blip>
          <a:srcRect/>
          <a:stretch/>
        </p:blipFill>
        <p:spPr>
          <a:xfrm>
            <a:off x="-30481" y="-17206"/>
            <a:ext cx="2450595" cy="1182453"/>
          </a:xfrm>
          <a:prstGeom prst="rect">
            <a:avLst/>
          </a:prstGeom>
          <a:noFill/>
          <a:ln>
            <a:noFill/>
          </a:ln>
        </p:spPr>
      </p:pic>
      <p:sp>
        <p:nvSpPr>
          <p:cNvPr id="253" name="Google Shape;253;p37"/>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9_Title Slide">
  <p:cSld name="9_Title Slide">
    <p:bg>
      <p:bgPr>
        <a:solidFill>
          <a:schemeClr val="lt1"/>
        </a:solidFill>
        <a:effectLst/>
      </p:bgPr>
    </p:bg>
    <p:spTree>
      <p:nvGrpSpPr>
        <p:cNvPr id="1" name="Shape 254"/>
        <p:cNvGrpSpPr/>
        <p:nvPr/>
      </p:nvGrpSpPr>
      <p:grpSpPr>
        <a:xfrm>
          <a:off x="0" y="0"/>
          <a:ext cx="0" cy="0"/>
          <a:chOff x="0" y="0"/>
          <a:chExt cx="0" cy="0"/>
        </a:xfrm>
      </p:grpSpPr>
      <p:pic>
        <p:nvPicPr>
          <p:cNvPr id="255" name="Google Shape;255;p38"/>
          <p:cNvPicPr preferRelativeResize="0"/>
          <p:nvPr/>
        </p:nvPicPr>
        <p:blipFill rotWithShape="1">
          <a:blip r:embed="rId2">
            <a:alphaModFix/>
          </a:blip>
          <a:srcRect l="16824" r="6317"/>
          <a:stretch/>
        </p:blipFill>
        <p:spPr>
          <a:xfrm>
            <a:off x="4229100" y="-17206"/>
            <a:ext cx="7962900" cy="6875206"/>
          </a:xfrm>
          <a:prstGeom prst="rect">
            <a:avLst/>
          </a:prstGeom>
          <a:noFill/>
          <a:ln>
            <a:noFill/>
          </a:ln>
        </p:spPr>
      </p:pic>
      <p:sp>
        <p:nvSpPr>
          <p:cNvPr id="256" name="Google Shape;256;p38"/>
          <p:cNvSpPr/>
          <p:nvPr/>
        </p:nvSpPr>
        <p:spPr>
          <a:xfrm flipH="1">
            <a:off x="4229096" y="-78104"/>
            <a:ext cx="7962900" cy="2161200"/>
          </a:xfrm>
          <a:prstGeom prst="rect">
            <a:avLst/>
          </a:prstGeom>
          <a:gradFill>
            <a:gsLst>
              <a:gs pos="0">
                <a:srgbClr val="000000">
                  <a:alpha val="35294"/>
                </a:srgbClr>
              </a:gs>
              <a:gs pos="100000">
                <a:srgbClr val="000000">
                  <a:alpha val="0"/>
                </a:srgbClr>
              </a:gs>
            </a:gsLst>
            <a:lin ang="5400012"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 name="Google Shape;257;p38"/>
          <p:cNvSpPr txBox="1">
            <a:spLocks noGrp="1"/>
          </p:cNvSpPr>
          <p:nvPr>
            <p:ph type="ctrTitle"/>
          </p:nvPr>
        </p:nvSpPr>
        <p:spPr>
          <a:xfrm>
            <a:off x="426720" y="1945323"/>
            <a:ext cx="29337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rgbClr val="53575A"/>
              </a:buClr>
              <a:buSzPts val="3200"/>
              <a:buFont typeface="Arial"/>
              <a:buNone/>
              <a:defRPr sz="3200">
                <a:solidFill>
                  <a:srgbClr val="53575A"/>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58" name="Google Shape;258;p38"/>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59" name="Google Shape;259;p38"/>
          <p:cNvPicPr preferRelativeResize="0"/>
          <p:nvPr/>
        </p:nvPicPr>
        <p:blipFill rotWithShape="1">
          <a:blip r:embed="rId3">
            <a:alphaModFix/>
          </a:blip>
          <a:srcRect/>
          <a:stretch/>
        </p:blipFill>
        <p:spPr>
          <a:xfrm>
            <a:off x="9478940" y="-234376"/>
            <a:ext cx="3042915" cy="1617405"/>
          </a:xfrm>
          <a:prstGeom prst="rect">
            <a:avLst/>
          </a:prstGeom>
          <a:noFill/>
          <a:ln>
            <a:noFill/>
          </a:ln>
        </p:spPr>
      </p:pic>
      <p:pic>
        <p:nvPicPr>
          <p:cNvPr id="260" name="Google Shape;260;p38"/>
          <p:cNvPicPr preferRelativeResize="0"/>
          <p:nvPr/>
        </p:nvPicPr>
        <p:blipFill rotWithShape="1">
          <a:blip r:embed="rId4">
            <a:alphaModFix/>
          </a:blip>
          <a:srcRect/>
          <a:stretch/>
        </p:blipFill>
        <p:spPr>
          <a:xfrm>
            <a:off x="-30481" y="-17206"/>
            <a:ext cx="2450595" cy="1182453"/>
          </a:xfrm>
          <a:prstGeom prst="rect">
            <a:avLst/>
          </a:prstGeom>
          <a:noFill/>
          <a:ln>
            <a:noFill/>
          </a:ln>
        </p:spPr>
      </p:pic>
      <p:sp>
        <p:nvSpPr>
          <p:cNvPr id="261" name="Google Shape;261;p38"/>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0_Title Slide">
  <p:cSld name="10_Title Slide">
    <p:bg>
      <p:bgPr>
        <a:solidFill>
          <a:schemeClr val="lt1"/>
        </a:solidFill>
        <a:effectLst/>
      </p:bgPr>
    </p:bg>
    <p:spTree>
      <p:nvGrpSpPr>
        <p:cNvPr id="1" name="Shape 262"/>
        <p:cNvGrpSpPr/>
        <p:nvPr/>
      </p:nvGrpSpPr>
      <p:grpSpPr>
        <a:xfrm>
          <a:off x="0" y="0"/>
          <a:ext cx="0" cy="0"/>
          <a:chOff x="0" y="0"/>
          <a:chExt cx="0" cy="0"/>
        </a:xfrm>
      </p:grpSpPr>
      <p:pic>
        <p:nvPicPr>
          <p:cNvPr id="263" name="Google Shape;263;p39"/>
          <p:cNvPicPr preferRelativeResize="0"/>
          <p:nvPr/>
        </p:nvPicPr>
        <p:blipFill rotWithShape="1">
          <a:blip r:embed="rId2">
            <a:alphaModFix/>
          </a:blip>
          <a:srcRect l="18430" r="4711"/>
          <a:stretch/>
        </p:blipFill>
        <p:spPr>
          <a:xfrm>
            <a:off x="-7634" y="-17206"/>
            <a:ext cx="7962901" cy="6875206"/>
          </a:xfrm>
          <a:prstGeom prst="rect">
            <a:avLst/>
          </a:prstGeom>
          <a:noFill/>
          <a:ln>
            <a:noFill/>
          </a:ln>
        </p:spPr>
      </p:pic>
      <p:sp>
        <p:nvSpPr>
          <p:cNvPr id="264" name="Google Shape;264;p39"/>
          <p:cNvSpPr txBox="1">
            <a:spLocks noGrp="1"/>
          </p:cNvSpPr>
          <p:nvPr>
            <p:ph type="ctrTitle"/>
          </p:nvPr>
        </p:nvSpPr>
        <p:spPr>
          <a:xfrm>
            <a:off x="8923020" y="1945323"/>
            <a:ext cx="2933700" cy="2387700"/>
          </a:xfrm>
          <a:prstGeom prst="rect">
            <a:avLst/>
          </a:prstGeom>
          <a:no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rgbClr val="53575A"/>
              </a:buClr>
              <a:buSzPts val="3200"/>
              <a:buFont typeface="Arial"/>
              <a:buNone/>
              <a:defRPr sz="3200">
                <a:solidFill>
                  <a:srgbClr val="53575A"/>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65" name="Google Shape;265;p39"/>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66" name="Google Shape;266;p39"/>
          <p:cNvPicPr preferRelativeResize="0"/>
          <p:nvPr/>
        </p:nvPicPr>
        <p:blipFill rotWithShape="1">
          <a:blip r:embed="rId3">
            <a:alphaModFix/>
          </a:blip>
          <a:srcRect/>
          <a:stretch/>
        </p:blipFill>
        <p:spPr>
          <a:xfrm>
            <a:off x="9478940" y="-234376"/>
            <a:ext cx="3042915" cy="1617404"/>
          </a:xfrm>
          <a:prstGeom prst="rect">
            <a:avLst/>
          </a:prstGeom>
          <a:noFill/>
          <a:ln>
            <a:noFill/>
          </a:ln>
        </p:spPr>
      </p:pic>
      <p:pic>
        <p:nvPicPr>
          <p:cNvPr id="267" name="Google Shape;267;p39"/>
          <p:cNvPicPr preferRelativeResize="0"/>
          <p:nvPr/>
        </p:nvPicPr>
        <p:blipFill rotWithShape="1">
          <a:blip r:embed="rId4">
            <a:alphaModFix/>
          </a:blip>
          <a:srcRect/>
          <a:stretch/>
        </p:blipFill>
        <p:spPr>
          <a:xfrm>
            <a:off x="-30480" y="-17206"/>
            <a:ext cx="2446724" cy="1180589"/>
          </a:xfrm>
          <a:prstGeom prst="rect">
            <a:avLst/>
          </a:prstGeom>
          <a:noFill/>
          <a:ln>
            <a:noFill/>
          </a:ln>
        </p:spPr>
      </p:pic>
      <p:sp>
        <p:nvSpPr>
          <p:cNvPr id="268" name="Google Shape;268;p39"/>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5"/>
        <p:cNvGrpSpPr/>
        <p:nvPr/>
      </p:nvGrpSpPr>
      <p:grpSpPr>
        <a:xfrm>
          <a:off x="0" y="0"/>
          <a:ext cx="0" cy="0"/>
          <a:chOff x="0" y="0"/>
          <a:chExt cx="0" cy="0"/>
        </a:xfrm>
      </p:grpSpPr>
      <p:sp>
        <p:nvSpPr>
          <p:cNvPr id="36" name="Google Shape;36;p5"/>
          <p:cNvSpPr txBox="1">
            <a:spLocks noGrp="1"/>
          </p:cNvSpPr>
          <p:nvPr>
            <p:ph type="title"/>
          </p:nvPr>
        </p:nvSpPr>
        <p:spPr>
          <a:xfrm>
            <a:off x="831850" y="1709738"/>
            <a:ext cx="10515600" cy="28527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5"/>
          <p:cNvSpPr txBox="1">
            <a:spLocks noGrp="1"/>
          </p:cNvSpPr>
          <p:nvPr>
            <p:ph type="body" idx="1"/>
          </p:nvPr>
        </p:nvSpPr>
        <p:spPr>
          <a:xfrm>
            <a:off x="831850" y="4589463"/>
            <a:ext cx="10515600" cy="15003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8" name="Google Shape;38;p5"/>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5"/>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1_Title Slide">
  <p:cSld name="11_Title Slide">
    <p:bg>
      <p:bgPr>
        <a:solidFill>
          <a:schemeClr val="lt1"/>
        </a:solidFill>
        <a:effectLst/>
      </p:bgPr>
    </p:bg>
    <p:spTree>
      <p:nvGrpSpPr>
        <p:cNvPr id="1" name="Shape 269"/>
        <p:cNvGrpSpPr/>
        <p:nvPr/>
      </p:nvGrpSpPr>
      <p:grpSpPr>
        <a:xfrm>
          <a:off x="0" y="0"/>
          <a:ext cx="0" cy="0"/>
          <a:chOff x="0" y="0"/>
          <a:chExt cx="0" cy="0"/>
        </a:xfrm>
      </p:grpSpPr>
      <p:pic>
        <p:nvPicPr>
          <p:cNvPr id="270" name="Google Shape;270;p40"/>
          <p:cNvPicPr preferRelativeResize="0"/>
          <p:nvPr/>
        </p:nvPicPr>
        <p:blipFill rotWithShape="1">
          <a:blip r:embed="rId2">
            <a:alphaModFix/>
          </a:blip>
          <a:srcRect l="169" t="13197" r="-69" b="2528"/>
          <a:stretch/>
        </p:blipFill>
        <p:spPr>
          <a:xfrm>
            <a:off x="-68597" y="-17206"/>
            <a:ext cx="12260598" cy="6875206"/>
          </a:xfrm>
          <a:prstGeom prst="rect">
            <a:avLst/>
          </a:prstGeom>
          <a:solidFill>
            <a:schemeClr val="lt1"/>
          </a:solidFill>
          <a:ln>
            <a:noFill/>
          </a:ln>
        </p:spPr>
      </p:pic>
      <p:sp>
        <p:nvSpPr>
          <p:cNvPr id="271" name="Google Shape;271;p40"/>
          <p:cNvSpPr/>
          <p:nvPr/>
        </p:nvSpPr>
        <p:spPr>
          <a:xfrm flipH="1">
            <a:off x="-68703" y="-78104"/>
            <a:ext cx="12260700" cy="2161200"/>
          </a:xfrm>
          <a:prstGeom prst="rect">
            <a:avLst/>
          </a:prstGeom>
          <a:gradFill>
            <a:gsLst>
              <a:gs pos="0">
                <a:srgbClr val="000000">
                  <a:alpha val="35294"/>
                </a:srgbClr>
              </a:gs>
              <a:gs pos="100000">
                <a:srgbClr val="000000">
                  <a:alpha val="0"/>
                </a:srgbClr>
              </a:gs>
            </a:gsLst>
            <a:lin ang="5400012"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2" name="Google Shape;272;p40"/>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273" name="Google Shape;273;p40"/>
          <p:cNvPicPr preferRelativeResize="0"/>
          <p:nvPr/>
        </p:nvPicPr>
        <p:blipFill rotWithShape="1">
          <a:blip r:embed="rId3">
            <a:alphaModFix/>
          </a:blip>
          <a:srcRect/>
          <a:stretch/>
        </p:blipFill>
        <p:spPr>
          <a:xfrm>
            <a:off x="9478940" y="-234376"/>
            <a:ext cx="3042915" cy="1617405"/>
          </a:xfrm>
          <a:prstGeom prst="rect">
            <a:avLst/>
          </a:prstGeom>
          <a:noFill/>
          <a:ln>
            <a:noFill/>
          </a:ln>
        </p:spPr>
      </p:pic>
      <p:pic>
        <p:nvPicPr>
          <p:cNvPr id="274" name="Google Shape;274;p40"/>
          <p:cNvPicPr preferRelativeResize="0"/>
          <p:nvPr/>
        </p:nvPicPr>
        <p:blipFill rotWithShape="1">
          <a:blip r:embed="rId4">
            <a:alphaModFix/>
          </a:blip>
          <a:srcRect/>
          <a:stretch/>
        </p:blipFill>
        <p:spPr>
          <a:xfrm>
            <a:off x="-30480" y="-17206"/>
            <a:ext cx="2446724" cy="1180589"/>
          </a:xfrm>
          <a:prstGeom prst="rect">
            <a:avLst/>
          </a:prstGeom>
          <a:noFill/>
          <a:ln>
            <a:noFill/>
          </a:ln>
        </p:spPr>
      </p:pic>
      <p:sp>
        <p:nvSpPr>
          <p:cNvPr id="275" name="Google Shape;275;p40"/>
          <p:cNvSpPr txBox="1">
            <a:spLocks noGrp="1"/>
          </p:cNvSpPr>
          <p:nvPr>
            <p:ph type="ctrTitle"/>
          </p:nvPr>
        </p:nvSpPr>
        <p:spPr>
          <a:xfrm>
            <a:off x="8923020" y="1945323"/>
            <a:ext cx="2933700" cy="2387700"/>
          </a:xfrm>
          <a:prstGeom prst="rect">
            <a:avLst/>
          </a:prstGeom>
          <a:solidFill>
            <a:srgbClr val="951F39">
              <a:alpha val="80000"/>
            </a:srgbClr>
          </a:solidFill>
          <a:ln>
            <a:noFill/>
          </a:ln>
        </p:spPr>
        <p:txBody>
          <a:bodyPr spcFirstLastPara="1" wrap="square" lIns="91425" tIns="45700" rIns="91425" bIns="45700" anchor="ctr" anchorCtr="0">
            <a:noAutofit/>
          </a:bodyPr>
          <a:lstStyle>
            <a:lvl1pPr lvl="0" algn="ctr" rtl="0">
              <a:lnSpc>
                <a:spcPct val="90000"/>
              </a:lnSpc>
              <a:spcBef>
                <a:spcPts val="0"/>
              </a:spcBef>
              <a:spcAft>
                <a:spcPts val="0"/>
              </a:spcAft>
              <a:buClr>
                <a:schemeClr val="lt1"/>
              </a:buClr>
              <a:buSzPts val="3200"/>
              <a:buFont typeface="Arial"/>
              <a:buNone/>
              <a:defRPr sz="3200">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76" name="Google Shape;276;p40"/>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77"/>
        <p:cNvGrpSpPr/>
        <p:nvPr/>
      </p:nvGrpSpPr>
      <p:grpSpPr>
        <a:xfrm>
          <a:off x="0" y="0"/>
          <a:ext cx="0" cy="0"/>
          <a:chOff x="0" y="0"/>
          <a:chExt cx="0" cy="0"/>
        </a:xfrm>
      </p:grpSpPr>
      <p:sp>
        <p:nvSpPr>
          <p:cNvPr id="278" name="Google Shape;278;p41"/>
          <p:cNvSpPr txBox="1">
            <a:spLocks noGrp="1"/>
          </p:cNvSpPr>
          <p:nvPr>
            <p:ph type="title"/>
          </p:nvPr>
        </p:nvSpPr>
        <p:spPr>
          <a:xfrm>
            <a:off x="839788" y="365125"/>
            <a:ext cx="10515600" cy="1325700"/>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rgbClr val="53575A"/>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79" name="Google Shape;279;p41"/>
          <p:cNvSpPr txBox="1">
            <a:spLocks noGrp="1"/>
          </p:cNvSpPr>
          <p:nvPr>
            <p:ph type="body" idx="1"/>
          </p:nvPr>
        </p:nvSpPr>
        <p:spPr>
          <a:xfrm>
            <a:off x="839788" y="1681163"/>
            <a:ext cx="5157900" cy="823800"/>
          </a:xfrm>
          <a:prstGeom prst="rect">
            <a:avLst/>
          </a:prstGeom>
          <a:noFill/>
          <a:ln>
            <a:noFill/>
          </a:ln>
        </p:spPr>
        <p:txBody>
          <a:bodyPr spcFirstLastPara="1" wrap="square" lIns="91425" tIns="45700" rIns="91425" bIns="45700" anchor="b" anchorCtr="0">
            <a:noAutofit/>
          </a:bodyPr>
          <a:lstStyle>
            <a:lvl1pPr marL="457200" lvl="0" indent="-228600" algn="l" rtl="0">
              <a:lnSpc>
                <a:spcPct val="90000"/>
              </a:lnSpc>
              <a:spcBef>
                <a:spcPts val="1000"/>
              </a:spcBef>
              <a:spcAft>
                <a:spcPts val="0"/>
              </a:spcAft>
              <a:buClr>
                <a:srgbClr val="53575A"/>
              </a:buClr>
              <a:buSzPts val="2400"/>
              <a:buNone/>
              <a:defRPr sz="2400" b="1"/>
            </a:lvl1pPr>
            <a:lvl2pPr marL="914400" lvl="1" indent="-228600" algn="l" rtl="0">
              <a:lnSpc>
                <a:spcPct val="90000"/>
              </a:lnSpc>
              <a:spcBef>
                <a:spcPts val="500"/>
              </a:spcBef>
              <a:spcAft>
                <a:spcPts val="0"/>
              </a:spcAft>
              <a:buClr>
                <a:srgbClr val="53575A"/>
              </a:buClr>
              <a:buSzPts val="2000"/>
              <a:buNone/>
              <a:defRPr sz="2000" b="1"/>
            </a:lvl2pPr>
            <a:lvl3pPr marL="1371600" lvl="2" indent="-228600" algn="l" rtl="0">
              <a:lnSpc>
                <a:spcPct val="90000"/>
              </a:lnSpc>
              <a:spcBef>
                <a:spcPts val="500"/>
              </a:spcBef>
              <a:spcAft>
                <a:spcPts val="0"/>
              </a:spcAft>
              <a:buClr>
                <a:srgbClr val="53575A"/>
              </a:buClr>
              <a:buSzPts val="1800"/>
              <a:buNone/>
              <a:defRPr sz="1800" b="1"/>
            </a:lvl3pPr>
            <a:lvl4pPr marL="1828800" lvl="3" indent="-228600" algn="l" rtl="0">
              <a:lnSpc>
                <a:spcPct val="90000"/>
              </a:lnSpc>
              <a:spcBef>
                <a:spcPts val="500"/>
              </a:spcBef>
              <a:spcAft>
                <a:spcPts val="0"/>
              </a:spcAft>
              <a:buClr>
                <a:srgbClr val="53575A"/>
              </a:buClr>
              <a:buSzPts val="1600"/>
              <a:buNone/>
              <a:defRPr sz="1600" b="1"/>
            </a:lvl4pPr>
            <a:lvl5pPr marL="2286000" lvl="4" indent="-228600" algn="l" rtl="0">
              <a:lnSpc>
                <a:spcPct val="90000"/>
              </a:lnSpc>
              <a:spcBef>
                <a:spcPts val="500"/>
              </a:spcBef>
              <a:spcAft>
                <a:spcPts val="0"/>
              </a:spcAft>
              <a:buClr>
                <a:srgbClr val="53575A"/>
              </a:buClr>
              <a:buSzPts val="1600"/>
              <a:buNone/>
              <a:defRPr sz="1600" b="1"/>
            </a:lvl5pPr>
            <a:lvl6pPr marL="2743200" lvl="5" indent="-228600" algn="l" rtl="0">
              <a:lnSpc>
                <a:spcPct val="90000"/>
              </a:lnSpc>
              <a:spcBef>
                <a:spcPts val="500"/>
              </a:spcBef>
              <a:spcAft>
                <a:spcPts val="0"/>
              </a:spcAft>
              <a:buClr>
                <a:schemeClr val="dk1"/>
              </a:buClr>
              <a:buSzPts val="1600"/>
              <a:buNone/>
              <a:defRPr sz="1600" b="1"/>
            </a:lvl6pPr>
            <a:lvl7pPr marL="3200400" lvl="6" indent="-228600" algn="l" rtl="0">
              <a:lnSpc>
                <a:spcPct val="90000"/>
              </a:lnSpc>
              <a:spcBef>
                <a:spcPts val="500"/>
              </a:spcBef>
              <a:spcAft>
                <a:spcPts val="0"/>
              </a:spcAft>
              <a:buClr>
                <a:schemeClr val="dk1"/>
              </a:buClr>
              <a:buSzPts val="1600"/>
              <a:buNone/>
              <a:defRPr sz="1600" b="1"/>
            </a:lvl7pPr>
            <a:lvl8pPr marL="3657600" lvl="7" indent="-228600" algn="l" rtl="0">
              <a:lnSpc>
                <a:spcPct val="90000"/>
              </a:lnSpc>
              <a:spcBef>
                <a:spcPts val="500"/>
              </a:spcBef>
              <a:spcAft>
                <a:spcPts val="0"/>
              </a:spcAft>
              <a:buClr>
                <a:schemeClr val="dk1"/>
              </a:buClr>
              <a:buSzPts val="1600"/>
              <a:buNone/>
              <a:defRPr sz="1600" b="1"/>
            </a:lvl8pPr>
            <a:lvl9pPr marL="4114800" lvl="8" indent="-228600" algn="l" rtl="0">
              <a:lnSpc>
                <a:spcPct val="90000"/>
              </a:lnSpc>
              <a:spcBef>
                <a:spcPts val="500"/>
              </a:spcBef>
              <a:spcAft>
                <a:spcPts val="0"/>
              </a:spcAft>
              <a:buClr>
                <a:schemeClr val="dk1"/>
              </a:buClr>
              <a:buSzPts val="1600"/>
              <a:buNone/>
              <a:defRPr sz="1600" b="1"/>
            </a:lvl9pPr>
          </a:lstStyle>
          <a:p>
            <a:endParaRPr/>
          </a:p>
        </p:txBody>
      </p:sp>
      <p:sp>
        <p:nvSpPr>
          <p:cNvPr id="280" name="Google Shape;280;p41"/>
          <p:cNvSpPr txBox="1">
            <a:spLocks noGrp="1"/>
          </p:cNvSpPr>
          <p:nvPr>
            <p:ph type="body" idx="2"/>
          </p:nvPr>
        </p:nvSpPr>
        <p:spPr>
          <a:xfrm>
            <a:off x="839788" y="2505075"/>
            <a:ext cx="5157900" cy="3684600"/>
          </a:xfrm>
          <a:prstGeom prst="rect">
            <a:avLst/>
          </a:prstGeom>
          <a:noFill/>
          <a:ln>
            <a:noFill/>
          </a:ln>
        </p:spPr>
        <p:txBody>
          <a:bodyPr spcFirstLastPara="1" wrap="square" lIns="91425" tIns="45700" rIns="91425" bIns="45700" anchor="t" anchorCtr="0">
            <a:noAutofit/>
          </a:bodyPr>
          <a:lstStyle>
            <a:lvl1pPr marL="457200" lvl="0" indent="-342900" algn="l" rtl="0">
              <a:lnSpc>
                <a:spcPct val="90000"/>
              </a:lnSpc>
              <a:spcBef>
                <a:spcPts val="1000"/>
              </a:spcBef>
              <a:spcAft>
                <a:spcPts val="0"/>
              </a:spcAft>
              <a:buClr>
                <a:srgbClr val="53575A"/>
              </a:buClr>
              <a:buSzPts val="1800"/>
              <a:buChar char="•"/>
              <a:defRPr/>
            </a:lvl1pPr>
            <a:lvl2pPr marL="914400" lvl="1" indent="-342900" algn="l" rtl="0">
              <a:lnSpc>
                <a:spcPct val="90000"/>
              </a:lnSpc>
              <a:spcBef>
                <a:spcPts val="500"/>
              </a:spcBef>
              <a:spcAft>
                <a:spcPts val="0"/>
              </a:spcAft>
              <a:buClr>
                <a:srgbClr val="53575A"/>
              </a:buClr>
              <a:buSzPts val="1800"/>
              <a:buChar char="•"/>
              <a:defRPr/>
            </a:lvl2pPr>
            <a:lvl3pPr marL="1371600" lvl="2" indent="-342900" algn="l" rtl="0">
              <a:lnSpc>
                <a:spcPct val="90000"/>
              </a:lnSpc>
              <a:spcBef>
                <a:spcPts val="500"/>
              </a:spcBef>
              <a:spcAft>
                <a:spcPts val="0"/>
              </a:spcAft>
              <a:buClr>
                <a:srgbClr val="53575A"/>
              </a:buClr>
              <a:buSzPts val="1800"/>
              <a:buChar char="•"/>
              <a:defRPr/>
            </a:lvl3pPr>
            <a:lvl4pPr marL="1828800" lvl="3" indent="-342900" algn="l" rtl="0">
              <a:lnSpc>
                <a:spcPct val="90000"/>
              </a:lnSpc>
              <a:spcBef>
                <a:spcPts val="500"/>
              </a:spcBef>
              <a:spcAft>
                <a:spcPts val="0"/>
              </a:spcAft>
              <a:buClr>
                <a:srgbClr val="53575A"/>
              </a:buClr>
              <a:buSzPts val="1800"/>
              <a:buChar char="•"/>
              <a:defRPr/>
            </a:lvl4pPr>
            <a:lvl5pPr marL="2286000" lvl="4" indent="-342900" algn="l" rtl="0">
              <a:lnSpc>
                <a:spcPct val="90000"/>
              </a:lnSpc>
              <a:spcBef>
                <a:spcPts val="500"/>
              </a:spcBef>
              <a:spcAft>
                <a:spcPts val="0"/>
              </a:spcAft>
              <a:buClr>
                <a:srgbClr val="53575A"/>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281" name="Google Shape;281;p41"/>
          <p:cNvSpPr txBox="1">
            <a:spLocks noGrp="1"/>
          </p:cNvSpPr>
          <p:nvPr>
            <p:ph type="body" idx="3"/>
          </p:nvPr>
        </p:nvSpPr>
        <p:spPr>
          <a:xfrm>
            <a:off x="6172200" y="1681163"/>
            <a:ext cx="5183100" cy="823800"/>
          </a:xfrm>
          <a:prstGeom prst="rect">
            <a:avLst/>
          </a:prstGeom>
          <a:noFill/>
          <a:ln>
            <a:noFill/>
          </a:ln>
        </p:spPr>
        <p:txBody>
          <a:bodyPr spcFirstLastPara="1" wrap="square" lIns="91425" tIns="45700" rIns="91425" bIns="45700" anchor="b" anchorCtr="0">
            <a:noAutofit/>
          </a:bodyPr>
          <a:lstStyle>
            <a:lvl1pPr marL="457200" lvl="0" indent="-228600" algn="l" rtl="0">
              <a:lnSpc>
                <a:spcPct val="90000"/>
              </a:lnSpc>
              <a:spcBef>
                <a:spcPts val="1000"/>
              </a:spcBef>
              <a:spcAft>
                <a:spcPts val="0"/>
              </a:spcAft>
              <a:buClr>
                <a:srgbClr val="53575A"/>
              </a:buClr>
              <a:buSzPts val="2400"/>
              <a:buNone/>
              <a:defRPr sz="2400" b="1"/>
            </a:lvl1pPr>
            <a:lvl2pPr marL="914400" lvl="1" indent="-228600" algn="l" rtl="0">
              <a:lnSpc>
                <a:spcPct val="90000"/>
              </a:lnSpc>
              <a:spcBef>
                <a:spcPts val="500"/>
              </a:spcBef>
              <a:spcAft>
                <a:spcPts val="0"/>
              </a:spcAft>
              <a:buClr>
                <a:srgbClr val="53575A"/>
              </a:buClr>
              <a:buSzPts val="2000"/>
              <a:buNone/>
              <a:defRPr sz="2000" b="1"/>
            </a:lvl2pPr>
            <a:lvl3pPr marL="1371600" lvl="2" indent="-228600" algn="l" rtl="0">
              <a:lnSpc>
                <a:spcPct val="90000"/>
              </a:lnSpc>
              <a:spcBef>
                <a:spcPts val="500"/>
              </a:spcBef>
              <a:spcAft>
                <a:spcPts val="0"/>
              </a:spcAft>
              <a:buClr>
                <a:srgbClr val="53575A"/>
              </a:buClr>
              <a:buSzPts val="1800"/>
              <a:buNone/>
              <a:defRPr sz="1800" b="1"/>
            </a:lvl3pPr>
            <a:lvl4pPr marL="1828800" lvl="3" indent="-228600" algn="l" rtl="0">
              <a:lnSpc>
                <a:spcPct val="90000"/>
              </a:lnSpc>
              <a:spcBef>
                <a:spcPts val="500"/>
              </a:spcBef>
              <a:spcAft>
                <a:spcPts val="0"/>
              </a:spcAft>
              <a:buClr>
                <a:srgbClr val="53575A"/>
              </a:buClr>
              <a:buSzPts val="1600"/>
              <a:buNone/>
              <a:defRPr sz="1600" b="1"/>
            </a:lvl4pPr>
            <a:lvl5pPr marL="2286000" lvl="4" indent="-228600" algn="l" rtl="0">
              <a:lnSpc>
                <a:spcPct val="90000"/>
              </a:lnSpc>
              <a:spcBef>
                <a:spcPts val="500"/>
              </a:spcBef>
              <a:spcAft>
                <a:spcPts val="0"/>
              </a:spcAft>
              <a:buClr>
                <a:srgbClr val="53575A"/>
              </a:buClr>
              <a:buSzPts val="1600"/>
              <a:buNone/>
              <a:defRPr sz="1600" b="1"/>
            </a:lvl5pPr>
            <a:lvl6pPr marL="2743200" lvl="5" indent="-228600" algn="l" rtl="0">
              <a:lnSpc>
                <a:spcPct val="90000"/>
              </a:lnSpc>
              <a:spcBef>
                <a:spcPts val="500"/>
              </a:spcBef>
              <a:spcAft>
                <a:spcPts val="0"/>
              </a:spcAft>
              <a:buClr>
                <a:schemeClr val="dk1"/>
              </a:buClr>
              <a:buSzPts val="1600"/>
              <a:buNone/>
              <a:defRPr sz="1600" b="1"/>
            </a:lvl6pPr>
            <a:lvl7pPr marL="3200400" lvl="6" indent="-228600" algn="l" rtl="0">
              <a:lnSpc>
                <a:spcPct val="90000"/>
              </a:lnSpc>
              <a:spcBef>
                <a:spcPts val="500"/>
              </a:spcBef>
              <a:spcAft>
                <a:spcPts val="0"/>
              </a:spcAft>
              <a:buClr>
                <a:schemeClr val="dk1"/>
              </a:buClr>
              <a:buSzPts val="1600"/>
              <a:buNone/>
              <a:defRPr sz="1600" b="1"/>
            </a:lvl7pPr>
            <a:lvl8pPr marL="3657600" lvl="7" indent="-228600" algn="l" rtl="0">
              <a:lnSpc>
                <a:spcPct val="90000"/>
              </a:lnSpc>
              <a:spcBef>
                <a:spcPts val="500"/>
              </a:spcBef>
              <a:spcAft>
                <a:spcPts val="0"/>
              </a:spcAft>
              <a:buClr>
                <a:schemeClr val="dk1"/>
              </a:buClr>
              <a:buSzPts val="1600"/>
              <a:buNone/>
              <a:defRPr sz="1600" b="1"/>
            </a:lvl8pPr>
            <a:lvl9pPr marL="4114800" lvl="8" indent="-228600" algn="l" rtl="0">
              <a:lnSpc>
                <a:spcPct val="90000"/>
              </a:lnSpc>
              <a:spcBef>
                <a:spcPts val="500"/>
              </a:spcBef>
              <a:spcAft>
                <a:spcPts val="0"/>
              </a:spcAft>
              <a:buClr>
                <a:schemeClr val="dk1"/>
              </a:buClr>
              <a:buSzPts val="1600"/>
              <a:buNone/>
              <a:defRPr sz="1600" b="1"/>
            </a:lvl9pPr>
          </a:lstStyle>
          <a:p>
            <a:endParaRPr/>
          </a:p>
        </p:txBody>
      </p:sp>
      <p:sp>
        <p:nvSpPr>
          <p:cNvPr id="282" name="Google Shape;282;p41"/>
          <p:cNvSpPr txBox="1">
            <a:spLocks noGrp="1"/>
          </p:cNvSpPr>
          <p:nvPr>
            <p:ph type="body" idx="4"/>
          </p:nvPr>
        </p:nvSpPr>
        <p:spPr>
          <a:xfrm>
            <a:off x="6172200" y="2505075"/>
            <a:ext cx="5183100" cy="3684600"/>
          </a:xfrm>
          <a:prstGeom prst="rect">
            <a:avLst/>
          </a:prstGeom>
          <a:noFill/>
          <a:ln>
            <a:noFill/>
          </a:ln>
        </p:spPr>
        <p:txBody>
          <a:bodyPr spcFirstLastPara="1" wrap="square" lIns="91425" tIns="45700" rIns="91425" bIns="45700" anchor="t" anchorCtr="0">
            <a:noAutofit/>
          </a:bodyPr>
          <a:lstStyle>
            <a:lvl1pPr marL="457200" lvl="0" indent="-342900" algn="l" rtl="0">
              <a:lnSpc>
                <a:spcPct val="90000"/>
              </a:lnSpc>
              <a:spcBef>
                <a:spcPts val="1000"/>
              </a:spcBef>
              <a:spcAft>
                <a:spcPts val="0"/>
              </a:spcAft>
              <a:buClr>
                <a:srgbClr val="53575A"/>
              </a:buClr>
              <a:buSzPts val="1800"/>
              <a:buChar char="•"/>
              <a:defRPr/>
            </a:lvl1pPr>
            <a:lvl2pPr marL="914400" lvl="1" indent="-342900" algn="l" rtl="0">
              <a:lnSpc>
                <a:spcPct val="90000"/>
              </a:lnSpc>
              <a:spcBef>
                <a:spcPts val="500"/>
              </a:spcBef>
              <a:spcAft>
                <a:spcPts val="0"/>
              </a:spcAft>
              <a:buClr>
                <a:srgbClr val="53575A"/>
              </a:buClr>
              <a:buSzPts val="1800"/>
              <a:buChar char="•"/>
              <a:defRPr/>
            </a:lvl2pPr>
            <a:lvl3pPr marL="1371600" lvl="2" indent="-342900" algn="l" rtl="0">
              <a:lnSpc>
                <a:spcPct val="90000"/>
              </a:lnSpc>
              <a:spcBef>
                <a:spcPts val="500"/>
              </a:spcBef>
              <a:spcAft>
                <a:spcPts val="0"/>
              </a:spcAft>
              <a:buClr>
                <a:srgbClr val="53575A"/>
              </a:buClr>
              <a:buSzPts val="1800"/>
              <a:buChar char="•"/>
              <a:defRPr/>
            </a:lvl3pPr>
            <a:lvl4pPr marL="1828800" lvl="3" indent="-342900" algn="l" rtl="0">
              <a:lnSpc>
                <a:spcPct val="90000"/>
              </a:lnSpc>
              <a:spcBef>
                <a:spcPts val="500"/>
              </a:spcBef>
              <a:spcAft>
                <a:spcPts val="0"/>
              </a:spcAft>
              <a:buClr>
                <a:srgbClr val="53575A"/>
              </a:buClr>
              <a:buSzPts val="1800"/>
              <a:buChar char="•"/>
              <a:defRPr/>
            </a:lvl4pPr>
            <a:lvl5pPr marL="2286000" lvl="4" indent="-342900" algn="l" rtl="0">
              <a:lnSpc>
                <a:spcPct val="90000"/>
              </a:lnSpc>
              <a:spcBef>
                <a:spcPts val="500"/>
              </a:spcBef>
              <a:spcAft>
                <a:spcPts val="0"/>
              </a:spcAft>
              <a:buClr>
                <a:srgbClr val="53575A"/>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283" name="Google Shape;283;p41"/>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84" name="Google Shape;284;p41"/>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85"/>
        <p:cNvGrpSpPr/>
        <p:nvPr/>
      </p:nvGrpSpPr>
      <p:grpSpPr>
        <a:xfrm>
          <a:off x="0" y="0"/>
          <a:ext cx="0" cy="0"/>
          <a:chOff x="0" y="0"/>
          <a:chExt cx="0" cy="0"/>
        </a:xfrm>
      </p:grpSpPr>
      <p:sp>
        <p:nvSpPr>
          <p:cNvPr id="286" name="Google Shape;286;p42"/>
          <p:cNvSpPr txBox="1">
            <a:spLocks noGrp="1"/>
          </p:cNvSpPr>
          <p:nvPr>
            <p:ph type="title"/>
          </p:nvPr>
        </p:nvSpPr>
        <p:spPr>
          <a:xfrm>
            <a:off x="838200" y="1054100"/>
            <a:ext cx="7899300" cy="636600"/>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rgbClr val="53575A"/>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87" name="Google Shape;287;p42"/>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342900" algn="l" rtl="0">
              <a:lnSpc>
                <a:spcPct val="90000"/>
              </a:lnSpc>
              <a:spcBef>
                <a:spcPts val="1000"/>
              </a:spcBef>
              <a:spcAft>
                <a:spcPts val="0"/>
              </a:spcAft>
              <a:buClr>
                <a:srgbClr val="53575A"/>
              </a:buClr>
              <a:buSzPts val="1800"/>
              <a:buChar char="•"/>
              <a:defRPr/>
            </a:lvl1pPr>
            <a:lvl2pPr marL="914400" lvl="1" indent="-342900" algn="l" rtl="0">
              <a:lnSpc>
                <a:spcPct val="90000"/>
              </a:lnSpc>
              <a:spcBef>
                <a:spcPts val="500"/>
              </a:spcBef>
              <a:spcAft>
                <a:spcPts val="0"/>
              </a:spcAft>
              <a:buClr>
                <a:srgbClr val="53575A"/>
              </a:buClr>
              <a:buSzPts val="1800"/>
              <a:buChar char="•"/>
              <a:defRPr/>
            </a:lvl2pPr>
            <a:lvl3pPr marL="1371600" lvl="2" indent="-342900" algn="l" rtl="0">
              <a:lnSpc>
                <a:spcPct val="90000"/>
              </a:lnSpc>
              <a:spcBef>
                <a:spcPts val="500"/>
              </a:spcBef>
              <a:spcAft>
                <a:spcPts val="0"/>
              </a:spcAft>
              <a:buClr>
                <a:srgbClr val="53575A"/>
              </a:buClr>
              <a:buSzPts val="1800"/>
              <a:buChar char="•"/>
              <a:defRPr/>
            </a:lvl3pPr>
            <a:lvl4pPr marL="1828800" lvl="3" indent="-342900" algn="l" rtl="0">
              <a:lnSpc>
                <a:spcPct val="90000"/>
              </a:lnSpc>
              <a:spcBef>
                <a:spcPts val="500"/>
              </a:spcBef>
              <a:spcAft>
                <a:spcPts val="0"/>
              </a:spcAft>
              <a:buClr>
                <a:srgbClr val="53575A"/>
              </a:buClr>
              <a:buSzPts val="1800"/>
              <a:buChar char="•"/>
              <a:defRPr/>
            </a:lvl4pPr>
            <a:lvl5pPr marL="2286000" lvl="4" indent="-342900" algn="l" rtl="0">
              <a:lnSpc>
                <a:spcPct val="90000"/>
              </a:lnSpc>
              <a:spcBef>
                <a:spcPts val="500"/>
              </a:spcBef>
              <a:spcAft>
                <a:spcPts val="0"/>
              </a:spcAft>
              <a:buClr>
                <a:srgbClr val="53575A"/>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288" name="Google Shape;288;p42"/>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89" name="Google Shape;289;p42"/>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20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3261E6-7911-44CE-8B15-D92EF9A6B266}"/>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3200" kern="1200" dirty="0">
              <a:solidFill>
                <a:srgbClr val="000000"/>
              </a:solidFill>
              <a:sym typeface="Arial" panose="020B0604020202020204" pitchFamily="34" charset="0"/>
            </a:endParaRPr>
          </a:p>
        </p:txBody>
      </p:sp>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b="1" kern="1200"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auto">
          <a:xfrm>
            <a:off x="368304" y="6632689"/>
            <a:ext cx="40389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Last Modified 6/9/2020 9:18 AM Eastern Standard Time</a:t>
            </a:r>
            <a:endParaRPr lang="en-US" sz="700" kern="1200" dirty="0">
              <a:solidFill>
                <a:srgbClr val="FFFFFF"/>
              </a:solidFill>
              <a:latin typeface="Arial"/>
              <a:ea typeface="+mn-ea"/>
              <a:cs typeface="+mn-cs"/>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dirty="0">
                <a:solidFill>
                  <a:srgbClr val="FFFFFF"/>
                </a:solidFill>
                <a:latin typeface="Arial"/>
                <a:ea typeface="+mn-ea"/>
                <a:cs typeface="+mn-cs"/>
              </a:rPr>
              <a:t>Printed 2/6/2020 1:46 PM E. Africa Standard Time</a:t>
            </a:r>
          </a:p>
        </p:txBody>
      </p:sp>
      <p:sp>
        <p:nvSpPr>
          <p:cNvPr id="13314" name="Title"/>
          <p:cNvSpPr>
            <a:spLocks noGrp="1" noChangeArrowheads="1"/>
          </p:cNvSpPr>
          <p:nvPr userDrawn="1">
            <p:ph type="ctrTitle"/>
          </p:nvPr>
        </p:nvSpPr>
        <p:spPr bwMode="auto">
          <a:xfrm>
            <a:off x="368303" y="2865172"/>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08"/>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1400" kern="1200" dirty="0">
                <a:solidFill>
                  <a:srgbClr val="808080"/>
                </a:solidFill>
                <a:latin typeface="Arial"/>
                <a:ea typeface="+mn-ea"/>
                <a:cs typeface="+mn-cs"/>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pic>
        <p:nvPicPr>
          <p:cNvPr id="16" name="Picture 15">
            <a:extLst>
              <a:ext uri="{FF2B5EF4-FFF2-40B4-BE49-F238E27FC236}">
                <a16:creationId xmlns:a16="http://schemas.microsoft.com/office/drawing/2014/main" id="{23FF2117-BC89-485F-A6E4-514656DEDAD9}"/>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a:xfrm>
            <a:off x="2005970" y="778907"/>
            <a:ext cx="3884915" cy="1807851"/>
          </a:xfrm>
          <a:prstGeom prst="rect">
            <a:avLst/>
          </a:prstGeom>
          <a:ln>
            <a:noFill/>
          </a:ln>
          <a:effectLst/>
        </p:spPr>
      </p:pic>
      <p:pic>
        <p:nvPicPr>
          <p:cNvPr id="17" name="Picture 16" descr="African Union">
            <a:extLst>
              <a:ext uri="{FF2B5EF4-FFF2-40B4-BE49-F238E27FC236}">
                <a16:creationId xmlns:a16="http://schemas.microsoft.com/office/drawing/2014/main" id="{120C5AF5-5BEC-4739-8DB3-3395864264D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661035" y="996279"/>
            <a:ext cx="3506225" cy="1491513"/>
          </a:xfrm>
          <a:prstGeom prst="rect">
            <a:avLst/>
          </a:prstGeom>
          <a:ln w="38100" cap="sq">
            <a:noFill/>
            <a:prstDash val="solid"/>
            <a:miter lim="800000"/>
          </a:ln>
          <a:effectLst/>
        </p:spPr>
      </p:pic>
    </p:spTree>
    <p:extLst>
      <p:ext uri="{BB962C8B-B14F-4D97-AF65-F5344CB8AC3E}">
        <p14:creationId xmlns:p14="http://schemas.microsoft.com/office/powerpoint/2010/main" val="4255072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05"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703097-533F-4BD4-BA29-2C7CF43075F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000" kern="1200" dirty="0">
              <a:solidFill>
                <a:srgbClr val="000000"/>
              </a:solidFill>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2186951768"/>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2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417535357"/>
      </p:ext>
    </p:extLst>
  </p:cSld>
  <p:clrMapOvr>
    <a:masterClrMapping/>
  </p:clrMapOvr>
  <p:extLst>
    <p:ext uri="{DCECCB84-F9BA-43D5-87BE-67443E8EF086}">
      <p15:sldGuideLst xmlns:p15="http://schemas.microsoft.com/office/powerpoint/2012/main">
        <p15:guide id="1" pos="5412">
          <p15:clr>
            <a:srgbClr val="000000"/>
          </p15:clr>
        </p15:guide>
        <p15:guide id="2" orient="horz" pos="582">
          <p15:clr>
            <a:srgbClr val="000000"/>
          </p15:clr>
        </p15:guide>
        <p15:guide id="3" orient="horz" pos="3991">
          <p15:clr>
            <a:srgbClr val="000000"/>
          </p15:clr>
        </p15:guide>
        <p15:guide id="4" pos="97">
          <p15:clr>
            <a:srgbClr val="000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DDF47-59DC-4064-A76E-CD7D559B03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1CF56E-A1A4-47B9-AFFB-90094CD6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9864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82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3261E6-7911-44CE-8B15-D92EF9A6B266}"/>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3200" kern="1200" dirty="0" err="1">
              <a:solidFill>
                <a:srgbClr val="000000"/>
              </a:solidFill>
              <a:sym typeface="Arial" panose="020B0604020202020204" pitchFamily="34" charset="0"/>
            </a:endParaRPr>
          </a:p>
        </p:txBody>
      </p:sp>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b="1" kern="1200"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auto">
          <a:xfrm>
            <a:off x="368304" y="6632689"/>
            <a:ext cx="40389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Last Modified 4/8/2020 11:07 AM Eastern Standard Time</a:t>
            </a:r>
            <a:endParaRPr lang="en-US" sz="700" kern="1200" dirty="0">
              <a:solidFill>
                <a:srgbClr val="FFFFFF"/>
              </a:solidFill>
              <a:latin typeface="Arial"/>
              <a:ea typeface="+mn-ea"/>
              <a:cs typeface="+mn-cs"/>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Printed 2/6/2020 1:46 PM E. Africa Standard Time</a:t>
            </a:r>
            <a:endParaRPr lang="en-US" sz="700" kern="1200" dirty="0">
              <a:solidFill>
                <a:srgbClr val="FFFFFF"/>
              </a:solidFill>
              <a:latin typeface="Arial"/>
              <a:ea typeface="+mn-ea"/>
              <a:cs typeface="+mn-cs"/>
            </a:endParaRPr>
          </a:p>
        </p:txBody>
      </p:sp>
      <p:sp>
        <p:nvSpPr>
          <p:cNvPr id="13314" name="Title"/>
          <p:cNvSpPr>
            <a:spLocks noGrp="1" noChangeArrowheads="1"/>
          </p:cNvSpPr>
          <p:nvPr userDrawn="1">
            <p:ph type="ctrTitle"/>
          </p:nvPr>
        </p:nvSpPr>
        <p:spPr bwMode="auto">
          <a:xfrm>
            <a:off x="368303" y="2865172"/>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08"/>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1400" kern="1200" dirty="0">
                <a:solidFill>
                  <a:srgbClr val="808080"/>
                </a:solidFill>
                <a:latin typeface="Arial"/>
                <a:ea typeface="+mn-ea"/>
                <a:cs typeface="+mn-cs"/>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pic>
        <p:nvPicPr>
          <p:cNvPr id="16" name="Picture 15">
            <a:extLst>
              <a:ext uri="{FF2B5EF4-FFF2-40B4-BE49-F238E27FC236}">
                <a16:creationId xmlns:a16="http://schemas.microsoft.com/office/drawing/2014/main" id="{23FF2117-BC89-485F-A6E4-514656DEDAD9}"/>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a:xfrm>
            <a:off x="2005970" y="778907"/>
            <a:ext cx="3884915" cy="1807851"/>
          </a:xfrm>
          <a:prstGeom prst="rect">
            <a:avLst/>
          </a:prstGeom>
          <a:ln>
            <a:noFill/>
          </a:ln>
          <a:effectLst/>
        </p:spPr>
      </p:pic>
      <p:pic>
        <p:nvPicPr>
          <p:cNvPr id="17" name="Picture 16" descr="African Union">
            <a:extLst>
              <a:ext uri="{FF2B5EF4-FFF2-40B4-BE49-F238E27FC236}">
                <a16:creationId xmlns:a16="http://schemas.microsoft.com/office/drawing/2014/main" id="{120C5AF5-5BEC-4739-8DB3-3395864264D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661035" y="996279"/>
            <a:ext cx="3506225" cy="1491513"/>
          </a:xfrm>
          <a:prstGeom prst="rect">
            <a:avLst/>
          </a:prstGeom>
          <a:ln w="38100" cap="sq">
            <a:noFill/>
            <a:prstDash val="solid"/>
            <a:miter lim="800000"/>
          </a:ln>
          <a:effectLst/>
        </p:spPr>
      </p:pic>
    </p:spTree>
    <p:extLst>
      <p:ext uri="{BB962C8B-B14F-4D97-AF65-F5344CB8AC3E}">
        <p14:creationId xmlns:p14="http://schemas.microsoft.com/office/powerpoint/2010/main" val="8415695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45"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703097-533F-4BD4-BA29-2C7CF43075F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000" kern="1200" dirty="0" err="1">
              <a:solidFill>
                <a:srgbClr val="000000"/>
              </a:solidFill>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2979374180"/>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1991071042"/>
      </p:ext>
    </p:extLst>
  </p:cSld>
  <p:clrMapOvr>
    <a:masterClrMapping/>
  </p:clrMapOvr>
  <p:extLst>
    <p:ext uri="{DCECCB84-F9BA-43D5-87BE-67443E8EF086}">
      <p15:sldGuideLst xmlns:p15="http://schemas.microsoft.com/office/powerpoint/2012/main">
        <p15:guide id="1" pos="5412">
          <p15:clr>
            <a:srgbClr val="000000"/>
          </p15:clr>
        </p15:guide>
        <p15:guide id="2" orient="horz" pos="582">
          <p15:clr>
            <a:srgbClr val="000000"/>
          </p15:clr>
        </p15:guide>
        <p15:guide id="3" orient="horz" pos="3991">
          <p15:clr>
            <a:srgbClr val="000000"/>
          </p15:clr>
        </p15:guide>
        <p15:guide id="4" pos="97">
          <p15:clr>
            <a:srgbClr val="000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0"/>
        <p:cNvGrpSpPr/>
        <p:nvPr/>
      </p:nvGrpSpPr>
      <p:grpSpPr>
        <a:xfrm>
          <a:off x="0" y="0"/>
          <a:ext cx="0" cy="0"/>
          <a:chOff x="0" y="0"/>
          <a:chExt cx="0" cy="0"/>
        </a:xfrm>
      </p:grpSpPr>
      <p:sp>
        <p:nvSpPr>
          <p:cNvPr id="41" name="Google Shape;41;p6"/>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6"/>
          <p:cNvSpPr txBox="1">
            <a:spLocks noGrp="1"/>
          </p:cNvSpPr>
          <p:nvPr>
            <p:ph type="body" idx="1"/>
          </p:nvPr>
        </p:nvSpPr>
        <p:spPr>
          <a:xfrm>
            <a:off x="838200" y="1825625"/>
            <a:ext cx="5181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6"/>
          <p:cNvSpPr txBox="1">
            <a:spLocks noGrp="1"/>
          </p:cNvSpPr>
          <p:nvPr>
            <p:ph type="body" idx="2"/>
          </p:nvPr>
        </p:nvSpPr>
        <p:spPr>
          <a:xfrm>
            <a:off x="6172200" y="1825625"/>
            <a:ext cx="5181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6"/>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6"/>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DDF47-59DC-4064-A76E-CD7D559B03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1CF56E-A1A4-47B9-AFFB-90094CD6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7976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30"/>
        <p:cNvGrpSpPr/>
        <p:nvPr/>
      </p:nvGrpSpPr>
      <p:grpSpPr>
        <a:xfrm>
          <a:off x="0" y="0"/>
          <a:ext cx="0" cy="0"/>
          <a:chOff x="0" y="0"/>
          <a:chExt cx="0" cy="0"/>
        </a:xfrm>
      </p:grpSpPr>
      <p:sp>
        <p:nvSpPr>
          <p:cNvPr id="131" name="Google Shape;131;p19"/>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 name="Google Shape;132;p19"/>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rgbClr val="53575A"/>
              </a:buClr>
              <a:buSzPts val="2400"/>
              <a:buNone/>
              <a:defRPr sz="2400" b="1"/>
            </a:lvl1pPr>
            <a:lvl2pPr marL="914400" lvl="1" indent="-228600" algn="l">
              <a:lnSpc>
                <a:spcPct val="90000"/>
              </a:lnSpc>
              <a:spcBef>
                <a:spcPts val="500"/>
              </a:spcBef>
              <a:spcAft>
                <a:spcPts val="0"/>
              </a:spcAft>
              <a:buClr>
                <a:srgbClr val="53575A"/>
              </a:buClr>
              <a:buSzPts val="2000"/>
              <a:buNone/>
              <a:defRPr sz="2000" b="1"/>
            </a:lvl2pPr>
            <a:lvl3pPr marL="1371600" lvl="2" indent="-228600" algn="l">
              <a:lnSpc>
                <a:spcPct val="90000"/>
              </a:lnSpc>
              <a:spcBef>
                <a:spcPts val="500"/>
              </a:spcBef>
              <a:spcAft>
                <a:spcPts val="0"/>
              </a:spcAft>
              <a:buClr>
                <a:srgbClr val="53575A"/>
              </a:buClr>
              <a:buSzPts val="1800"/>
              <a:buNone/>
              <a:defRPr sz="1800" b="1"/>
            </a:lvl3pPr>
            <a:lvl4pPr marL="1828800" lvl="3" indent="-228600" algn="l">
              <a:lnSpc>
                <a:spcPct val="90000"/>
              </a:lnSpc>
              <a:spcBef>
                <a:spcPts val="500"/>
              </a:spcBef>
              <a:spcAft>
                <a:spcPts val="0"/>
              </a:spcAft>
              <a:buClr>
                <a:srgbClr val="53575A"/>
              </a:buClr>
              <a:buSzPts val="1600"/>
              <a:buNone/>
              <a:defRPr sz="1600" b="1"/>
            </a:lvl4pPr>
            <a:lvl5pPr marL="2286000" lvl="4" indent="-228600" algn="l">
              <a:lnSpc>
                <a:spcPct val="90000"/>
              </a:lnSpc>
              <a:spcBef>
                <a:spcPts val="500"/>
              </a:spcBef>
              <a:spcAft>
                <a:spcPts val="0"/>
              </a:spcAft>
              <a:buClr>
                <a:srgbClr val="53575A"/>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3" name="Google Shape;133;p19"/>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19"/>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rgbClr val="53575A"/>
              </a:buClr>
              <a:buSzPts val="2400"/>
              <a:buNone/>
              <a:defRPr sz="2400" b="1"/>
            </a:lvl1pPr>
            <a:lvl2pPr marL="914400" lvl="1" indent="-228600" algn="l">
              <a:lnSpc>
                <a:spcPct val="90000"/>
              </a:lnSpc>
              <a:spcBef>
                <a:spcPts val="500"/>
              </a:spcBef>
              <a:spcAft>
                <a:spcPts val="0"/>
              </a:spcAft>
              <a:buClr>
                <a:srgbClr val="53575A"/>
              </a:buClr>
              <a:buSzPts val="2000"/>
              <a:buNone/>
              <a:defRPr sz="2000" b="1"/>
            </a:lvl2pPr>
            <a:lvl3pPr marL="1371600" lvl="2" indent="-228600" algn="l">
              <a:lnSpc>
                <a:spcPct val="90000"/>
              </a:lnSpc>
              <a:spcBef>
                <a:spcPts val="500"/>
              </a:spcBef>
              <a:spcAft>
                <a:spcPts val="0"/>
              </a:spcAft>
              <a:buClr>
                <a:srgbClr val="53575A"/>
              </a:buClr>
              <a:buSzPts val="1800"/>
              <a:buNone/>
              <a:defRPr sz="1800" b="1"/>
            </a:lvl3pPr>
            <a:lvl4pPr marL="1828800" lvl="3" indent="-228600" algn="l">
              <a:lnSpc>
                <a:spcPct val="90000"/>
              </a:lnSpc>
              <a:spcBef>
                <a:spcPts val="500"/>
              </a:spcBef>
              <a:spcAft>
                <a:spcPts val="0"/>
              </a:spcAft>
              <a:buClr>
                <a:srgbClr val="53575A"/>
              </a:buClr>
              <a:buSzPts val="1600"/>
              <a:buNone/>
              <a:defRPr sz="1600" b="1"/>
            </a:lvl4pPr>
            <a:lvl5pPr marL="2286000" lvl="4" indent="-228600" algn="l">
              <a:lnSpc>
                <a:spcPct val="90000"/>
              </a:lnSpc>
              <a:spcBef>
                <a:spcPts val="500"/>
              </a:spcBef>
              <a:spcAft>
                <a:spcPts val="0"/>
              </a:spcAft>
              <a:buClr>
                <a:srgbClr val="53575A"/>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5" name="Google Shape;135;p19"/>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19"/>
          <p:cNvSpPr txBox="1">
            <a:spLocks noGrp="1"/>
          </p:cNvSpPr>
          <p:nvPr>
            <p:ph type="ftr" idx="11"/>
          </p:nvPr>
        </p:nvSpPr>
        <p:spPr>
          <a:xfrm>
            <a:off x="7741920" y="6356350"/>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fontAlgn="base">
              <a:buClrTx/>
              <a:buFontTx/>
              <a:buNone/>
            </a:pPr>
            <a:endParaRPr sz="1632" kern="1200">
              <a:latin typeface="Arial" charset="0"/>
              <a:ea typeface="+mn-ea"/>
              <a:cs typeface="+mn-cs"/>
            </a:endParaRPr>
          </a:p>
        </p:txBody>
      </p:sp>
      <p:sp>
        <p:nvSpPr>
          <p:cNvPr id="137" name="Google Shape;137;p19"/>
          <p:cNvSpPr txBox="1">
            <a:spLocks noGrp="1"/>
          </p:cNvSpPr>
          <p:nvPr>
            <p:ph type="dt" idx="10"/>
          </p:nvPr>
        </p:nvSpPr>
        <p:spPr>
          <a:xfrm>
            <a:off x="335280" y="6356350"/>
            <a:ext cx="332232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200" b="1">
                <a:solidFill>
                  <a:srgbClr val="951F39"/>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fontAlgn="base">
              <a:buClrTx/>
              <a:buFontTx/>
              <a:buNone/>
            </a:pPr>
            <a:endParaRPr kern="1200"/>
          </a:p>
        </p:txBody>
      </p:sp>
    </p:spTree>
    <p:extLst>
      <p:ext uri="{BB962C8B-B14F-4D97-AF65-F5344CB8AC3E}">
        <p14:creationId xmlns:p14="http://schemas.microsoft.com/office/powerpoint/2010/main" val="23373070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Only">
  <p:cSld name="2_Title Only">
    <p:spTree>
      <p:nvGrpSpPr>
        <p:cNvPr id="1" name="Shape 396"/>
        <p:cNvGrpSpPr/>
        <p:nvPr/>
      </p:nvGrpSpPr>
      <p:grpSpPr>
        <a:xfrm>
          <a:off x="0" y="0"/>
          <a:ext cx="0" cy="0"/>
          <a:chOff x="0" y="0"/>
          <a:chExt cx="0" cy="0"/>
        </a:xfrm>
      </p:grpSpPr>
      <p:pic>
        <p:nvPicPr>
          <p:cNvPr id="397" name="Google Shape;397;p58"/>
          <p:cNvPicPr preferRelativeResize="0"/>
          <p:nvPr/>
        </p:nvPicPr>
        <p:blipFill rotWithShape="1">
          <a:blip r:embed="rId2">
            <a:alphaModFix/>
          </a:blip>
          <a:srcRect/>
          <a:stretch/>
        </p:blipFill>
        <p:spPr>
          <a:xfrm>
            <a:off x="2118" y="1589"/>
            <a:ext cx="2116" cy="1587"/>
          </a:xfrm>
          <a:prstGeom prst="rect">
            <a:avLst/>
          </a:prstGeom>
          <a:noFill/>
          <a:ln>
            <a:noFill/>
          </a:ln>
        </p:spPr>
      </p:pic>
      <p:sp>
        <p:nvSpPr>
          <p:cNvPr id="398" name="Google Shape;398;p58"/>
          <p:cNvSpPr txBox="1">
            <a:spLocks noGrp="1"/>
          </p:cNvSpPr>
          <p:nvPr>
            <p:ph type="title"/>
          </p:nvPr>
        </p:nvSpPr>
        <p:spPr>
          <a:xfrm>
            <a:off x="233259" y="433461"/>
            <a:ext cx="11725484" cy="369332"/>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9" name="Google Shape;399;p58"/>
          <p:cNvSpPr/>
          <p:nvPr/>
        </p:nvSpPr>
        <p:spPr>
          <a:xfrm>
            <a:off x="11064591" y="42308"/>
            <a:ext cx="894152" cy="124720"/>
          </a:xfrm>
          <a:prstGeom prst="rect">
            <a:avLst/>
          </a:prstGeom>
          <a:noFill/>
          <a:ln>
            <a:noFill/>
          </a:ln>
        </p:spPr>
        <p:txBody>
          <a:bodyPr spcFirstLastPara="1" wrap="square" lIns="0" tIns="0" rIns="0" bIns="0" anchor="t" anchorCtr="0">
            <a:noAutofit/>
          </a:bodyPr>
          <a:lstStyle/>
          <a:p>
            <a:pPr algn="r" fontAlgn="base">
              <a:buClrTx/>
              <a:buFontTx/>
              <a:buNone/>
            </a:pPr>
            <a:endParaRPr sz="814" kern="1200">
              <a:solidFill>
                <a:srgbClr val="FFFFFF"/>
              </a:solidFill>
            </a:endParaRPr>
          </a:p>
        </p:txBody>
      </p:sp>
    </p:spTree>
    <p:extLst>
      <p:ext uri="{BB962C8B-B14F-4D97-AF65-F5344CB8AC3E}">
        <p14:creationId xmlns:p14="http://schemas.microsoft.com/office/powerpoint/2010/main" val="27208359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153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3261E6-7911-44CE-8B15-D92EF9A6B266}"/>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3200" kern="1200" dirty="0" err="1">
              <a:solidFill>
                <a:srgbClr val="000000"/>
              </a:solidFill>
              <a:sym typeface="Arial" panose="020B0604020202020204" pitchFamily="34" charset="0"/>
            </a:endParaRPr>
          </a:p>
        </p:txBody>
      </p:sp>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b="1" kern="1200"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auto">
          <a:xfrm>
            <a:off x="368304" y="6632689"/>
            <a:ext cx="40389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Last Modified 4/14/2020 7:27 PM E. Africa Standard Time</a:t>
            </a:r>
            <a:endParaRPr lang="en-US" sz="700" kern="1200" dirty="0">
              <a:solidFill>
                <a:srgbClr val="FFFFFF"/>
              </a:solidFill>
              <a:latin typeface="Arial"/>
              <a:ea typeface="+mn-ea"/>
              <a:cs typeface="+mn-cs"/>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Printed 2/6/2020 1:46 PM E. Africa Standard Time</a:t>
            </a:r>
            <a:endParaRPr lang="en-US" sz="700" kern="1200" dirty="0">
              <a:solidFill>
                <a:srgbClr val="FFFFFF"/>
              </a:solidFill>
              <a:latin typeface="Arial"/>
              <a:ea typeface="+mn-ea"/>
              <a:cs typeface="+mn-cs"/>
            </a:endParaRPr>
          </a:p>
        </p:txBody>
      </p:sp>
      <p:sp>
        <p:nvSpPr>
          <p:cNvPr id="13314" name="Title"/>
          <p:cNvSpPr>
            <a:spLocks noGrp="1" noChangeArrowheads="1"/>
          </p:cNvSpPr>
          <p:nvPr userDrawn="1">
            <p:ph type="ctrTitle"/>
          </p:nvPr>
        </p:nvSpPr>
        <p:spPr bwMode="auto">
          <a:xfrm>
            <a:off x="368303" y="2865172"/>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08"/>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1400" kern="1200" dirty="0">
                <a:solidFill>
                  <a:srgbClr val="808080"/>
                </a:solidFill>
                <a:latin typeface="Arial"/>
                <a:ea typeface="+mn-ea"/>
                <a:cs typeface="+mn-cs"/>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pic>
        <p:nvPicPr>
          <p:cNvPr id="16" name="Picture 15">
            <a:extLst>
              <a:ext uri="{FF2B5EF4-FFF2-40B4-BE49-F238E27FC236}">
                <a16:creationId xmlns:a16="http://schemas.microsoft.com/office/drawing/2014/main" id="{23FF2117-BC89-485F-A6E4-514656DEDAD9}"/>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a:xfrm>
            <a:off x="2005970" y="778907"/>
            <a:ext cx="3884915" cy="1807851"/>
          </a:xfrm>
          <a:prstGeom prst="rect">
            <a:avLst/>
          </a:prstGeom>
          <a:ln>
            <a:noFill/>
          </a:ln>
          <a:effectLst/>
        </p:spPr>
      </p:pic>
      <p:pic>
        <p:nvPicPr>
          <p:cNvPr id="17" name="Picture 16" descr="African Union">
            <a:extLst>
              <a:ext uri="{FF2B5EF4-FFF2-40B4-BE49-F238E27FC236}">
                <a16:creationId xmlns:a16="http://schemas.microsoft.com/office/drawing/2014/main" id="{120C5AF5-5BEC-4739-8DB3-3395864264D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661035" y="996279"/>
            <a:ext cx="3506225" cy="1491513"/>
          </a:xfrm>
          <a:prstGeom prst="rect">
            <a:avLst/>
          </a:prstGeom>
          <a:ln w="38100" cap="sq">
            <a:noFill/>
            <a:prstDash val="solid"/>
            <a:miter lim="800000"/>
          </a:ln>
          <a:effectLst/>
        </p:spPr>
      </p:pic>
    </p:spTree>
    <p:extLst>
      <p:ext uri="{BB962C8B-B14F-4D97-AF65-F5344CB8AC3E}">
        <p14:creationId xmlns:p14="http://schemas.microsoft.com/office/powerpoint/2010/main" val="38674482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03"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703097-533F-4BD4-BA29-2C7CF43075F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000" kern="1200" dirty="0" err="1">
              <a:solidFill>
                <a:srgbClr val="000000"/>
              </a:solidFill>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69351715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27"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751145807"/>
      </p:ext>
    </p:extLst>
  </p:cSld>
  <p:clrMapOvr>
    <a:masterClrMapping/>
  </p:clrMapOvr>
  <p:extLst>
    <p:ext uri="{DCECCB84-F9BA-43D5-87BE-67443E8EF086}">
      <p15:sldGuideLst xmlns:p15="http://schemas.microsoft.com/office/powerpoint/2012/main">
        <p15:guide id="1" pos="5412">
          <p15:clr>
            <a:srgbClr val="000000"/>
          </p15:clr>
        </p15:guide>
        <p15:guide id="2" orient="horz" pos="582">
          <p15:clr>
            <a:srgbClr val="000000"/>
          </p15:clr>
        </p15:guide>
        <p15:guide id="3" orient="horz" pos="3991">
          <p15:clr>
            <a:srgbClr val="000000"/>
          </p15:clr>
        </p15:guide>
        <p15:guide id="4" pos="97">
          <p15:clr>
            <a:srgbClr val="00000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DDF47-59DC-4064-A76E-CD7D559B03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1CF56E-A1A4-47B9-AFFB-90094CD6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7146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194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3261E6-7911-44CE-8B15-D92EF9A6B266}"/>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3200" kern="1200" dirty="0">
              <a:solidFill>
                <a:srgbClr val="000000"/>
              </a:solidFill>
              <a:sym typeface="Arial" panose="020B0604020202020204" pitchFamily="34" charset="0"/>
            </a:endParaRPr>
          </a:p>
        </p:txBody>
      </p:sp>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b="1" kern="1200"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auto">
          <a:xfrm>
            <a:off x="368304" y="6632689"/>
            <a:ext cx="40389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Last Modified 6/9/2020 9:18 AM Eastern Standard Time</a:t>
            </a:r>
            <a:endParaRPr lang="en-US" sz="700" kern="1200" dirty="0">
              <a:solidFill>
                <a:srgbClr val="FFFFFF"/>
              </a:solidFill>
              <a:latin typeface="Arial"/>
              <a:ea typeface="+mn-ea"/>
              <a:cs typeface="+mn-cs"/>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dirty="0">
                <a:solidFill>
                  <a:srgbClr val="FFFFFF"/>
                </a:solidFill>
                <a:latin typeface="Arial"/>
                <a:ea typeface="+mn-ea"/>
                <a:cs typeface="+mn-cs"/>
              </a:rPr>
              <a:t>Printed 2/6/2020 1:46 PM E. Africa Standard Time</a:t>
            </a:r>
          </a:p>
        </p:txBody>
      </p:sp>
      <p:sp>
        <p:nvSpPr>
          <p:cNvPr id="13314" name="Title"/>
          <p:cNvSpPr>
            <a:spLocks noGrp="1" noChangeArrowheads="1"/>
          </p:cNvSpPr>
          <p:nvPr userDrawn="1">
            <p:ph type="ctrTitle"/>
          </p:nvPr>
        </p:nvSpPr>
        <p:spPr bwMode="auto">
          <a:xfrm>
            <a:off x="368303" y="2865172"/>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08"/>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1400" kern="1200" dirty="0">
                <a:solidFill>
                  <a:srgbClr val="808080"/>
                </a:solidFill>
                <a:latin typeface="Arial"/>
                <a:ea typeface="+mn-ea"/>
                <a:cs typeface="+mn-cs"/>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pic>
        <p:nvPicPr>
          <p:cNvPr id="16" name="Picture 15">
            <a:extLst>
              <a:ext uri="{FF2B5EF4-FFF2-40B4-BE49-F238E27FC236}">
                <a16:creationId xmlns:a16="http://schemas.microsoft.com/office/drawing/2014/main" id="{23FF2117-BC89-485F-A6E4-514656DEDAD9}"/>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a:xfrm>
            <a:off x="2005970" y="778907"/>
            <a:ext cx="3884915" cy="1807851"/>
          </a:xfrm>
          <a:prstGeom prst="rect">
            <a:avLst/>
          </a:prstGeom>
          <a:ln>
            <a:noFill/>
          </a:ln>
          <a:effectLst/>
        </p:spPr>
      </p:pic>
      <p:pic>
        <p:nvPicPr>
          <p:cNvPr id="17" name="Picture 16" descr="African Union">
            <a:extLst>
              <a:ext uri="{FF2B5EF4-FFF2-40B4-BE49-F238E27FC236}">
                <a16:creationId xmlns:a16="http://schemas.microsoft.com/office/drawing/2014/main" id="{120C5AF5-5BEC-4739-8DB3-3395864264D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661035" y="996279"/>
            <a:ext cx="3506225" cy="1491513"/>
          </a:xfrm>
          <a:prstGeom prst="rect">
            <a:avLst/>
          </a:prstGeom>
          <a:ln w="38100" cap="sq">
            <a:noFill/>
            <a:prstDash val="solid"/>
            <a:miter lim="800000"/>
          </a:ln>
          <a:effectLst/>
        </p:spPr>
      </p:pic>
    </p:spTree>
    <p:extLst>
      <p:ext uri="{BB962C8B-B14F-4D97-AF65-F5344CB8AC3E}">
        <p14:creationId xmlns:p14="http://schemas.microsoft.com/office/powerpoint/2010/main" val="14355638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9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703097-533F-4BD4-BA29-2C7CF43075F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000" kern="1200" dirty="0">
              <a:solidFill>
                <a:srgbClr val="000000"/>
              </a:solidFill>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3198322854"/>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2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2634350166"/>
      </p:ext>
    </p:extLst>
  </p:cSld>
  <p:clrMapOvr>
    <a:masterClrMapping/>
  </p:clrMapOvr>
  <p:extLst>
    <p:ext uri="{DCECCB84-F9BA-43D5-87BE-67443E8EF086}">
      <p15:sldGuideLst xmlns:p15="http://schemas.microsoft.com/office/powerpoint/2012/main">
        <p15:guide id="1" pos="5412">
          <p15:clr>
            <a:srgbClr val="000000"/>
          </p15:clr>
        </p15:guide>
        <p15:guide id="2" orient="horz" pos="582">
          <p15:clr>
            <a:srgbClr val="000000"/>
          </p15:clr>
        </p15:guide>
        <p15:guide id="3" orient="horz" pos="3991">
          <p15:clr>
            <a:srgbClr val="000000"/>
          </p15:clr>
        </p15:guide>
        <p15:guide id="4" pos="97">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46"/>
        <p:cNvGrpSpPr/>
        <p:nvPr/>
      </p:nvGrpSpPr>
      <p:grpSpPr>
        <a:xfrm>
          <a:off x="0" y="0"/>
          <a:ext cx="0" cy="0"/>
          <a:chOff x="0" y="0"/>
          <a:chExt cx="0" cy="0"/>
        </a:xfrm>
      </p:grpSpPr>
      <p:sp>
        <p:nvSpPr>
          <p:cNvPr id="47" name="Google Shape;47;p7"/>
          <p:cNvSpPr txBox="1">
            <a:spLocks noGrp="1"/>
          </p:cNvSpPr>
          <p:nvPr>
            <p:ph type="title"/>
          </p:nvPr>
        </p:nvSpPr>
        <p:spPr>
          <a:xfrm>
            <a:off x="839788" y="987424"/>
            <a:ext cx="3932100" cy="10701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7"/>
          <p:cNvSpPr>
            <a:spLocks noGrp="1"/>
          </p:cNvSpPr>
          <p:nvPr>
            <p:ph type="pic" idx="2"/>
          </p:nvPr>
        </p:nvSpPr>
        <p:spPr>
          <a:xfrm>
            <a:off x="5183188" y="987425"/>
            <a:ext cx="6172200" cy="48735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3575A"/>
              </a:buClr>
              <a:buSzPts val="3200"/>
              <a:buFont typeface="Arial"/>
              <a:buNone/>
              <a:defRPr sz="3200" b="0" i="0" u="none" strike="noStrike" cap="none">
                <a:solidFill>
                  <a:srgbClr val="53575A"/>
                </a:solidFill>
                <a:latin typeface="Arial"/>
                <a:ea typeface="Arial"/>
                <a:cs typeface="Arial"/>
                <a:sym typeface="Arial"/>
              </a:defRPr>
            </a:lvl1pPr>
            <a:lvl2pPr marR="0" lvl="1" algn="l" rtl="0">
              <a:lnSpc>
                <a:spcPct val="90000"/>
              </a:lnSpc>
              <a:spcBef>
                <a:spcPts val="500"/>
              </a:spcBef>
              <a:spcAft>
                <a:spcPts val="0"/>
              </a:spcAft>
              <a:buClr>
                <a:srgbClr val="53575A"/>
              </a:buClr>
              <a:buSzPts val="2800"/>
              <a:buFont typeface="Arial"/>
              <a:buNone/>
              <a:defRPr sz="2800" b="0" i="0" u="none" strike="noStrike" cap="none">
                <a:solidFill>
                  <a:srgbClr val="53575A"/>
                </a:solidFill>
                <a:latin typeface="Arial"/>
                <a:ea typeface="Arial"/>
                <a:cs typeface="Arial"/>
                <a:sym typeface="Arial"/>
              </a:defRPr>
            </a:lvl2pPr>
            <a:lvl3pPr marR="0" lvl="2" algn="l" rtl="0">
              <a:lnSpc>
                <a:spcPct val="90000"/>
              </a:lnSpc>
              <a:spcBef>
                <a:spcPts val="500"/>
              </a:spcBef>
              <a:spcAft>
                <a:spcPts val="0"/>
              </a:spcAft>
              <a:buClr>
                <a:srgbClr val="53575A"/>
              </a:buClr>
              <a:buSzPts val="2400"/>
              <a:buFont typeface="Arial"/>
              <a:buNone/>
              <a:defRPr sz="2400" b="0" i="0" u="none" strike="noStrike" cap="none">
                <a:solidFill>
                  <a:srgbClr val="53575A"/>
                </a:solidFill>
                <a:latin typeface="Arial"/>
                <a:ea typeface="Arial"/>
                <a:cs typeface="Arial"/>
                <a:sym typeface="Arial"/>
              </a:defRPr>
            </a:lvl3pPr>
            <a:lvl4pPr marR="0" lvl="3" algn="l" rtl="0">
              <a:lnSpc>
                <a:spcPct val="90000"/>
              </a:lnSpc>
              <a:spcBef>
                <a:spcPts val="500"/>
              </a:spcBef>
              <a:spcAft>
                <a:spcPts val="0"/>
              </a:spcAft>
              <a:buClr>
                <a:srgbClr val="53575A"/>
              </a:buClr>
              <a:buSzPts val="2000"/>
              <a:buFont typeface="Arial"/>
              <a:buNone/>
              <a:defRPr sz="2000" b="0" i="0" u="none" strike="noStrike" cap="none">
                <a:solidFill>
                  <a:srgbClr val="53575A"/>
                </a:solidFill>
                <a:latin typeface="Arial"/>
                <a:ea typeface="Arial"/>
                <a:cs typeface="Arial"/>
                <a:sym typeface="Arial"/>
              </a:defRPr>
            </a:lvl4pPr>
            <a:lvl5pPr marR="0" lvl="4" algn="l" rtl="0">
              <a:lnSpc>
                <a:spcPct val="90000"/>
              </a:lnSpc>
              <a:spcBef>
                <a:spcPts val="500"/>
              </a:spcBef>
              <a:spcAft>
                <a:spcPts val="0"/>
              </a:spcAft>
              <a:buClr>
                <a:srgbClr val="53575A"/>
              </a:buClr>
              <a:buSzPts val="2000"/>
              <a:buFont typeface="Arial"/>
              <a:buNone/>
              <a:defRPr sz="2000" b="0" i="0" u="none" strike="noStrike" cap="none">
                <a:solidFill>
                  <a:srgbClr val="53575A"/>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49" name="Google Shape;49;p7"/>
          <p:cNvSpPr txBox="1">
            <a:spLocks noGrp="1"/>
          </p:cNvSpPr>
          <p:nvPr>
            <p:ph type="body" idx="1"/>
          </p:nvPr>
        </p:nvSpPr>
        <p:spPr>
          <a:xfrm>
            <a:off x="839788" y="2057400"/>
            <a:ext cx="3932100" cy="38115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53575A"/>
              </a:buClr>
              <a:buSzPts val="1600"/>
              <a:buNone/>
              <a:defRPr sz="1600"/>
            </a:lvl1pPr>
            <a:lvl2pPr marL="914400" lvl="1" indent="-228600" algn="l">
              <a:lnSpc>
                <a:spcPct val="90000"/>
              </a:lnSpc>
              <a:spcBef>
                <a:spcPts val="500"/>
              </a:spcBef>
              <a:spcAft>
                <a:spcPts val="0"/>
              </a:spcAft>
              <a:buClr>
                <a:srgbClr val="53575A"/>
              </a:buClr>
              <a:buSzPts val="1400"/>
              <a:buNone/>
              <a:defRPr sz="1400"/>
            </a:lvl2pPr>
            <a:lvl3pPr marL="1371600" lvl="2" indent="-228600" algn="l">
              <a:lnSpc>
                <a:spcPct val="90000"/>
              </a:lnSpc>
              <a:spcBef>
                <a:spcPts val="500"/>
              </a:spcBef>
              <a:spcAft>
                <a:spcPts val="0"/>
              </a:spcAft>
              <a:buClr>
                <a:srgbClr val="53575A"/>
              </a:buClr>
              <a:buSzPts val="1200"/>
              <a:buNone/>
              <a:defRPr sz="1200"/>
            </a:lvl3pPr>
            <a:lvl4pPr marL="1828800" lvl="3" indent="-228600" algn="l">
              <a:lnSpc>
                <a:spcPct val="90000"/>
              </a:lnSpc>
              <a:spcBef>
                <a:spcPts val="500"/>
              </a:spcBef>
              <a:spcAft>
                <a:spcPts val="0"/>
              </a:spcAft>
              <a:buClr>
                <a:srgbClr val="53575A"/>
              </a:buClr>
              <a:buSzPts val="1000"/>
              <a:buNone/>
              <a:defRPr sz="1000"/>
            </a:lvl4pPr>
            <a:lvl5pPr marL="2286000" lvl="4" indent="-228600" algn="l">
              <a:lnSpc>
                <a:spcPct val="90000"/>
              </a:lnSpc>
              <a:spcBef>
                <a:spcPts val="500"/>
              </a:spcBef>
              <a:spcAft>
                <a:spcPts val="0"/>
              </a:spcAft>
              <a:buClr>
                <a:srgbClr val="53575A"/>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0" name="Google Shape;50;p7"/>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 name="Google Shape;51;p7"/>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DDF47-59DC-4064-A76E-CD7D559B03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1CF56E-A1A4-47B9-AFFB-90094CD6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77733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523"/>
        <p:cNvGrpSpPr/>
        <p:nvPr/>
      </p:nvGrpSpPr>
      <p:grpSpPr>
        <a:xfrm>
          <a:off x="0" y="0"/>
          <a:ext cx="0" cy="0"/>
          <a:chOff x="0" y="0"/>
          <a:chExt cx="0" cy="0"/>
        </a:xfrm>
      </p:grpSpPr>
      <p:pic>
        <p:nvPicPr>
          <p:cNvPr id="524" name="Google Shape;524;p79"/>
          <p:cNvPicPr preferRelativeResize="0"/>
          <p:nvPr/>
        </p:nvPicPr>
        <p:blipFill rotWithShape="1">
          <a:blip r:embed="rId2">
            <a:alphaModFix/>
          </a:blip>
          <a:srcRect/>
          <a:stretch/>
        </p:blipFill>
        <p:spPr>
          <a:xfrm>
            <a:off x="2118" y="1589"/>
            <a:ext cx="2116" cy="1587"/>
          </a:xfrm>
          <a:prstGeom prst="rect">
            <a:avLst/>
          </a:prstGeom>
          <a:noFill/>
          <a:ln>
            <a:noFill/>
          </a:ln>
        </p:spPr>
      </p:pic>
      <p:sp>
        <p:nvSpPr>
          <p:cNvPr id="525" name="Google Shape;525;p79"/>
          <p:cNvSpPr txBox="1">
            <a:spLocks noGrp="1"/>
          </p:cNvSpPr>
          <p:nvPr>
            <p:ph type="title"/>
          </p:nvPr>
        </p:nvSpPr>
        <p:spPr>
          <a:xfrm>
            <a:off x="233259" y="433461"/>
            <a:ext cx="11725484" cy="369332"/>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6" name="Google Shape;526;p79"/>
          <p:cNvSpPr/>
          <p:nvPr/>
        </p:nvSpPr>
        <p:spPr>
          <a:xfrm>
            <a:off x="11064591" y="42308"/>
            <a:ext cx="894152" cy="124720"/>
          </a:xfrm>
          <a:prstGeom prst="rect">
            <a:avLst/>
          </a:prstGeom>
          <a:noFill/>
          <a:ln>
            <a:noFill/>
          </a:ln>
        </p:spPr>
        <p:txBody>
          <a:bodyPr spcFirstLastPara="1" wrap="square" lIns="0" tIns="0" rIns="0" bIns="0" anchor="t" anchorCtr="0">
            <a:noAutofit/>
          </a:bodyPr>
          <a:lstStyle/>
          <a:p>
            <a:pPr algn="r"/>
            <a:endParaRPr sz="814">
              <a:solidFill>
                <a:srgbClr val="FFFFFF"/>
              </a:solidFill>
            </a:endParaRPr>
          </a:p>
        </p:txBody>
      </p:sp>
    </p:spTree>
    <p:extLst>
      <p:ext uri="{BB962C8B-B14F-4D97-AF65-F5344CB8AC3E}">
        <p14:creationId xmlns:p14="http://schemas.microsoft.com/office/powerpoint/2010/main" val="35258874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527"/>
        <p:cNvGrpSpPr/>
        <p:nvPr/>
      </p:nvGrpSpPr>
      <p:grpSpPr>
        <a:xfrm>
          <a:off x="0" y="0"/>
          <a:ext cx="0" cy="0"/>
          <a:chOff x="0" y="0"/>
          <a:chExt cx="0" cy="0"/>
        </a:xfrm>
      </p:grpSpPr>
      <p:pic>
        <p:nvPicPr>
          <p:cNvPr id="528" name="Google Shape;528;p80"/>
          <p:cNvPicPr preferRelativeResize="0"/>
          <p:nvPr/>
        </p:nvPicPr>
        <p:blipFill rotWithShape="1">
          <a:blip r:embed="rId2">
            <a:alphaModFix/>
          </a:blip>
          <a:srcRect/>
          <a:stretch/>
        </p:blipFill>
        <p:spPr>
          <a:xfrm>
            <a:off x="2162" y="1622"/>
            <a:ext cx="2159" cy="1619"/>
          </a:xfrm>
          <a:prstGeom prst="rect">
            <a:avLst/>
          </a:prstGeom>
          <a:noFill/>
          <a:ln>
            <a:noFill/>
          </a:ln>
        </p:spPr>
      </p:pic>
      <p:sp>
        <p:nvSpPr>
          <p:cNvPr id="529" name="Google Shape;529;p80"/>
          <p:cNvSpPr/>
          <p:nvPr/>
        </p:nvSpPr>
        <p:spPr>
          <a:xfrm>
            <a:off x="0" y="0"/>
            <a:ext cx="12192000" cy="342900"/>
          </a:xfrm>
          <a:prstGeom prst="rect">
            <a:avLst/>
          </a:prstGeom>
          <a:solidFill>
            <a:srgbClr val="303D24"/>
          </a:solidFill>
          <a:ln>
            <a:noFill/>
          </a:ln>
        </p:spPr>
        <p:txBody>
          <a:bodyPr spcFirstLastPara="1" wrap="square" lIns="91425" tIns="45700" rIns="91425" bIns="45700" anchor="ctr" anchorCtr="0">
            <a:noAutofit/>
          </a:bodyPr>
          <a:lstStyle/>
          <a:p>
            <a:pPr algn="ctr"/>
            <a:endParaRPr sz="1629"/>
          </a:p>
        </p:txBody>
      </p:sp>
      <p:sp>
        <p:nvSpPr>
          <p:cNvPr id="530" name="Google Shape;530;p80"/>
          <p:cNvSpPr/>
          <p:nvPr/>
        </p:nvSpPr>
        <p:spPr>
          <a:xfrm>
            <a:off x="0" y="6515100"/>
            <a:ext cx="12192000" cy="342900"/>
          </a:xfrm>
          <a:prstGeom prst="rect">
            <a:avLst/>
          </a:prstGeom>
          <a:solidFill>
            <a:srgbClr val="303D24"/>
          </a:solidFill>
          <a:ln>
            <a:noFill/>
          </a:ln>
        </p:spPr>
        <p:txBody>
          <a:bodyPr spcFirstLastPara="1" wrap="square" lIns="91425" tIns="45700" rIns="91425" bIns="45700" anchor="ctr" anchorCtr="0">
            <a:noAutofit/>
          </a:bodyPr>
          <a:lstStyle/>
          <a:p>
            <a:pPr algn="ctr"/>
            <a:endParaRPr sz="1629"/>
          </a:p>
        </p:txBody>
      </p:sp>
      <p:sp>
        <p:nvSpPr>
          <p:cNvPr id="531" name="Google Shape;531;p80"/>
          <p:cNvSpPr txBox="1">
            <a:spLocks noGrp="1"/>
          </p:cNvSpPr>
          <p:nvPr>
            <p:ph type="ctrTitle"/>
          </p:nvPr>
        </p:nvSpPr>
        <p:spPr>
          <a:xfrm>
            <a:off x="368303" y="2865172"/>
            <a:ext cx="8478152" cy="492443"/>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sz="3200" b="0" cap="none">
                <a:solidFill>
                  <a:schemeClr val="dk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2" name="Google Shape;532;p80"/>
          <p:cNvSpPr txBox="1">
            <a:spLocks noGrp="1"/>
          </p:cNvSpPr>
          <p:nvPr>
            <p:ph type="subTitle" idx="1"/>
          </p:nvPr>
        </p:nvSpPr>
        <p:spPr>
          <a:xfrm>
            <a:off x="368303" y="4369208"/>
            <a:ext cx="8478152" cy="276999"/>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sz="1800" cap="none">
                <a:solidFill>
                  <a:schemeClr val="accent6"/>
                </a:solidFill>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533" name="Google Shape;533;p80"/>
          <p:cNvSpPr/>
          <p:nvPr/>
        </p:nvSpPr>
        <p:spPr>
          <a:xfrm>
            <a:off x="11064591" y="42308"/>
            <a:ext cx="894152" cy="124720"/>
          </a:xfrm>
          <a:prstGeom prst="rect">
            <a:avLst/>
          </a:prstGeom>
          <a:noFill/>
          <a:ln>
            <a:noFill/>
          </a:ln>
        </p:spPr>
        <p:txBody>
          <a:bodyPr spcFirstLastPara="1" wrap="square" lIns="0" tIns="0" rIns="0" bIns="0" anchor="t" anchorCtr="0">
            <a:noAutofit/>
          </a:bodyPr>
          <a:lstStyle/>
          <a:p>
            <a:pPr algn="r"/>
            <a:endParaRPr sz="814">
              <a:solidFill>
                <a:srgbClr val="FFFFFF"/>
              </a:solidFill>
            </a:endParaRPr>
          </a:p>
        </p:txBody>
      </p:sp>
      <p:pic>
        <p:nvPicPr>
          <p:cNvPr id="534" name="Google Shape;534;p80"/>
          <p:cNvPicPr preferRelativeResize="0"/>
          <p:nvPr/>
        </p:nvPicPr>
        <p:blipFill rotWithShape="1">
          <a:blip r:embed="rId3">
            <a:alphaModFix/>
          </a:blip>
          <a:srcRect/>
          <a:stretch/>
        </p:blipFill>
        <p:spPr>
          <a:xfrm>
            <a:off x="2005970" y="778907"/>
            <a:ext cx="3884915" cy="1807851"/>
          </a:xfrm>
          <a:prstGeom prst="rect">
            <a:avLst/>
          </a:prstGeom>
          <a:noFill/>
          <a:ln>
            <a:noFill/>
          </a:ln>
        </p:spPr>
      </p:pic>
      <p:pic>
        <p:nvPicPr>
          <p:cNvPr id="535" name="Google Shape;535;p80" descr="African Union"/>
          <p:cNvPicPr preferRelativeResize="0"/>
          <p:nvPr/>
        </p:nvPicPr>
        <p:blipFill rotWithShape="1">
          <a:blip r:embed="rId4">
            <a:alphaModFix/>
          </a:blip>
          <a:srcRect/>
          <a:stretch/>
        </p:blipFill>
        <p:spPr>
          <a:xfrm>
            <a:off x="6661035" y="996279"/>
            <a:ext cx="3506225" cy="1491513"/>
          </a:xfrm>
          <a:prstGeom prst="rect">
            <a:avLst/>
          </a:prstGeom>
          <a:noFill/>
          <a:ln>
            <a:noFill/>
          </a:ln>
        </p:spPr>
      </p:pic>
    </p:spTree>
    <p:extLst>
      <p:ext uri="{BB962C8B-B14F-4D97-AF65-F5344CB8AC3E}">
        <p14:creationId xmlns:p14="http://schemas.microsoft.com/office/powerpoint/2010/main" val="7956462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536"/>
        <p:cNvGrpSpPr/>
        <p:nvPr/>
      </p:nvGrpSpPr>
      <p:grpSpPr>
        <a:xfrm>
          <a:off x="0" y="0"/>
          <a:ext cx="0" cy="0"/>
          <a:chOff x="0" y="0"/>
          <a:chExt cx="0" cy="0"/>
        </a:xfrm>
      </p:grpSpPr>
      <p:pic>
        <p:nvPicPr>
          <p:cNvPr id="537" name="Google Shape;537;p81"/>
          <p:cNvPicPr preferRelativeResize="0"/>
          <p:nvPr/>
        </p:nvPicPr>
        <p:blipFill rotWithShape="1">
          <a:blip r:embed="rId2">
            <a:alphaModFix/>
          </a:blip>
          <a:srcRect/>
          <a:stretch/>
        </p:blipFill>
        <p:spPr>
          <a:xfrm>
            <a:off x="2118" y="1589"/>
            <a:ext cx="2116" cy="1587"/>
          </a:xfrm>
          <a:prstGeom prst="rect">
            <a:avLst/>
          </a:prstGeom>
          <a:noFill/>
          <a:ln>
            <a:noFill/>
          </a:ln>
        </p:spPr>
      </p:pic>
      <p:sp>
        <p:nvSpPr>
          <p:cNvPr id="538" name="Google Shape;538;p81"/>
          <p:cNvSpPr txBox="1">
            <a:spLocks noGrp="1"/>
          </p:cNvSpPr>
          <p:nvPr>
            <p:ph type="title"/>
          </p:nvPr>
        </p:nvSpPr>
        <p:spPr>
          <a:xfrm>
            <a:off x="233259" y="433461"/>
            <a:ext cx="11725484" cy="369332"/>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9" name="Google Shape;539;p81"/>
          <p:cNvSpPr/>
          <p:nvPr/>
        </p:nvSpPr>
        <p:spPr>
          <a:xfrm>
            <a:off x="11064591" y="42308"/>
            <a:ext cx="894152" cy="124720"/>
          </a:xfrm>
          <a:prstGeom prst="rect">
            <a:avLst/>
          </a:prstGeom>
          <a:noFill/>
          <a:ln>
            <a:noFill/>
          </a:ln>
        </p:spPr>
        <p:txBody>
          <a:bodyPr spcFirstLastPara="1" wrap="square" lIns="0" tIns="0" rIns="0" bIns="0" anchor="t" anchorCtr="0">
            <a:noAutofit/>
          </a:bodyPr>
          <a:lstStyle/>
          <a:p>
            <a:pPr algn="r"/>
            <a:endParaRPr sz="814">
              <a:solidFill>
                <a:srgbClr val="FFFFFF"/>
              </a:solidFill>
            </a:endParaRPr>
          </a:p>
        </p:txBody>
      </p:sp>
    </p:spTree>
    <p:extLst>
      <p:ext uri="{BB962C8B-B14F-4D97-AF65-F5344CB8AC3E}">
        <p14:creationId xmlns:p14="http://schemas.microsoft.com/office/powerpoint/2010/main" val="3575467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540"/>
        <p:cNvGrpSpPr/>
        <p:nvPr/>
      </p:nvGrpSpPr>
      <p:grpSpPr>
        <a:xfrm>
          <a:off x="0" y="0"/>
          <a:ext cx="0" cy="0"/>
          <a:chOff x="0" y="0"/>
          <a:chExt cx="0" cy="0"/>
        </a:xfrm>
      </p:grpSpPr>
      <p:sp>
        <p:nvSpPr>
          <p:cNvPr id="541" name="Google Shape;541;p82"/>
          <p:cNvSpPr txBox="1">
            <a:spLocks noGrp="1"/>
          </p:cNvSpPr>
          <p:nvPr>
            <p:ph type="title"/>
          </p:nvPr>
        </p:nvSpPr>
        <p:spPr>
          <a:xfrm>
            <a:off x="233259" y="433461"/>
            <a:ext cx="11725484" cy="369332"/>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2" name="Google Shape;542;p82"/>
          <p:cNvSpPr txBox="1">
            <a:spLocks noGrp="1"/>
          </p:cNvSpPr>
          <p:nvPr>
            <p:ph type="body" idx="1"/>
          </p:nvPr>
        </p:nvSpPr>
        <p:spPr>
          <a:xfrm>
            <a:off x="1976208" y="2620668"/>
            <a:ext cx="5853024" cy="1231106"/>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extLst>
      <p:ext uri="{BB962C8B-B14F-4D97-AF65-F5344CB8AC3E}">
        <p14:creationId xmlns:p14="http://schemas.microsoft.com/office/powerpoint/2010/main" val="7529480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4"/>
        <p:cNvGrpSpPr/>
        <p:nvPr/>
      </p:nvGrpSpPr>
      <p:grpSpPr>
        <a:xfrm>
          <a:off x="0" y="0"/>
          <a:ext cx="0" cy="0"/>
          <a:chOff x="0" y="0"/>
          <a:chExt cx="0" cy="0"/>
        </a:xfrm>
      </p:grpSpPr>
      <p:sp>
        <p:nvSpPr>
          <p:cNvPr id="275" name="Google Shape;275;p42"/>
          <p:cNvSpPr txBox="1">
            <a:spLocks noGrp="1"/>
          </p:cNvSpPr>
          <p:nvPr>
            <p:ph type="title"/>
          </p:nvPr>
        </p:nvSpPr>
        <p:spPr>
          <a:xfrm>
            <a:off x="831850" y="1709738"/>
            <a:ext cx="10515600" cy="28527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42"/>
          <p:cNvSpPr txBox="1">
            <a:spLocks noGrp="1"/>
          </p:cNvSpPr>
          <p:nvPr>
            <p:ph type="body" idx="1"/>
          </p:nvPr>
        </p:nvSpPr>
        <p:spPr>
          <a:xfrm>
            <a:off x="831850" y="4589463"/>
            <a:ext cx="10515600" cy="15003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77" name="Google Shape;277;p42"/>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8" name="Google Shape;278;p42"/>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959786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2"/>
        <p:cNvGrpSpPr/>
        <p:nvPr/>
      </p:nvGrpSpPr>
      <p:grpSpPr>
        <a:xfrm>
          <a:off x="0" y="0"/>
          <a:ext cx="0" cy="0"/>
          <a:chOff x="0" y="0"/>
          <a:chExt cx="0" cy="0"/>
        </a:xfrm>
      </p:grpSpPr>
      <p:sp>
        <p:nvSpPr>
          <p:cNvPr id="203" name="Google Shape;203;p30"/>
          <p:cNvSpPr txBox="1">
            <a:spLocks noGrp="1"/>
          </p:cNvSpPr>
          <p:nvPr>
            <p:ph type="title"/>
          </p:nvPr>
        </p:nvSpPr>
        <p:spPr>
          <a:xfrm>
            <a:off x="838200" y="1054100"/>
            <a:ext cx="7899300" cy="6366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30"/>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 name="Google Shape;205;p30"/>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 name="Google Shape;206;p30"/>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76648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207"/>
        <p:cNvGrpSpPr/>
        <p:nvPr/>
      </p:nvGrpSpPr>
      <p:grpSpPr>
        <a:xfrm>
          <a:off x="0" y="0"/>
          <a:ext cx="0" cy="0"/>
          <a:chOff x="0" y="0"/>
          <a:chExt cx="0" cy="0"/>
        </a:xfrm>
      </p:grpSpPr>
      <p:sp>
        <p:nvSpPr>
          <p:cNvPr id="208" name="Google Shape;208;p31"/>
          <p:cNvSpPr txBox="1">
            <a:spLocks noGrp="1"/>
          </p:cNvSpPr>
          <p:nvPr>
            <p:ph type="title"/>
          </p:nvPr>
        </p:nvSpPr>
        <p:spPr>
          <a:xfrm>
            <a:off x="839788" y="457200"/>
            <a:ext cx="3932100"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 name="Google Shape;209;p31"/>
          <p:cNvSpPr txBox="1">
            <a:spLocks noGrp="1"/>
          </p:cNvSpPr>
          <p:nvPr>
            <p:ph type="body" idx="1"/>
          </p:nvPr>
        </p:nvSpPr>
        <p:spPr>
          <a:xfrm>
            <a:off x="5183188" y="987425"/>
            <a:ext cx="6172200" cy="4873500"/>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rgbClr val="53575A"/>
              </a:buClr>
              <a:buSzPts val="3200"/>
              <a:buChar char="•"/>
              <a:defRPr sz="3200"/>
            </a:lvl1pPr>
            <a:lvl2pPr marL="914400" lvl="1" indent="-406400" algn="l">
              <a:lnSpc>
                <a:spcPct val="90000"/>
              </a:lnSpc>
              <a:spcBef>
                <a:spcPts val="500"/>
              </a:spcBef>
              <a:spcAft>
                <a:spcPts val="0"/>
              </a:spcAft>
              <a:buClr>
                <a:srgbClr val="53575A"/>
              </a:buClr>
              <a:buSzPts val="2800"/>
              <a:buChar char="•"/>
              <a:defRPr sz="2800"/>
            </a:lvl2pPr>
            <a:lvl3pPr marL="1371600" lvl="2" indent="-381000" algn="l">
              <a:lnSpc>
                <a:spcPct val="90000"/>
              </a:lnSpc>
              <a:spcBef>
                <a:spcPts val="500"/>
              </a:spcBef>
              <a:spcAft>
                <a:spcPts val="0"/>
              </a:spcAft>
              <a:buClr>
                <a:srgbClr val="53575A"/>
              </a:buClr>
              <a:buSzPts val="2400"/>
              <a:buChar char="•"/>
              <a:defRPr sz="2400"/>
            </a:lvl3pPr>
            <a:lvl4pPr marL="1828800" lvl="3" indent="-355600" algn="l">
              <a:lnSpc>
                <a:spcPct val="90000"/>
              </a:lnSpc>
              <a:spcBef>
                <a:spcPts val="500"/>
              </a:spcBef>
              <a:spcAft>
                <a:spcPts val="0"/>
              </a:spcAft>
              <a:buClr>
                <a:srgbClr val="53575A"/>
              </a:buClr>
              <a:buSzPts val="2000"/>
              <a:buChar char="•"/>
              <a:defRPr sz="2000"/>
            </a:lvl4pPr>
            <a:lvl5pPr marL="2286000" lvl="4" indent="-355600" algn="l">
              <a:lnSpc>
                <a:spcPct val="90000"/>
              </a:lnSpc>
              <a:spcBef>
                <a:spcPts val="500"/>
              </a:spcBef>
              <a:spcAft>
                <a:spcPts val="0"/>
              </a:spcAft>
              <a:buClr>
                <a:srgbClr val="53575A"/>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10" name="Google Shape;210;p31"/>
          <p:cNvSpPr txBox="1">
            <a:spLocks noGrp="1"/>
          </p:cNvSpPr>
          <p:nvPr>
            <p:ph type="body" idx="2"/>
          </p:nvPr>
        </p:nvSpPr>
        <p:spPr>
          <a:xfrm>
            <a:off x="839788" y="2057400"/>
            <a:ext cx="3932100" cy="38115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53575A"/>
              </a:buClr>
              <a:buSzPts val="1600"/>
              <a:buNone/>
              <a:defRPr sz="1600"/>
            </a:lvl1pPr>
            <a:lvl2pPr marL="914400" lvl="1" indent="-228600" algn="l">
              <a:lnSpc>
                <a:spcPct val="90000"/>
              </a:lnSpc>
              <a:spcBef>
                <a:spcPts val="500"/>
              </a:spcBef>
              <a:spcAft>
                <a:spcPts val="0"/>
              </a:spcAft>
              <a:buClr>
                <a:srgbClr val="53575A"/>
              </a:buClr>
              <a:buSzPts val="1400"/>
              <a:buNone/>
              <a:defRPr sz="1400"/>
            </a:lvl2pPr>
            <a:lvl3pPr marL="1371600" lvl="2" indent="-228600" algn="l">
              <a:lnSpc>
                <a:spcPct val="90000"/>
              </a:lnSpc>
              <a:spcBef>
                <a:spcPts val="500"/>
              </a:spcBef>
              <a:spcAft>
                <a:spcPts val="0"/>
              </a:spcAft>
              <a:buClr>
                <a:srgbClr val="53575A"/>
              </a:buClr>
              <a:buSzPts val="1200"/>
              <a:buNone/>
              <a:defRPr sz="1200"/>
            </a:lvl3pPr>
            <a:lvl4pPr marL="1828800" lvl="3" indent="-228600" algn="l">
              <a:lnSpc>
                <a:spcPct val="90000"/>
              </a:lnSpc>
              <a:spcBef>
                <a:spcPts val="500"/>
              </a:spcBef>
              <a:spcAft>
                <a:spcPts val="0"/>
              </a:spcAft>
              <a:buClr>
                <a:srgbClr val="53575A"/>
              </a:buClr>
              <a:buSzPts val="1000"/>
              <a:buNone/>
              <a:defRPr sz="1000"/>
            </a:lvl4pPr>
            <a:lvl5pPr marL="2286000" lvl="4" indent="-228600" algn="l">
              <a:lnSpc>
                <a:spcPct val="90000"/>
              </a:lnSpc>
              <a:spcBef>
                <a:spcPts val="500"/>
              </a:spcBef>
              <a:spcAft>
                <a:spcPts val="0"/>
              </a:spcAft>
              <a:buClr>
                <a:srgbClr val="53575A"/>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11" name="Google Shape;211;p31"/>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2" name="Google Shape;212;p31"/>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036716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13"/>
        <p:cNvGrpSpPr/>
        <p:nvPr/>
      </p:nvGrpSpPr>
      <p:grpSpPr>
        <a:xfrm>
          <a:off x="0" y="0"/>
          <a:ext cx="0" cy="0"/>
          <a:chOff x="0" y="0"/>
          <a:chExt cx="0" cy="0"/>
        </a:xfrm>
      </p:grpSpPr>
      <p:sp>
        <p:nvSpPr>
          <p:cNvPr id="214" name="Google Shape;214;p32"/>
          <p:cNvSpPr txBox="1">
            <a:spLocks noGrp="1"/>
          </p:cNvSpPr>
          <p:nvPr>
            <p:ph type="title"/>
          </p:nvPr>
        </p:nvSpPr>
        <p:spPr>
          <a:xfrm>
            <a:off x="831850" y="1709738"/>
            <a:ext cx="10515600" cy="28527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5" name="Google Shape;215;p32"/>
          <p:cNvSpPr txBox="1">
            <a:spLocks noGrp="1"/>
          </p:cNvSpPr>
          <p:nvPr>
            <p:ph type="body" idx="1"/>
          </p:nvPr>
        </p:nvSpPr>
        <p:spPr>
          <a:xfrm>
            <a:off x="831850" y="4589463"/>
            <a:ext cx="10515600" cy="15003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16" name="Google Shape;216;p32"/>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 name="Google Shape;217;p32"/>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085453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18"/>
        <p:cNvGrpSpPr/>
        <p:nvPr/>
      </p:nvGrpSpPr>
      <p:grpSpPr>
        <a:xfrm>
          <a:off x="0" y="0"/>
          <a:ext cx="0" cy="0"/>
          <a:chOff x="0" y="0"/>
          <a:chExt cx="0" cy="0"/>
        </a:xfrm>
      </p:grpSpPr>
      <p:sp>
        <p:nvSpPr>
          <p:cNvPr id="219" name="Google Shape;219;p33"/>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0" name="Google Shape;220;p33"/>
          <p:cNvSpPr txBox="1">
            <a:spLocks noGrp="1"/>
          </p:cNvSpPr>
          <p:nvPr>
            <p:ph type="body" idx="1"/>
          </p:nvPr>
        </p:nvSpPr>
        <p:spPr>
          <a:xfrm>
            <a:off x="838200" y="1825625"/>
            <a:ext cx="5181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 name="Google Shape;221;p33"/>
          <p:cNvSpPr txBox="1">
            <a:spLocks noGrp="1"/>
          </p:cNvSpPr>
          <p:nvPr>
            <p:ph type="body" idx="2"/>
          </p:nvPr>
        </p:nvSpPr>
        <p:spPr>
          <a:xfrm>
            <a:off x="6172200" y="1825625"/>
            <a:ext cx="5181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33"/>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3" name="Google Shape;223;p33"/>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974258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52"/>
        <p:cNvGrpSpPr/>
        <p:nvPr/>
      </p:nvGrpSpPr>
      <p:grpSpPr>
        <a:xfrm>
          <a:off x="0" y="0"/>
          <a:ext cx="0" cy="0"/>
          <a:chOff x="0" y="0"/>
          <a:chExt cx="0" cy="0"/>
        </a:xfrm>
      </p:grpSpPr>
      <p:sp>
        <p:nvSpPr>
          <p:cNvPr id="53" name="Google Shape;53;p8"/>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 name="Google Shape;54;p8"/>
          <p:cNvSpPr txBox="1">
            <a:spLocks noGrp="1"/>
          </p:cNvSpPr>
          <p:nvPr>
            <p:ph type="body" idx="1"/>
          </p:nvPr>
        </p:nvSpPr>
        <p:spPr>
          <a:xfrm rot="5400000">
            <a:off x="3920400" y="-1256575"/>
            <a:ext cx="4351200" cy="10515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 name="Google Shape;55;p8"/>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8"/>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24"/>
        <p:cNvGrpSpPr/>
        <p:nvPr/>
      </p:nvGrpSpPr>
      <p:grpSpPr>
        <a:xfrm>
          <a:off x="0" y="0"/>
          <a:ext cx="0" cy="0"/>
          <a:chOff x="0" y="0"/>
          <a:chExt cx="0" cy="0"/>
        </a:xfrm>
      </p:grpSpPr>
      <p:sp>
        <p:nvSpPr>
          <p:cNvPr id="225" name="Google Shape;225;p34"/>
          <p:cNvSpPr txBox="1">
            <a:spLocks noGrp="1"/>
          </p:cNvSpPr>
          <p:nvPr>
            <p:ph type="title"/>
          </p:nvPr>
        </p:nvSpPr>
        <p:spPr>
          <a:xfrm>
            <a:off x="839788" y="365125"/>
            <a:ext cx="105156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6" name="Google Shape;226;p34"/>
          <p:cNvSpPr txBox="1">
            <a:spLocks noGrp="1"/>
          </p:cNvSpPr>
          <p:nvPr>
            <p:ph type="body" idx="1"/>
          </p:nvPr>
        </p:nvSpPr>
        <p:spPr>
          <a:xfrm>
            <a:off x="839788" y="1681163"/>
            <a:ext cx="5157900" cy="823800"/>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rgbClr val="53575A"/>
              </a:buClr>
              <a:buSzPts val="2400"/>
              <a:buNone/>
              <a:defRPr sz="2400" b="1"/>
            </a:lvl1pPr>
            <a:lvl2pPr marL="914400" lvl="1" indent="-228600" algn="l">
              <a:lnSpc>
                <a:spcPct val="90000"/>
              </a:lnSpc>
              <a:spcBef>
                <a:spcPts val="500"/>
              </a:spcBef>
              <a:spcAft>
                <a:spcPts val="0"/>
              </a:spcAft>
              <a:buClr>
                <a:srgbClr val="53575A"/>
              </a:buClr>
              <a:buSzPts val="2000"/>
              <a:buNone/>
              <a:defRPr sz="2000" b="1"/>
            </a:lvl2pPr>
            <a:lvl3pPr marL="1371600" lvl="2" indent="-228600" algn="l">
              <a:lnSpc>
                <a:spcPct val="90000"/>
              </a:lnSpc>
              <a:spcBef>
                <a:spcPts val="500"/>
              </a:spcBef>
              <a:spcAft>
                <a:spcPts val="0"/>
              </a:spcAft>
              <a:buClr>
                <a:srgbClr val="53575A"/>
              </a:buClr>
              <a:buSzPts val="1800"/>
              <a:buNone/>
              <a:defRPr sz="1800" b="1"/>
            </a:lvl3pPr>
            <a:lvl4pPr marL="1828800" lvl="3" indent="-228600" algn="l">
              <a:lnSpc>
                <a:spcPct val="90000"/>
              </a:lnSpc>
              <a:spcBef>
                <a:spcPts val="500"/>
              </a:spcBef>
              <a:spcAft>
                <a:spcPts val="0"/>
              </a:spcAft>
              <a:buClr>
                <a:srgbClr val="53575A"/>
              </a:buClr>
              <a:buSzPts val="1600"/>
              <a:buNone/>
              <a:defRPr sz="1600" b="1"/>
            </a:lvl4pPr>
            <a:lvl5pPr marL="2286000" lvl="4" indent="-228600" algn="l">
              <a:lnSpc>
                <a:spcPct val="90000"/>
              </a:lnSpc>
              <a:spcBef>
                <a:spcPts val="500"/>
              </a:spcBef>
              <a:spcAft>
                <a:spcPts val="0"/>
              </a:spcAft>
              <a:buClr>
                <a:srgbClr val="53575A"/>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7" name="Google Shape;227;p34"/>
          <p:cNvSpPr txBox="1">
            <a:spLocks noGrp="1"/>
          </p:cNvSpPr>
          <p:nvPr>
            <p:ph type="body" idx="2"/>
          </p:nvPr>
        </p:nvSpPr>
        <p:spPr>
          <a:xfrm>
            <a:off x="839788" y="2505075"/>
            <a:ext cx="5157900" cy="3684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 name="Google Shape;228;p34"/>
          <p:cNvSpPr txBox="1">
            <a:spLocks noGrp="1"/>
          </p:cNvSpPr>
          <p:nvPr>
            <p:ph type="body" idx="3"/>
          </p:nvPr>
        </p:nvSpPr>
        <p:spPr>
          <a:xfrm>
            <a:off x="6172200" y="1681163"/>
            <a:ext cx="5183100" cy="823800"/>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rgbClr val="53575A"/>
              </a:buClr>
              <a:buSzPts val="2400"/>
              <a:buNone/>
              <a:defRPr sz="2400" b="1"/>
            </a:lvl1pPr>
            <a:lvl2pPr marL="914400" lvl="1" indent="-228600" algn="l">
              <a:lnSpc>
                <a:spcPct val="90000"/>
              </a:lnSpc>
              <a:spcBef>
                <a:spcPts val="500"/>
              </a:spcBef>
              <a:spcAft>
                <a:spcPts val="0"/>
              </a:spcAft>
              <a:buClr>
                <a:srgbClr val="53575A"/>
              </a:buClr>
              <a:buSzPts val="2000"/>
              <a:buNone/>
              <a:defRPr sz="2000" b="1"/>
            </a:lvl2pPr>
            <a:lvl3pPr marL="1371600" lvl="2" indent="-228600" algn="l">
              <a:lnSpc>
                <a:spcPct val="90000"/>
              </a:lnSpc>
              <a:spcBef>
                <a:spcPts val="500"/>
              </a:spcBef>
              <a:spcAft>
                <a:spcPts val="0"/>
              </a:spcAft>
              <a:buClr>
                <a:srgbClr val="53575A"/>
              </a:buClr>
              <a:buSzPts val="1800"/>
              <a:buNone/>
              <a:defRPr sz="1800" b="1"/>
            </a:lvl3pPr>
            <a:lvl4pPr marL="1828800" lvl="3" indent="-228600" algn="l">
              <a:lnSpc>
                <a:spcPct val="90000"/>
              </a:lnSpc>
              <a:spcBef>
                <a:spcPts val="500"/>
              </a:spcBef>
              <a:spcAft>
                <a:spcPts val="0"/>
              </a:spcAft>
              <a:buClr>
                <a:srgbClr val="53575A"/>
              </a:buClr>
              <a:buSzPts val="1600"/>
              <a:buNone/>
              <a:defRPr sz="1600" b="1"/>
            </a:lvl4pPr>
            <a:lvl5pPr marL="2286000" lvl="4" indent="-228600" algn="l">
              <a:lnSpc>
                <a:spcPct val="90000"/>
              </a:lnSpc>
              <a:spcBef>
                <a:spcPts val="500"/>
              </a:spcBef>
              <a:spcAft>
                <a:spcPts val="0"/>
              </a:spcAft>
              <a:buClr>
                <a:srgbClr val="53575A"/>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9" name="Google Shape;229;p34"/>
          <p:cNvSpPr txBox="1">
            <a:spLocks noGrp="1"/>
          </p:cNvSpPr>
          <p:nvPr>
            <p:ph type="body" idx="4"/>
          </p:nvPr>
        </p:nvSpPr>
        <p:spPr>
          <a:xfrm>
            <a:off x="6172200" y="2505075"/>
            <a:ext cx="5183100" cy="3684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 name="Google Shape;230;p34"/>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1" name="Google Shape;231;p34"/>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439021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232"/>
        <p:cNvGrpSpPr/>
        <p:nvPr/>
      </p:nvGrpSpPr>
      <p:grpSpPr>
        <a:xfrm>
          <a:off x="0" y="0"/>
          <a:ext cx="0" cy="0"/>
          <a:chOff x="0" y="0"/>
          <a:chExt cx="0" cy="0"/>
        </a:xfrm>
      </p:grpSpPr>
      <p:sp>
        <p:nvSpPr>
          <p:cNvPr id="233" name="Google Shape;233;p35"/>
          <p:cNvSpPr txBox="1">
            <a:spLocks noGrp="1"/>
          </p:cNvSpPr>
          <p:nvPr>
            <p:ph type="title"/>
          </p:nvPr>
        </p:nvSpPr>
        <p:spPr>
          <a:xfrm>
            <a:off x="839788" y="987424"/>
            <a:ext cx="3932100" cy="10701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 name="Google Shape;234;p35"/>
          <p:cNvSpPr>
            <a:spLocks noGrp="1"/>
          </p:cNvSpPr>
          <p:nvPr>
            <p:ph type="pic" idx="2"/>
          </p:nvPr>
        </p:nvSpPr>
        <p:spPr>
          <a:xfrm>
            <a:off x="5183188" y="987425"/>
            <a:ext cx="6172200" cy="48735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3575A"/>
              </a:buClr>
              <a:buSzPts val="3200"/>
              <a:buFont typeface="Arial"/>
              <a:buNone/>
              <a:defRPr sz="3200" b="0" i="0" u="none" strike="noStrike" cap="none">
                <a:solidFill>
                  <a:srgbClr val="53575A"/>
                </a:solidFill>
                <a:latin typeface="Arial"/>
                <a:ea typeface="Arial"/>
                <a:cs typeface="Arial"/>
                <a:sym typeface="Arial"/>
              </a:defRPr>
            </a:lvl1pPr>
            <a:lvl2pPr marR="0" lvl="1" algn="l" rtl="0">
              <a:lnSpc>
                <a:spcPct val="90000"/>
              </a:lnSpc>
              <a:spcBef>
                <a:spcPts val="500"/>
              </a:spcBef>
              <a:spcAft>
                <a:spcPts val="0"/>
              </a:spcAft>
              <a:buClr>
                <a:srgbClr val="53575A"/>
              </a:buClr>
              <a:buSzPts val="2800"/>
              <a:buFont typeface="Arial"/>
              <a:buNone/>
              <a:defRPr sz="2800" b="0" i="0" u="none" strike="noStrike" cap="none">
                <a:solidFill>
                  <a:srgbClr val="53575A"/>
                </a:solidFill>
                <a:latin typeface="Arial"/>
                <a:ea typeface="Arial"/>
                <a:cs typeface="Arial"/>
                <a:sym typeface="Arial"/>
              </a:defRPr>
            </a:lvl2pPr>
            <a:lvl3pPr marR="0" lvl="2" algn="l" rtl="0">
              <a:lnSpc>
                <a:spcPct val="90000"/>
              </a:lnSpc>
              <a:spcBef>
                <a:spcPts val="500"/>
              </a:spcBef>
              <a:spcAft>
                <a:spcPts val="0"/>
              </a:spcAft>
              <a:buClr>
                <a:srgbClr val="53575A"/>
              </a:buClr>
              <a:buSzPts val="2400"/>
              <a:buFont typeface="Arial"/>
              <a:buNone/>
              <a:defRPr sz="2400" b="0" i="0" u="none" strike="noStrike" cap="none">
                <a:solidFill>
                  <a:srgbClr val="53575A"/>
                </a:solidFill>
                <a:latin typeface="Arial"/>
                <a:ea typeface="Arial"/>
                <a:cs typeface="Arial"/>
                <a:sym typeface="Arial"/>
              </a:defRPr>
            </a:lvl3pPr>
            <a:lvl4pPr marR="0" lvl="3" algn="l" rtl="0">
              <a:lnSpc>
                <a:spcPct val="90000"/>
              </a:lnSpc>
              <a:spcBef>
                <a:spcPts val="500"/>
              </a:spcBef>
              <a:spcAft>
                <a:spcPts val="0"/>
              </a:spcAft>
              <a:buClr>
                <a:srgbClr val="53575A"/>
              </a:buClr>
              <a:buSzPts val="2000"/>
              <a:buFont typeface="Arial"/>
              <a:buNone/>
              <a:defRPr sz="2000" b="0" i="0" u="none" strike="noStrike" cap="none">
                <a:solidFill>
                  <a:srgbClr val="53575A"/>
                </a:solidFill>
                <a:latin typeface="Arial"/>
                <a:ea typeface="Arial"/>
                <a:cs typeface="Arial"/>
                <a:sym typeface="Arial"/>
              </a:defRPr>
            </a:lvl4pPr>
            <a:lvl5pPr marR="0" lvl="4" algn="l" rtl="0">
              <a:lnSpc>
                <a:spcPct val="90000"/>
              </a:lnSpc>
              <a:spcBef>
                <a:spcPts val="500"/>
              </a:spcBef>
              <a:spcAft>
                <a:spcPts val="0"/>
              </a:spcAft>
              <a:buClr>
                <a:srgbClr val="53575A"/>
              </a:buClr>
              <a:buSzPts val="2000"/>
              <a:buFont typeface="Arial"/>
              <a:buNone/>
              <a:defRPr sz="2000" b="0" i="0" u="none" strike="noStrike" cap="none">
                <a:solidFill>
                  <a:srgbClr val="53575A"/>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35" name="Google Shape;235;p35"/>
          <p:cNvSpPr txBox="1">
            <a:spLocks noGrp="1"/>
          </p:cNvSpPr>
          <p:nvPr>
            <p:ph type="body" idx="1"/>
          </p:nvPr>
        </p:nvSpPr>
        <p:spPr>
          <a:xfrm>
            <a:off x="839788" y="2057400"/>
            <a:ext cx="3932100" cy="38115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53575A"/>
              </a:buClr>
              <a:buSzPts val="1600"/>
              <a:buNone/>
              <a:defRPr sz="1600"/>
            </a:lvl1pPr>
            <a:lvl2pPr marL="914400" lvl="1" indent="-228600" algn="l">
              <a:lnSpc>
                <a:spcPct val="90000"/>
              </a:lnSpc>
              <a:spcBef>
                <a:spcPts val="500"/>
              </a:spcBef>
              <a:spcAft>
                <a:spcPts val="0"/>
              </a:spcAft>
              <a:buClr>
                <a:srgbClr val="53575A"/>
              </a:buClr>
              <a:buSzPts val="1400"/>
              <a:buNone/>
              <a:defRPr sz="1400"/>
            </a:lvl2pPr>
            <a:lvl3pPr marL="1371600" lvl="2" indent="-228600" algn="l">
              <a:lnSpc>
                <a:spcPct val="90000"/>
              </a:lnSpc>
              <a:spcBef>
                <a:spcPts val="500"/>
              </a:spcBef>
              <a:spcAft>
                <a:spcPts val="0"/>
              </a:spcAft>
              <a:buClr>
                <a:srgbClr val="53575A"/>
              </a:buClr>
              <a:buSzPts val="1200"/>
              <a:buNone/>
              <a:defRPr sz="1200"/>
            </a:lvl3pPr>
            <a:lvl4pPr marL="1828800" lvl="3" indent="-228600" algn="l">
              <a:lnSpc>
                <a:spcPct val="90000"/>
              </a:lnSpc>
              <a:spcBef>
                <a:spcPts val="500"/>
              </a:spcBef>
              <a:spcAft>
                <a:spcPts val="0"/>
              </a:spcAft>
              <a:buClr>
                <a:srgbClr val="53575A"/>
              </a:buClr>
              <a:buSzPts val="1000"/>
              <a:buNone/>
              <a:defRPr sz="1000"/>
            </a:lvl4pPr>
            <a:lvl5pPr marL="2286000" lvl="4" indent="-228600" algn="l">
              <a:lnSpc>
                <a:spcPct val="90000"/>
              </a:lnSpc>
              <a:spcBef>
                <a:spcPts val="500"/>
              </a:spcBef>
              <a:spcAft>
                <a:spcPts val="0"/>
              </a:spcAft>
              <a:buClr>
                <a:srgbClr val="53575A"/>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36" name="Google Shape;236;p35"/>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 name="Google Shape;237;p35"/>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903516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238"/>
        <p:cNvGrpSpPr/>
        <p:nvPr/>
      </p:nvGrpSpPr>
      <p:grpSpPr>
        <a:xfrm>
          <a:off x="0" y="0"/>
          <a:ext cx="0" cy="0"/>
          <a:chOff x="0" y="0"/>
          <a:chExt cx="0" cy="0"/>
        </a:xfrm>
      </p:grpSpPr>
      <p:sp>
        <p:nvSpPr>
          <p:cNvPr id="239" name="Google Shape;239;p36"/>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 name="Google Shape;240;p36"/>
          <p:cNvSpPr txBox="1">
            <a:spLocks noGrp="1"/>
          </p:cNvSpPr>
          <p:nvPr>
            <p:ph type="body" idx="1"/>
          </p:nvPr>
        </p:nvSpPr>
        <p:spPr>
          <a:xfrm rot="5400000">
            <a:off x="3920400" y="-1256575"/>
            <a:ext cx="4351200" cy="10515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 name="Google Shape;241;p36"/>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36"/>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581782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243"/>
        <p:cNvGrpSpPr/>
        <p:nvPr/>
      </p:nvGrpSpPr>
      <p:grpSpPr>
        <a:xfrm>
          <a:off x="0" y="0"/>
          <a:ext cx="0" cy="0"/>
          <a:chOff x="0" y="0"/>
          <a:chExt cx="0" cy="0"/>
        </a:xfrm>
      </p:grpSpPr>
      <p:sp>
        <p:nvSpPr>
          <p:cNvPr id="244" name="Google Shape;244;p37"/>
          <p:cNvSpPr txBox="1">
            <a:spLocks noGrp="1"/>
          </p:cNvSpPr>
          <p:nvPr>
            <p:ph type="title"/>
          </p:nvPr>
        </p:nvSpPr>
        <p:spPr>
          <a:xfrm rot="5400000">
            <a:off x="7516050" y="2339149"/>
            <a:ext cx="5046600" cy="26289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5" name="Google Shape;245;p37"/>
          <p:cNvSpPr txBox="1">
            <a:spLocks noGrp="1"/>
          </p:cNvSpPr>
          <p:nvPr>
            <p:ph type="body" idx="1"/>
          </p:nvPr>
        </p:nvSpPr>
        <p:spPr>
          <a:xfrm rot="5400000">
            <a:off x="2182050" y="-213551"/>
            <a:ext cx="5046600" cy="77343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 name="Google Shape;246;p37"/>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 name="Google Shape;247;p37"/>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669178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48"/>
        <p:cNvGrpSpPr/>
        <p:nvPr/>
      </p:nvGrpSpPr>
      <p:grpSpPr>
        <a:xfrm>
          <a:off x="0" y="0"/>
          <a:ext cx="0" cy="0"/>
          <a:chOff x="0" y="0"/>
          <a:chExt cx="0" cy="0"/>
        </a:xfrm>
      </p:grpSpPr>
      <p:pic>
        <p:nvPicPr>
          <p:cNvPr id="249" name="Google Shape;249;p38"/>
          <p:cNvPicPr preferRelativeResize="0"/>
          <p:nvPr/>
        </p:nvPicPr>
        <p:blipFill rotWithShape="1">
          <a:blip r:embed="rId2">
            <a:alphaModFix/>
          </a:blip>
          <a:srcRect/>
          <a:stretch/>
        </p:blipFill>
        <p:spPr>
          <a:xfrm>
            <a:off x="2118" y="1589"/>
            <a:ext cx="2115" cy="1587"/>
          </a:xfrm>
          <a:prstGeom prst="rect">
            <a:avLst/>
          </a:prstGeom>
          <a:noFill/>
          <a:ln>
            <a:noFill/>
          </a:ln>
        </p:spPr>
      </p:pic>
      <p:sp>
        <p:nvSpPr>
          <p:cNvPr id="250" name="Google Shape;250;p38"/>
          <p:cNvSpPr txBox="1">
            <a:spLocks noGrp="1"/>
          </p:cNvSpPr>
          <p:nvPr>
            <p:ph type="title"/>
          </p:nvPr>
        </p:nvSpPr>
        <p:spPr>
          <a:xfrm>
            <a:off x="233259" y="433461"/>
            <a:ext cx="11725500" cy="3693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32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1" name="Google Shape;251;p38"/>
          <p:cNvSpPr/>
          <p:nvPr/>
        </p:nvSpPr>
        <p:spPr>
          <a:xfrm>
            <a:off x="11064591" y="42308"/>
            <a:ext cx="894300" cy="124800"/>
          </a:xfrm>
          <a:prstGeom prst="rect">
            <a:avLst/>
          </a:prstGeom>
          <a:noFill/>
          <a:ln>
            <a:noFill/>
          </a:ln>
        </p:spPr>
        <p:txBody>
          <a:bodyPr spcFirstLastPara="1" wrap="square" lIns="0" tIns="0" rIns="0" bIns="0" anchor="t" anchorCtr="0">
            <a:noAutofit/>
          </a:bodyPr>
          <a:lstStyle/>
          <a:p>
            <a:pPr algn="r">
              <a:buSzPts val="816"/>
            </a:pPr>
            <a:endParaRPr sz="816">
              <a:solidFill>
                <a:srgbClr val="FFFFFF"/>
              </a:solidFill>
            </a:endParaRPr>
          </a:p>
        </p:txBody>
      </p:sp>
    </p:spTree>
    <p:extLst>
      <p:ext uri="{BB962C8B-B14F-4D97-AF65-F5344CB8AC3E}">
        <p14:creationId xmlns:p14="http://schemas.microsoft.com/office/powerpoint/2010/main" val="4039792527"/>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252"/>
        <p:cNvGrpSpPr/>
        <p:nvPr/>
      </p:nvGrpSpPr>
      <p:grpSpPr>
        <a:xfrm>
          <a:off x="0" y="0"/>
          <a:ext cx="0" cy="0"/>
          <a:chOff x="0" y="0"/>
          <a:chExt cx="0" cy="0"/>
        </a:xfrm>
      </p:grpSpPr>
      <p:sp>
        <p:nvSpPr>
          <p:cNvPr id="253" name="Google Shape;253;p39"/>
          <p:cNvSpPr txBox="1">
            <a:spLocks noGrp="1"/>
          </p:cNvSpPr>
          <p:nvPr>
            <p:ph type="title"/>
          </p:nvPr>
        </p:nvSpPr>
        <p:spPr>
          <a:xfrm>
            <a:off x="838200" y="446881"/>
            <a:ext cx="10515600" cy="7890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4000"/>
              <a:buFont typeface="Arial"/>
              <a:buNone/>
              <a:defRPr sz="4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4" name="Google Shape;254;p39"/>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406400" algn="l">
              <a:lnSpc>
                <a:spcPct val="90000"/>
              </a:lnSpc>
              <a:spcBef>
                <a:spcPts val="1000"/>
              </a:spcBef>
              <a:spcAft>
                <a:spcPts val="0"/>
              </a:spcAft>
              <a:buClr>
                <a:schemeClr val="dk1"/>
              </a:buClr>
              <a:buSzPts val="2800"/>
              <a:buChar char="•"/>
              <a:defRPr b="1"/>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 name="Google Shape;255;p39"/>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6" name="Google Shape;256;p39"/>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 name="Google Shape;257;p39"/>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a:pPr/>
              <a:t>‹Nr.›</a:t>
            </a:fld>
            <a:endParaRPr/>
          </a:p>
        </p:txBody>
      </p:sp>
      <p:pic>
        <p:nvPicPr>
          <p:cNvPr id="258" name="Google Shape;258;p39" descr="Image result for africa cdc png"/>
          <p:cNvPicPr preferRelativeResize="0"/>
          <p:nvPr/>
        </p:nvPicPr>
        <p:blipFill rotWithShape="1">
          <a:blip r:embed="rId2">
            <a:alphaModFix/>
          </a:blip>
          <a:srcRect/>
          <a:stretch/>
        </p:blipFill>
        <p:spPr>
          <a:xfrm>
            <a:off x="9720943" y="5698442"/>
            <a:ext cx="2380898" cy="1063468"/>
          </a:xfrm>
          <a:prstGeom prst="rect">
            <a:avLst/>
          </a:prstGeom>
          <a:noFill/>
          <a:ln>
            <a:noFill/>
          </a:ln>
        </p:spPr>
      </p:pic>
      <p:pic>
        <p:nvPicPr>
          <p:cNvPr id="259" name="Google Shape;259;p39" descr="Image result for african unionc png"/>
          <p:cNvPicPr preferRelativeResize="0"/>
          <p:nvPr/>
        </p:nvPicPr>
        <p:blipFill rotWithShape="1">
          <a:blip r:embed="rId3">
            <a:alphaModFix/>
          </a:blip>
          <a:srcRect/>
          <a:stretch/>
        </p:blipFill>
        <p:spPr>
          <a:xfrm>
            <a:off x="90159" y="6030861"/>
            <a:ext cx="1841519" cy="650977"/>
          </a:xfrm>
          <a:prstGeom prst="rect">
            <a:avLst/>
          </a:prstGeom>
          <a:noFill/>
          <a:ln>
            <a:noFill/>
          </a:ln>
        </p:spPr>
      </p:pic>
      <p:sp>
        <p:nvSpPr>
          <p:cNvPr id="260" name="Google Shape;260;p39"/>
          <p:cNvSpPr txBox="1">
            <a:spLocks noGrp="1"/>
          </p:cNvSpPr>
          <p:nvPr>
            <p:ph type="body" idx="2"/>
          </p:nvPr>
        </p:nvSpPr>
        <p:spPr>
          <a:xfrm>
            <a:off x="838200" y="1253188"/>
            <a:ext cx="10515600" cy="3126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accent5"/>
              </a:buClr>
              <a:buSzPts val="1800"/>
              <a:buNone/>
              <a:defRPr sz="1800">
                <a:solidFill>
                  <a:schemeClr val="accent5"/>
                </a:solidFill>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185495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268"/>
        <p:cNvGrpSpPr/>
        <p:nvPr/>
      </p:nvGrpSpPr>
      <p:grpSpPr>
        <a:xfrm>
          <a:off x="0" y="0"/>
          <a:ext cx="0" cy="0"/>
          <a:chOff x="0" y="0"/>
          <a:chExt cx="0" cy="0"/>
        </a:xfrm>
      </p:grpSpPr>
      <p:sp>
        <p:nvSpPr>
          <p:cNvPr id="269" name="Google Shape;269;p41"/>
          <p:cNvSpPr txBox="1">
            <a:spLocks noGrp="1"/>
          </p:cNvSpPr>
          <p:nvPr>
            <p:ph type="title"/>
          </p:nvPr>
        </p:nvSpPr>
        <p:spPr>
          <a:xfrm>
            <a:off x="839788" y="457200"/>
            <a:ext cx="3932100"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0" name="Google Shape;270;p41"/>
          <p:cNvSpPr txBox="1">
            <a:spLocks noGrp="1"/>
          </p:cNvSpPr>
          <p:nvPr>
            <p:ph type="body" idx="1"/>
          </p:nvPr>
        </p:nvSpPr>
        <p:spPr>
          <a:xfrm>
            <a:off x="5183188" y="987425"/>
            <a:ext cx="6172200" cy="4873500"/>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rgbClr val="53575A"/>
              </a:buClr>
              <a:buSzPts val="3200"/>
              <a:buChar char="•"/>
              <a:defRPr sz="3200"/>
            </a:lvl1pPr>
            <a:lvl2pPr marL="914400" lvl="1" indent="-406400" algn="l">
              <a:lnSpc>
                <a:spcPct val="90000"/>
              </a:lnSpc>
              <a:spcBef>
                <a:spcPts val="500"/>
              </a:spcBef>
              <a:spcAft>
                <a:spcPts val="0"/>
              </a:spcAft>
              <a:buClr>
                <a:srgbClr val="53575A"/>
              </a:buClr>
              <a:buSzPts val="2800"/>
              <a:buChar char="•"/>
              <a:defRPr sz="2800"/>
            </a:lvl2pPr>
            <a:lvl3pPr marL="1371600" lvl="2" indent="-381000" algn="l">
              <a:lnSpc>
                <a:spcPct val="90000"/>
              </a:lnSpc>
              <a:spcBef>
                <a:spcPts val="500"/>
              </a:spcBef>
              <a:spcAft>
                <a:spcPts val="0"/>
              </a:spcAft>
              <a:buClr>
                <a:srgbClr val="53575A"/>
              </a:buClr>
              <a:buSzPts val="2400"/>
              <a:buChar char="•"/>
              <a:defRPr sz="2400"/>
            </a:lvl3pPr>
            <a:lvl4pPr marL="1828800" lvl="3" indent="-355600" algn="l">
              <a:lnSpc>
                <a:spcPct val="90000"/>
              </a:lnSpc>
              <a:spcBef>
                <a:spcPts val="500"/>
              </a:spcBef>
              <a:spcAft>
                <a:spcPts val="0"/>
              </a:spcAft>
              <a:buClr>
                <a:srgbClr val="53575A"/>
              </a:buClr>
              <a:buSzPts val="2000"/>
              <a:buChar char="•"/>
              <a:defRPr sz="2000"/>
            </a:lvl4pPr>
            <a:lvl5pPr marL="2286000" lvl="4" indent="-355600" algn="l">
              <a:lnSpc>
                <a:spcPct val="90000"/>
              </a:lnSpc>
              <a:spcBef>
                <a:spcPts val="500"/>
              </a:spcBef>
              <a:spcAft>
                <a:spcPts val="0"/>
              </a:spcAft>
              <a:buClr>
                <a:srgbClr val="53575A"/>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71" name="Google Shape;271;p41"/>
          <p:cNvSpPr txBox="1">
            <a:spLocks noGrp="1"/>
          </p:cNvSpPr>
          <p:nvPr>
            <p:ph type="body" idx="2"/>
          </p:nvPr>
        </p:nvSpPr>
        <p:spPr>
          <a:xfrm>
            <a:off x="839788" y="2057400"/>
            <a:ext cx="3932100" cy="38115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53575A"/>
              </a:buClr>
              <a:buSzPts val="1600"/>
              <a:buNone/>
              <a:defRPr sz="1600"/>
            </a:lvl1pPr>
            <a:lvl2pPr marL="914400" lvl="1" indent="-228600" algn="l">
              <a:lnSpc>
                <a:spcPct val="90000"/>
              </a:lnSpc>
              <a:spcBef>
                <a:spcPts val="500"/>
              </a:spcBef>
              <a:spcAft>
                <a:spcPts val="0"/>
              </a:spcAft>
              <a:buClr>
                <a:srgbClr val="53575A"/>
              </a:buClr>
              <a:buSzPts val="1400"/>
              <a:buNone/>
              <a:defRPr sz="1400"/>
            </a:lvl2pPr>
            <a:lvl3pPr marL="1371600" lvl="2" indent="-228600" algn="l">
              <a:lnSpc>
                <a:spcPct val="90000"/>
              </a:lnSpc>
              <a:spcBef>
                <a:spcPts val="500"/>
              </a:spcBef>
              <a:spcAft>
                <a:spcPts val="0"/>
              </a:spcAft>
              <a:buClr>
                <a:srgbClr val="53575A"/>
              </a:buClr>
              <a:buSzPts val="1200"/>
              <a:buNone/>
              <a:defRPr sz="1200"/>
            </a:lvl3pPr>
            <a:lvl4pPr marL="1828800" lvl="3" indent="-228600" algn="l">
              <a:lnSpc>
                <a:spcPct val="90000"/>
              </a:lnSpc>
              <a:spcBef>
                <a:spcPts val="500"/>
              </a:spcBef>
              <a:spcAft>
                <a:spcPts val="0"/>
              </a:spcAft>
              <a:buClr>
                <a:srgbClr val="53575A"/>
              </a:buClr>
              <a:buSzPts val="1000"/>
              <a:buNone/>
              <a:defRPr sz="1000"/>
            </a:lvl4pPr>
            <a:lvl5pPr marL="2286000" lvl="4" indent="-228600" algn="l">
              <a:lnSpc>
                <a:spcPct val="90000"/>
              </a:lnSpc>
              <a:spcBef>
                <a:spcPts val="500"/>
              </a:spcBef>
              <a:spcAft>
                <a:spcPts val="0"/>
              </a:spcAft>
              <a:buClr>
                <a:srgbClr val="53575A"/>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72" name="Google Shape;272;p41"/>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3" name="Google Shape;273;p41"/>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317364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74"/>
        <p:cNvGrpSpPr/>
        <p:nvPr/>
      </p:nvGrpSpPr>
      <p:grpSpPr>
        <a:xfrm>
          <a:off x="0" y="0"/>
          <a:ext cx="0" cy="0"/>
          <a:chOff x="0" y="0"/>
          <a:chExt cx="0" cy="0"/>
        </a:xfrm>
      </p:grpSpPr>
      <p:sp>
        <p:nvSpPr>
          <p:cNvPr id="275" name="Google Shape;275;p42"/>
          <p:cNvSpPr txBox="1">
            <a:spLocks noGrp="1"/>
          </p:cNvSpPr>
          <p:nvPr>
            <p:ph type="title"/>
          </p:nvPr>
        </p:nvSpPr>
        <p:spPr>
          <a:xfrm>
            <a:off x="831850" y="1709738"/>
            <a:ext cx="10515600" cy="28527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42"/>
          <p:cNvSpPr txBox="1">
            <a:spLocks noGrp="1"/>
          </p:cNvSpPr>
          <p:nvPr>
            <p:ph type="body" idx="1"/>
          </p:nvPr>
        </p:nvSpPr>
        <p:spPr>
          <a:xfrm>
            <a:off x="831850" y="4589463"/>
            <a:ext cx="10515600" cy="15003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77" name="Google Shape;277;p42"/>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8" name="Google Shape;278;p42"/>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0055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79"/>
        <p:cNvGrpSpPr/>
        <p:nvPr/>
      </p:nvGrpSpPr>
      <p:grpSpPr>
        <a:xfrm>
          <a:off x="0" y="0"/>
          <a:ext cx="0" cy="0"/>
          <a:chOff x="0" y="0"/>
          <a:chExt cx="0" cy="0"/>
        </a:xfrm>
      </p:grpSpPr>
      <p:pic>
        <p:nvPicPr>
          <p:cNvPr id="280" name="Google Shape;280;p43"/>
          <p:cNvPicPr preferRelativeResize="0"/>
          <p:nvPr/>
        </p:nvPicPr>
        <p:blipFill rotWithShape="1">
          <a:blip r:embed="rId2">
            <a:alphaModFix/>
          </a:blip>
          <a:srcRect/>
          <a:stretch/>
        </p:blipFill>
        <p:spPr>
          <a:xfrm>
            <a:off x="2118" y="1589"/>
            <a:ext cx="2115" cy="1587"/>
          </a:xfrm>
          <a:prstGeom prst="rect">
            <a:avLst/>
          </a:prstGeom>
          <a:noFill/>
          <a:ln>
            <a:noFill/>
          </a:ln>
        </p:spPr>
      </p:pic>
      <p:sp>
        <p:nvSpPr>
          <p:cNvPr id="281" name="Google Shape;281;p43"/>
          <p:cNvSpPr txBox="1">
            <a:spLocks noGrp="1"/>
          </p:cNvSpPr>
          <p:nvPr>
            <p:ph type="title"/>
          </p:nvPr>
        </p:nvSpPr>
        <p:spPr>
          <a:xfrm>
            <a:off x="233259" y="433461"/>
            <a:ext cx="11725500" cy="3693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32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 name="Google Shape;282;p43"/>
          <p:cNvSpPr/>
          <p:nvPr/>
        </p:nvSpPr>
        <p:spPr>
          <a:xfrm>
            <a:off x="11064591" y="42308"/>
            <a:ext cx="894300" cy="124800"/>
          </a:xfrm>
          <a:prstGeom prst="rect">
            <a:avLst/>
          </a:prstGeom>
          <a:noFill/>
          <a:ln>
            <a:noFill/>
          </a:ln>
        </p:spPr>
        <p:txBody>
          <a:bodyPr spcFirstLastPara="1" wrap="square" lIns="0" tIns="0" rIns="0" bIns="0" anchor="t" anchorCtr="0">
            <a:noAutofit/>
          </a:bodyPr>
          <a:lstStyle/>
          <a:p>
            <a:pPr algn="r">
              <a:buSzPts val="816"/>
            </a:pPr>
            <a:endParaRPr sz="816">
              <a:solidFill>
                <a:srgbClr val="FFFFFF"/>
              </a:solidFill>
            </a:endParaRPr>
          </a:p>
        </p:txBody>
      </p:sp>
      <p:sp>
        <p:nvSpPr>
          <p:cNvPr id="283" name="Google Shape;283;p43"/>
          <p:cNvSpPr txBox="1"/>
          <p:nvPr/>
        </p:nvSpPr>
        <p:spPr>
          <a:xfrm>
            <a:off x="4494600" y="6420481"/>
            <a:ext cx="3202800" cy="331800"/>
          </a:xfrm>
          <a:prstGeom prst="rect">
            <a:avLst/>
          </a:prstGeom>
          <a:noFill/>
          <a:ln>
            <a:noFill/>
          </a:ln>
        </p:spPr>
        <p:txBody>
          <a:bodyPr spcFirstLastPara="1" wrap="square" lIns="91425" tIns="91425" rIns="91425" bIns="91425" anchor="t" anchorCtr="0">
            <a:noAutofit/>
          </a:bodyPr>
          <a:lstStyle/>
          <a:p>
            <a:pPr algn="ctr">
              <a:buSzPts val="1200"/>
            </a:pPr>
            <a:r>
              <a:rPr lang="en-US" sz="1200" b="1">
                <a:solidFill>
                  <a:srgbClr val="990000"/>
                </a:solidFill>
              </a:rPr>
              <a:t>INTERNAL AFRICA CDC USE ONLY</a:t>
            </a:r>
            <a:endParaRPr sz="1200" b="1">
              <a:solidFill>
                <a:srgbClr val="990000"/>
              </a:solidFill>
            </a:endParaRPr>
          </a:p>
        </p:txBody>
      </p:sp>
    </p:spTree>
    <p:extLst>
      <p:ext uri="{BB962C8B-B14F-4D97-AF65-F5344CB8AC3E}">
        <p14:creationId xmlns:p14="http://schemas.microsoft.com/office/powerpoint/2010/main" val="348215454"/>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84"/>
        <p:cNvGrpSpPr/>
        <p:nvPr/>
      </p:nvGrpSpPr>
      <p:grpSpPr>
        <a:xfrm>
          <a:off x="0" y="0"/>
          <a:ext cx="0" cy="0"/>
          <a:chOff x="0" y="0"/>
          <a:chExt cx="0" cy="0"/>
        </a:xfrm>
      </p:grpSpPr>
      <p:sp>
        <p:nvSpPr>
          <p:cNvPr id="285" name="Google Shape;285;p44"/>
          <p:cNvSpPr txBox="1">
            <a:spLocks noGrp="1"/>
          </p:cNvSpPr>
          <p:nvPr>
            <p:ph type="title"/>
          </p:nvPr>
        </p:nvSpPr>
        <p:spPr>
          <a:xfrm>
            <a:off x="839788" y="365125"/>
            <a:ext cx="105156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6" name="Google Shape;286;p44"/>
          <p:cNvSpPr txBox="1">
            <a:spLocks noGrp="1"/>
          </p:cNvSpPr>
          <p:nvPr>
            <p:ph type="body" idx="1"/>
          </p:nvPr>
        </p:nvSpPr>
        <p:spPr>
          <a:xfrm>
            <a:off x="839788" y="1681163"/>
            <a:ext cx="5157900" cy="823800"/>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rgbClr val="53575A"/>
              </a:buClr>
              <a:buSzPts val="2400"/>
              <a:buNone/>
              <a:defRPr sz="2400" b="1"/>
            </a:lvl1pPr>
            <a:lvl2pPr marL="914400" lvl="1" indent="-228600" algn="l">
              <a:lnSpc>
                <a:spcPct val="90000"/>
              </a:lnSpc>
              <a:spcBef>
                <a:spcPts val="500"/>
              </a:spcBef>
              <a:spcAft>
                <a:spcPts val="0"/>
              </a:spcAft>
              <a:buClr>
                <a:srgbClr val="53575A"/>
              </a:buClr>
              <a:buSzPts val="2000"/>
              <a:buNone/>
              <a:defRPr sz="2000" b="1"/>
            </a:lvl2pPr>
            <a:lvl3pPr marL="1371600" lvl="2" indent="-228600" algn="l">
              <a:lnSpc>
                <a:spcPct val="90000"/>
              </a:lnSpc>
              <a:spcBef>
                <a:spcPts val="500"/>
              </a:spcBef>
              <a:spcAft>
                <a:spcPts val="0"/>
              </a:spcAft>
              <a:buClr>
                <a:srgbClr val="53575A"/>
              </a:buClr>
              <a:buSzPts val="1800"/>
              <a:buNone/>
              <a:defRPr sz="1800" b="1"/>
            </a:lvl3pPr>
            <a:lvl4pPr marL="1828800" lvl="3" indent="-228600" algn="l">
              <a:lnSpc>
                <a:spcPct val="90000"/>
              </a:lnSpc>
              <a:spcBef>
                <a:spcPts val="500"/>
              </a:spcBef>
              <a:spcAft>
                <a:spcPts val="0"/>
              </a:spcAft>
              <a:buClr>
                <a:srgbClr val="53575A"/>
              </a:buClr>
              <a:buSzPts val="1600"/>
              <a:buNone/>
              <a:defRPr sz="1600" b="1"/>
            </a:lvl4pPr>
            <a:lvl5pPr marL="2286000" lvl="4" indent="-228600" algn="l">
              <a:lnSpc>
                <a:spcPct val="90000"/>
              </a:lnSpc>
              <a:spcBef>
                <a:spcPts val="500"/>
              </a:spcBef>
              <a:spcAft>
                <a:spcPts val="0"/>
              </a:spcAft>
              <a:buClr>
                <a:srgbClr val="53575A"/>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7" name="Google Shape;287;p44"/>
          <p:cNvSpPr txBox="1">
            <a:spLocks noGrp="1"/>
          </p:cNvSpPr>
          <p:nvPr>
            <p:ph type="body" idx="2"/>
          </p:nvPr>
        </p:nvSpPr>
        <p:spPr>
          <a:xfrm>
            <a:off x="839788" y="2505075"/>
            <a:ext cx="5157900" cy="3684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 name="Google Shape;288;p44"/>
          <p:cNvSpPr txBox="1">
            <a:spLocks noGrp="1"/>
          </p:cNvSpPr>
          <p:nvPr>
            <p:ph type="body" idx="3"/>
          </p:nvPr>
        </p:nvSpPr>
        <p:spPr>
          <a:xfrm>
            <a:off x="6172200" y="1681163"/>
            <a:ext cx="5183100" cy="823800"/>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rgbClr val="53575A"/>
              </a:buClr>
              <a:buSzPts val="2400"/>
              <a:buNone/>
              <a:defRPr sz="2400" b="1"/>
            </a:lvl1pPr>
            <a:lvl2pPr marL="914400" lvl="1" indent="-228600" algn="l">
              <a:lnSpc>
                <a:spcPct val="90000"/>
              </a:lnSpc>
              <a:spcBef>
                <a:spcPts val="500"/>
              </a:spcBef>
              <a:spcAft>
                <a:spcPts val="0"/>
              </a:spcAft>
              <a:buClr>
                <a:srgbClr val="53575A"/>
              </a:buClr>
              <a:buSzPts val="2000"/>
              <a:buNone/>
              <a:defRPr sz="2000" b="1"/>
            </a:lvl2pPr>
            <a:lvl3pPr marL="1371600" lvl="2" indent="-228600" algn="l">
              <a:lnSpc>
                <a:spcPct val="90000"/>
              </a:lnSpc>
              <a:spcBef>
                <a:spcPts val="500"/>
              </a:spcBef>
              <a:spcAft>
                <a:spcPts val="0"/>
              </a:spcAft>
              <a:buClr>
                <a:srgbClr val="53575A"/>
              </a:buClr>
              <a:buSzPts val="1800"/>
              <a:buNone/>
              <a:defRPr sz="1800" b="1"/>
            </a:lvl3pPr>
            <a:lvl4pPr marL="1828800" lvl="3" indent="-228600" algn="l">
              <a:lnSpc>
                <a:spcPct val="90000"/>
              </a:lnSpc>
              <a:spcBef>
                <a:spcPts val="500"/>
              </a:spcBef>
              <a:spcAft>
                <a:spcPts val="0"/>
              </a:spcAft>
              <a:buClr>
                <a:srgbClr val="53575A"/>
              </a:buClr>
              <a:buSzPts val="1600"/>
              <a:buNone/>
              <a:defRPr sz="1600" b="1"/>
            </a:lvl4pPr>
            <a:lvl5pPr marL="2286000" lvl="4" indent="-228600" algn="l">
              <a:lnSpc>
                <a:spcPct val="90000"/>
              </a:lnSpc>
              <a:spcBef>
                <a:spcPts val="500"/>
              </a:spcBef>
              <a:spcAft>
                <a:spcPts val="0"/>
              </a:spcAft>
              <a:buClr>
                <a:srgbClr val="53575A"/>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9" name="Google Shape;289;p44"/>
          <p:cNvSpPr txBox="1">
            <a:spLocks noGrp="1"/>
          </p:cNvSpPr>
          <p:nvPr>
            <p:ph type="body" idx="4"/>
          </p:nvPr>
        </p:nvSpPr>
        <p:spPr>
          <a:xfrm>
            <a:off x="6172200" y="2505075"/>
            <a:ext cx="5183100" cy="3684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0" name="Google Shape;290;p44"/>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1" name="Google Shape;291;p44"/>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63742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57"/>
        <p:cNvGrpSpPr/>
        <p:nvPr/>
      </p:nvGrpSpPr>
      <p:grpSpPr>
        <a:xfrm>
          <a:off x="0" y="0"/>
          <a:ext cx="0" cy="0"/>
          <a:chOff x="0" y="0"/>
          <a:chExt cx="0" cy="0"/>
        </a:xfrm>
      </p:grpSpPr>
      <p:sp>
        <p:nvSpPr>
          <p:cNvPr id="58" name="Google Shape;58;p9"/>
          <p:cNvSpPr txBox="1">
            <a:spLocks noGrp="1"/>
          </p:cNvSpPr>
          <p:nvPr>
            <p:ph type="title"/>
          </p:nvPr>
        </p:nvSpPr>
        <p:spPr>
          <a:xfrm rot="5400000">
            <a:off x="7516050" y="2339149"/>
            <a:ext cx="5046600" cy="26289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9"/>
          <p:cNvSpPr txBox="1">
            <a:spLocks noGrp="1"/>
          </p:cNvSpPr>
          <p:nvPr>
            <p:ph type="body" idx="1"/>
          </p:nvPr>
        </p:nvSpPr>
        <p:spPr>
          <a:xfrm rot="5400000">
            <a:off x="2182050" y="-213551"/>
            <a:ext cx="5046600" cy="77343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9"/>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9"/>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92"/>
        <p:cNvGrpSpPr/>
        <p:nvPr/>
      </p:nvGrpSpPr>
      <p:grpSpPr>
        <a:xfrm>
          <a:off x="0" y="0"/>
          <a:ext cx="0" cy="0"/>
          <a:chOff x="0" y="0"/>
          <a:chExt cx="0" cy="0"/>
        </a:xfrm>
      </p:grpSpPr>
      <p:sp>
        <p:nvSpPr>
          <p:cNvPr id="293" name="Google Shape;293;p45"/>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4" name="Google Shape;294;p45"/>
          <p:cNvSpPr txBox="1">
            <a:spLocks noGrp="1"/>
          </p:cNvSpPr>
          <p:nvPr>
            <p:ph type="body" idx="1"/>
          </p:nvPr>
        </p:nvSpPr>
        <p:spPr>
          <a:xfrm>
            <a:off x="838200" y="1825625"/>
            <a:ext cx="5181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 name="Google Shape;295;p45"/>
          <p:cNvSpPr txBox="1">
            <a:spLocks noGrp="1"/>
          </p:cNvSpPr>
          <p:nvPr>
            <p:ph type="body" idx="2"/>
          </p:nvPr>
        </p:nvSpPr>
        <p:spPr>
          <a:xfrm>
            <a:off x="6172200" y="1825625"/>
            <a:ext cx="5181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 name="Google Shape;296;p45"/>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7" name="Google Shape;297;p45"/>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310005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298"/>
        <p:cNvGrpSpPr/>
        <p:nvPr/>
      </p:nvGrpSpPr>
      <p:grpSpPr>
        <a:xfrm>
          <a:off x="0" y="0"/>
          <a:ext cx="0" cy="0"/>
          <a:chOff x="0" y="0"/>
          <a:chExt cx="0" cy="0"/>
        </a:xfrm>
      </p:grpSpPr>
      <p:sp>
        <p:nvSpPr>
          <p:cNvPr id="299" name="Google Shape;299;p46"/>
          <p:cNvSpPr txBox="1">
            <a:spLocks noGrp="1"/>
          </p:cNvSpPr>
          <p:nvPr>
            <p:ph type="title"/>
          </p:nvPr>
        </p:nvSpPr>
        <p:spPr>
          <a:xfrm>
            <a:off x="839788" y="987424"/>
            <a:ext cx="3932100" cy="10701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0" name="Google Shape;300;p46"/>
          <p:cNvSpPr>
            <a:spLocks noGrp="1"/>
          </p:cNvSpPr>
          <p:nvPr>
            <p:ph type="pic" idx="2"/>
          </p:nvPr>
        </p:nvSpPr>
        <p:spPr>
          <a:xfrm>
            <a:off x="5183188" y="987425"/>
            <a:ext cx="6172200" cy="48735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3575A"/>
              </a:buClr>
              <a:buSzPts val="3200"/>
              <a:buFont typeface="Arial"/>
              <a:buNone/>
              <a:defRPr sz="3200" b="0" i="0" u="none" strike="noStrike" cap="none">
                <a:solidFill>
                  <a:srgbClr val="53575A"/>
                </a:solidFill>
                <a:latin typeface="Arial"/>
                <a:ea typeface="Arial"/>
                <a:cs typeface="Arial"/>
                <a:sym typeface="Arial"/>
              </a:defRPr>
            </a:lvl1pPr>
            <a:lvl2pPr marR="0" lvl="1" algn="l" rtl="0">
              <a:lnSpc>
                <a:spcPct val="90000"/>
              </a:lnSpc>
              <a:spcBef>
                <a:spcPts val="500"/>
              </a:spcBef>
              <a:spcAft>
                <a:spcPts val="0"/>
              </a:spcAft>
              <a:buClr>
                <a:srgbClr val="53575A"/>
              </a:buClr>
              <a:buSzPts val="2800"/>
              <a:buFont typeface="Arial"/>
              <a:buNone/>
              <a:defRPr sz="2800" b="0" i="0" u="none" strike="noStrike" cap="none">
                <a:solidFill>
                  <a:srgbClr val="53575A"/>
                </a:solidFill>
                <a:latin typeface="Arial"/>
                <a:ea typeface="Arial"/>
                <a:cs typeface="Arial"/>
                <a:sym typeface="Arial"/>
              </a:defRPr>
            </a:lvl2pPr>
            <a:lvl3pPr marR="0" lvl="2" algn="l" rtl="0">
              <a:lnSpc>
                <a:spcPct val="90000"/>
              </a:lnSpc>
              <a:spcBef>
                <a:spcPts val="500"/>
              </a:spcBef>
              <a:spcAft>
                <a:spcPts val="0"/>
              </a:spcAft>
              <a:buClr>
                <a:srgbClr val="53575A"/>
              </a:buClr>
              <a:buSzPts val="2400"/>
              <a:buFont typeface="Arial"/>
              <a:buNone/>
              <a:defRPr sz="2400" b="0" i="0" u="none" strike="noStrike" cap="none">
                <a:solidFill>
                  <a:srgbClr val="53575A"/>
                </a:solidFill>
                <a:latin typeface="Arial"/>
                <a:ea typeface="Arial"/>
                <a:cs typeface="Arial"/>
                <a:sym typeface="Arial"/>
              </a:defRPr>
            </a:lvl3pPr>
            <a:lvl4pPr marR="0" lvl="3" algn="l" rtl="0">
              <a:lnSpc>
                <a:spcPct val="90000"/>
              </a:lnSpc>
              <a:spcBef>
                <a:spcPts val="500"/>
              </a:spcBef>
              <a:spcAft>
                <a:spcPts val="0"/>
              </a:spcAft>
              <a:buClr>
                <a:srgbClr val="53575A"/>
              </a:buClr>
              <a:buSzPts val="2000"/>
              <a:buFont typeface="Arial"/>
              <a:buNone/>
              <a:defRPr sz="2000" b="0" i="0" u="none" strike="noStrike" cap="none">
                <a:solidFill>
                  <a:srgbClr val="53575A"/>
                </a:solidFill>
                <a:latin typeface="Arial"/>
                <a:ea typeface="Arial"/>
                <a:cs typeface="Arial"/>
                <a:sym typeface="Arial"/>
              </a:defRPr>
            </a:lvl4pPr>
            <a:lvl5pPr marR="0" lvl="4" algn="l" rtl="0">
              <a:lnSpc>
                <a:spcPct val="90000"/>
              </a:lnSpc>
              <a:spcBef>
                <a:spcPts val="500"/>
              </a:spcBef>
              <a:spcAft>
                <a:spcPts val="0"/>
              </a:spcAft>
              <a:buClr>
                <a:srgbClr val="53575A"/>
              </a:buClr>
              <a:buSzPts val="2000"/>
              <a:buFont typeface="Arial"/>
              <a:buNone/>
              <a:defRPr sz="2000" b="0" i="0" u="none" strike="noStrike" cap="none">
                <a:solidFill>
                  <a:srgbClr val="53575A"/>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301" name="Google Shape;301;p46"/>
          <p:cNvSpPr txBox="1">
            <a:spLocks noGrp="1"/>
          </p:cNvSpPr>
          <p:nvPr>
            <p:ph type="body" idx="1"/>
          </p:nvPr>
        </p:nvSpPr>
        <p:spPr>
          <a:xfrm>
            <a:off x="839788" y="2057400"/>
            <a:ext cx="3932100" cy="38115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53575A"/>
              </a:buClr>
              <a:buSzPts val="1600"/>
              <a:buNone/>
              <a:defRPr sz="1600"/>
            </a:lvl1pPr>
            <a:lvl2pPr marL="914400" lvl="1" indent="-228600" algn="l">
              <a:lnSpc>
                <a:spcPct val="90000"/>
              </a:lnSpc>
              <a:spcBef>
                <a:spcPts val="500"/>
              </a:spcBef>
              <a:spcAft>
                <a:spcPts val="0"/>
              </a:spcAft>
              <a:buClr>
                <a:srgbClr val="53575A"/>
              </a:buClr>
              <a:buSzPts val="1400"/>
              <a:buNone/>
              <a:defRPr sz="1400"/>
            </a:lvl2pPr>
            <a:lvl3pPr marL="1371600" lvl="2" indent="-228600" algn="l">
              <a:lnSpc>
                <a:spcPct val="90000"/>
              </a:lnSpc>
              <a:spcBef>
                <a:spcPts val="500"/>
              </a:spcBef>
              <a:spcAft>
                <a:spcPts val="0"/>
              </a:spcAft>
              <a:buClr>
                <a:srgbClr val="53575A"/>
              </a:buClr>
              <a:buSzPts val="1200"/>
              <a:buNone/>
              <a:defRPr sz="1200"/>
            </a:lvl3pPr>
            <a:lvl4pPr marL="1828800" lvl="3" indent="-228600" algn="l">
              <a:lnSpc>
                <a:spcPct val="90000"/>
              </a:lnSpc>
              <a:spcBef>
                <a:spcPts val="500"/>
              </a:spcBef>
              <a:spcAft>
                <a:spcPts val="0"/>
              </a:spcAft>
              <a:buClr>
                <a:srgbClr val="53575A"/>
              </a:buClr>
              <a:buSzPts val="1000"/>
              <a:buNone/>
              <a:defRPr sz="1000"/>
            </a:lvl4pPr>
            <a:lvl5pPr marL="2286000" lvl="4" indent="-228600" algn="l">
              <a:lnSpc>
                <a:spcPct val="90000"/>
              </a:lnSpc>
              <a:spcBef>
                <a:spcPts val="500"/>
              </a:spcBef>
              <a:spcAft>
                <a:spcPts val="0"/>
              </a:spcAft>
              <a:buClr>
                <a:srgbClr val="53575A"/>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302" name="Google Shape;302;p46"/>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3" name="Google Shape;303;p46"/>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578003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304"/>
        <p:cNvGrpSpPr/>
        <p:nvPr/>
      </p:nvGrpSpPr>
      <p:grpSpPr>
        <a:xfrm>
          <a:off x="0" y="0"/>
          <a:ext cx="0" cy="0"/>
          <a:chOff x="0" y="0"/>
          <a:chExt cx="0" cy="0"/>
        </a:xfrm>
      </p:grpSpPr>
      <p:sp>
        <p:nvSpPr>
          <p:cNvPr id="305" name="Google Shape;305;p47"/>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 name="Google Shape;306;p47"/>
          <p:cNvSpPr txBox="1">
            <a:spLocks noGrp="1"/>
          </p:cNvSpPr>
          <p:nvPr>
            <p:ph type="body" idx="1"/>
          </p:nvPr>
        </p:nvSpPr>
        <p:spPr>
          <a:xfrm rot="5400000">
            <a:off x="3920400" y="-1256575"/>
            <a:ext cx="4351200" cy="10515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7" name="Google Shape;307;p47"/>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8" name="Google Shape;308;p47"/>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9" name="Google Shape;309;p47"/>
          <p:cNvSpPr txBox="1"/>
          <p:nvPr/>
        </p:nvSpPr>
        <p:spPr>
          <a:xfrm>
            <a:off x="4494600" y="6420481"/>
            <a:ext cx="3202800" cy="331800"/>
          </a:xfrm>
          <a:prstGeom prst="rect">
            <a:avLst/>
          </a:prstGeom>
          <a:noFill/>
          <a:ln>
            <a:noFill/>
          </a:ln>
        </p:spPr>
        <p:txBody>
          <a:bodyPr spcFirstLastPara="1" wrap="square" lIns="91425" tIns="91425" rIns="91425" bIns="91425" anchor="t" anchorCtr="0">
            <a:noAutofit/>
          </a:bodyPr>
          <a:lstStyle/>
          <a:p>
            <a:pPr algn="ctr">
              <a:buSzPts val="1200"/>
            </a:pPr>
            <a:r>
              <a:rPr lang="en-US" sz="1200" b="1">
                <a:solidFill>
                  <a:srgbClr val="990000"/>
                </a:solidFill>
              </a:rPr>
              <a:t>INTERNAL AFRICA CDC USE ONLY</a:t>
            </a:r>
            <a:endParaRPr sz="1200" b="1">
              <a:solidFill>
                <a:srgbClr val="990000"/>
              </a:solidFill>
            </a:endParaRPr>
          </a:p>
        </p:txBody>
      </p:sp>
    </p:spTree>
    <p:extLst>
      <p:ext uri="{BB962C8B-B14F-4D97-AF65-F5344CB8AC3E}">
        <p14:creationId xmlns:p14="http://schemas.microsoft.com/office/powerpoint/2010/main" val="38005843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310"/>
        <p:cNvGrpSpPr/>
        <p:nvPr/>
      </p:nvGrpSpPr>
      <p:grpSpPr>
        <a:xfrm>
          <a:off x="0" y="0"/>
          <a:ext cx="0" cy="0"/>
          <a:chOff x="0" y="0"/>
          <a:chExt cx="0" cy="0"/>
        </a:xfrm>
      </p:grpSpPr>
      <p:sp>
        <p:nvSpPr>
          <p:cNvPr id="311" name="Google Shape;311;p48"/>
          <p:cNvSpPr txBox="1">
            <a:spLocks noGrp="1"/>
          </p:cNvSpPr>
          <p:nvPr>
            <p:ph type="title"/>
          </p:nvPr>
        </p:nvSpPr>
        <p:spPr>
          <a:xfrm rot="5400000">
            <a:off x="7516050" y="2339149"/>
            <a:ext cx="5046600" cy="26289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2" name="Google Shape;312;p48"/>
          <p:cNvSpPr txBox="1">
            <a:spLocks noGrp="1"/>
          </p:cNvSpPr>
          <p:nvPr>
            <p:ph type="body" idx="1"/>
          </p:nvPr>
        </p:nvSpPr>
        <p:spPr>
          <a:xfrm rot="5400000">
            <a:off x="2182050" y="-213551"/>
            <a:ext cx="5046600" cy="77343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48"/>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4" name="Google Shape;314;p48"/>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5" name="Google Shape;315;p48"/>
          <p:cNvSpPr txBox="1"/>
          <p:nvPr/>
        </p:nvSpPr>
        <p:spPr>
          <a:xfrm>
            <a:off x="4494600" y="6420481"/>
            <a:ext cx="3202800" cy="331800"/>
          </a:xfrm>
          <a:prstGeom prst="rect">
            <a:avLst/>
          </a:prstGeom>
          <a:noFill/>
          <a:ln>
            <a:noFill/>
          </a:ln>
        </p:spPr>
        <p:txBody>
          <a:bodyPr spcFirstLastPara="1" wrap="square" lIns="91425" tIns="91425" rIns="91425" bIns="91425" anchor="t" anchorCtr="0">
            <a:noAutofit/>
          </a:bodyPr>
          <a:lstStyle/>
          <a:p>
            <a:pPr algn="ctr">
              <a:buSzPts val="1200"/>
            </a:pPr>
            <a:r>
              <a:rPr lang="en-US" sz="1200" b="1">
                <a:solidFill>
                  <a:srgbClr val="990000"/>
                </a:solidFill>
              </a:rPr>
              <a:t>INTERNAL AFRICA CDC USE ONLY</a:t>
            </a:r>
            <a:endParaRPr sz="1200" b="1">
              <a:solidFill>
                <a:srgbClr val="990000"/>
              </a:solidFill>
            </a:endParaRPr>
          </a:p>
        </p:txBody>
      </p:sp>
    </p:spTree>
    <p:extLst>
      <p:ext uri="{BB962C8B-B14F-4D97-AF65-F5344CB8AC3E}">
        <p14:creationId xmlns:p14="http://schemas.microsoft.com/office/powerpoint/2010/main" val="34008994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316"/>
        <p:cNvGrpSpPr/>
        <p:nvPr/>
      </p:nvGrpSpPr>
      <p:grpSpPr>
        <a:xfrm>
          <a:off x="0" y="0"/>
          <a:ext cx="0" cy="0"/>
          <a:chOff x="0" y="0"/>
          <a:chExt cx="0" cy="0"/>
        </a:xfrm>
      </p:grpSpPr>
      <p:sp>
        <p:nvSpPr>
          <p:cNvPr id="317" name="Google Shape;317;p49"/>
          <p:cNvSpPr txBox="1">
            <a:spLocks noGrp="1"/>
          </p:cNvSpPr>
          <p:nvPr>
            <p:ph type="title"/>
          </p:nvPr>
        </p:nvSpPr>
        <p:spPr>
          <a:xfrm>
            <a:off x="838200" y="446881"/>
            <a:ext cx="10515600" cy="7890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4000"/>
              <a:buFont typeface="Arial"/>
              <a:buNone/>
              <a:defRPr sz="4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8" name="Google Shape;318;p49"/>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406400" algn="l">
              <a:lnSpc>
                <a:spcPct val="90000"/>
              </a:lnSpc>
              <a:spcBef>
                <a:spcPts val="1000"/>
              </a:spcBef>
              <a:spcAft>
                <a:spcPts val="0"/>
              </a:spcAft>
              <a:buClr>
                <a:schemeClr val="dk1"/>
              </a:buClr>
              <a:buSzPts val="2800"/>
              <a:buChar char="•"/>
              <a:defRPr b="1"/>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9" name="Google Shape;319;p49"/>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0" name="Google Shape;320;p49"/>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a:pPr/>
              <a:t>‹Nr.›</a:t>
            </a:fld>
            <a:endParaRPr/>
          </a:p>
        </p:txBody>
      </p:sp>
      <p:sp>
        <p:nvSpPr>
          <p:cNvPr id="321" name="Google Shape;321;p49"/>
          <p:cNvSpPr txBox="1">
            <a:spLocks noGrp="1"/>
          </p:cNvSpPr>
          <p:nvPr>
            <p:ph type="body" idx="2"/>
          </p:nvPr>
        </p:nvSpPr>
        <p:spPr>
          <a:xfrm>
            <a:off x="838200" y="1253188"/>
            <a:ext cx="10515600" cy="3126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accent5"/>
              </a:buClr>
              <a:buSzPts val="1800"/>
              <a:buNone/>
              <a:defRPr sz="1800">
                <a:solidFill>
                  <a:schemeClr val="accent5"/>
                </a:solidFill>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463767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329"/>
        <p:cNvGrpSpPr/>
        <p:nvPr/>
      </p:nvGrpSpPr>
      <p:grpSpPr>
        <a:xfrm>
          <a:off x="0" y="0"/>
          <a:ext cx="0" cy="0"/>
          <a:chOff x="0" y="0"/>
          <a:chExt cx="0" cy="0"/>
        </a:xfrm>
      </p:grpSpPr>
      <p:sp>
        <p:nvSpPr>
          <p:cNvPr id="330" name="Google Shape;330;p51"/>
          <p:cNvSpPr txBox="1">
            <a:spLocks noGrp="1"/>
          </p:cNvSpPr>
          <p:nvPr>
            <p:ph type="title"/>
          </p:nvPr>
        </p:nvSpPr>
        <p:spPr>
          <a:xfrm>
            <a:off x="839788" y="457200"/>
            <a:ext cx="3932100"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1" name="Google Shape;331;p51"/>
          <p:cNvSpPr txBox="1">
            <a:spLocks noGrp="1"/>
          </p:cNvSpPr>
          <p:nvPr>
            <p:ph type="body" idx="1"/>
          </p:nvPr>
        </p:nvSpPr>
        <p:spPr>
          <a:xfrm>
            <a:off x="5183188" y="987425"/>
            <a:ext cx="6172200" cy="4873500"/>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rgbClr val="53575A"/>
              </a:buClr>
              <a:buSzPts val="3200"/>
              <a:buChar char="•"/>
              <a:defRPr sz="3200"/>
            </a:lvl1pPr>
            <a:lvl2pPr marL="914400" lvl="1" indent="-406400" algn="l">
              <a:lnSpc>
                <a:spcPct val="90000"/>
              </a:lnSpc>
              <a:spcBef>
                <a:spcPts val="500"/>
              </a:spcBef>
              <a:spcAft>
                <a:spcPts val="0"/>
              </a:spcAft>
              <a:buClr>
                <a:srgbClr val="53575A"/>
              </a:buClr>
              <a:buSzPts val="2800"/>
              <a:buChar char="•"/>
              <a:defRPr sz="2800"/>
            </a:lvl2pPr>
            <a:lvl3pPr marL="1371600" lvl="2" indent="-381000" algn="l">
              <a:lnSpc>
                <a:spcPct val="90000"/>
              </a:lnSpc>
              <a:spcBef>
                <a:spcPts val="500"/>
              </a:spcBef>
              <a:spcAft>
                <a:spcPts val="0"/>
              </a:spcAft>
              <a:buClr>
                <a:srgbClr val="53575A"/>
              </a:buClr>
              <a:buSzPts val="2400"/>
              <a:buChar char="•"/>
              <a:defRPr sz="2400"/>
            </a:lvl3pPr>
            <a:lvl4pPr marL="1828800" lvl="3" indent="-355600" algn="l">
              <a:lnSpc>
                <a:spcPct val="90000"/>
              </a:lnSpc>
              <a:spcBef>
                <a:spcPts val="500"/>
              </a:spcBef>
              <a:spcAft>
                <a:spcPts val="0"/>
              </a:spcAft>
              <a:buClr>
                <a:srgbClr val="53575A"/>
              </a:buClr>
              <a:buSzPts val="2000"/>
              <a:buChar char="•"/>
              <a:defRPr sz="2000"/>
            </a:lvl4pPr>
            <a:lvl5pPr marL="2286000" lvl="4" indent="-355600" algn="l">
              <a:lnSpc>
                <a:spcPct val="90000"/>
              </a:lnSpc>
              <a:spcBef>
                <a:spcPts val="500"/>
              </a:spcBef>
              <a:spcAft>
                <a:spcPts val="0"/>
              </a:spcAft>
              <a:buClr>
                <a:srgbClr val="53575A"/>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332" name="Google Shape;332;p51"/>
          <p:cNvSpPr txBox="1">
            <a:spLocks noGrp="1"/>
          </p:cNvSpPr>
          <p:nvPr>
            <p:ph type="body" idx="2"/>
          </p:nvPr>
        </p:nvSpPr>
        <p:spPr>
          <a:xfrm>
            <a:off x="839788" y="2057400"/>
            <a:ext cx="3932100" cy="38115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53575A"/>
              </a:buClr>
              <a:buSzPts val="1600"/>
              <a:buNone/>
              <a:defRPr sz="1600"/>
            </a:lvl1pPr>
            <a:lvl2pPr marL="914400" lvl="1" indent="-228600" algn="l">
              <a:lnSpc>
                <a:spcPct val="90000"/>
              </a:lnSpc>
              <a:spcBef>
                <a:spcPts val="500"/>
              </a:spcBef>
              <a:spcAft>
                <a:spcPts val="0"/>
              </a:spcAft>
              <a:buClr>
                <a:srgbClr val="53575A"/>
              </a:buClr>
              <a:buSzPts val="1400"/>
              <a:buNone/>
              <a:defRPr sz="1400"/>
            </a:lvl2pPr>
            <a:lvl3pPr marL="1371600" lvl="2" indent="-228600" algn="l">
              <a:lnSpc>
                <a:spcPct val="90000"/>
              </a:lnSpc>
              <a:spcBef>
                <a:spcPts val="500"/>
              </a:spcBef>
              <a:spcAft>
                <a:spcPts val="0"/>
              </a:spcAft>
              <a:buClr>
                <a:srgbClr val="53575A"/>
              </a:buClr>
              <a:buSzPts val="1200"/>
              <a:buNone/>
              <a:defRPr sz="1200"/>
            </a:lvl3pPr>
            <a:lvl4pPr marL="1828800" lvl="3" indent="-228600" algn="l">
              <a:lnSpc>
                <a:spcPct val="90000"/>
              </a:lnSpc>
              <a:spcBef>
                <a:spcPts val="500"/>
              </a:spcBef>
              <a:spcAft>
                <a:spcPts val="0"/>
              </a:spcAft>
              <a:buClr>
                <a:srgbClr val="53575A"/>
              </a:buClr>
              <a:buSzPts val="1000"/>
              <a:buNone/>
              <a:defRPr sz="1000"/>
            </a:lvl4pPr>
            <a:lvl5pPr marL="2286000" lvl="4" indent="-228600" algn="l">
              <a:lnSpc>
                <a:spcPct val="90000"/>
              </a:lnSpc>
              <a:spcBef>
                <a:spcPts val="500"/>
              </a:spcBef>
              <a:spcAft>
                <a:spcPts val="0"/>
              </a:spcAft>
              <a:buClr>
                <a:srgbClr val="53575A"/>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333" name="Google Shape;333;p51"/>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4" name="Google Shape;334;p51"/>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82878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35"/>
        <p:cNvGrpSpPr/>
        <p:nvPr/>
      </p:nvGrpSpPr>
      <p:grpSpPr>
        <a:xfrm>
          <a:off x="0" y="0"/>
          <a:ext cx="0" cy="0"/>
          <a:chOff x="0" y="0"/>
          <a:chExt cx="0" cy="0"/>
        </a:xfrm>
      </p:grpSpPr>
      <p:sp>
        <p:nvSpPr>
          <p:cNvPr id="336" name="Google Shape;336;p52"/>
          <p:cNvSpPr txBox="1">
            <a:spLocks noGrp="1"/>
          </p:cNvSpPr>
          <p:nvPr>
            <p:ph type="title"/>
          </p:nvPr>
        </p:nvSpPr>
        <p:spPr>
          <a:xfrm>
            <a:off x="838200" y="1054100"/>
            <a:ext cx="7899300" cy="6366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7" name="Google Shape;337;p52"/>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8" name="Google Shape;338;p52"/>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p52"/>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587759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40"/>
        <p:cNvGrpSpPr/>
        <p:nvPr/>
      </p:nvGrpSpPr>
      <p:grpSpPr>
        <a:xfrm>
          <a:off x="0" y="0"/>
          <a:ext cx="0" cy="0"/>
          <a:chOff x="0" y="0"/>
          <a:chExt cx="0" cy="0"/>
        </a:xfrm>
      </p:grpSpPr>
      <p:sp>
        <p:nvSpPr>
          <p:cNvPr id="341" name="Google Shape;341;p53"/>
          <p:cNvSpPr txBox="1">
            <a:spLocks noGrp="1"/>
          </p:cNvSpPr>
          <p:nvPr>
            <p:ph type="title"/>
          </p:nvPr>
        </p:nvSpPr>
        <p:spPr>
          <a:xfrm>
            <a:off x="831850" y="1709738"/>
            <a:ext cx="10515600" cy="28527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2" name="Google Shape;342;p53"/>
          <p:cNvSpPr txBox="1">
            <a:spLocks noGrp="1"/>
          </p:cNvSpPr>
          <p:nvPr>
            <p:ph type="body" idx="1"/>
          </p:nvPr>
        </p:nvSpPr>
        <p:spPr>
          <a:xfrm>
            <a:off x="831850" y="4589463"/>
            <a:ext cx="10515600" cy="15003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43" name="Google Shape;343;p53"/>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4" name="Google Shape;344;p53"/>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5595943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45"/>
        <p:cNvGrpSpPr/>
        <p:nvPr/>
      </p:nvGrpSpPr>
      <p:grpSpPr>
        <a:xfrm>
          <a:off x="0" y="0"/>
          <a:ext cx="0" cy="0"/>
          <a:chOff x="0" y="0"/>
          <a:chExt cx="0" cy="0"/>
        </a:xfrm>
      </p:grpSpPr>
      <p:sp>
        <p:nvSpPr>
          <p:cNvPr id="346" name="Google Shape;346;p54"/>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7" name="Google Shape;347;p54"/>
          <p:cNvSpPr txBox="1">
            <a:spLocks noGrp="1"/>
          </p:cNvSpPr>
          <p:nvPr>
            <p:ph type="body" idx="1"/>
          </p:nvPr>
        </p:nvSpPr>
        <p:spPr>
          <a:xfrm>
            <a:off x="838200" y="1825625"/>
            <a:ext cx="5181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 name="Google Shape;348;p54"/>
          <p:cNvSpPr txBox="1">
            <a:spLocks noGrp="1"/>
          </p:cNvSpPr>
          <p:nvPr>
            <p:ph type="body" idx="2"/>
          </p:nvPr>
        </p:nvSpPr>
        <p:spPr>
          <a:xfrm>
            <a:off x="6172200" y="1825625"/>
            <a:ext cx="5181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 name="Google Shape;349;p54"/>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0" name="Google Shape;350;p54"/>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328905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351"/>
        <p:cNvGrpSpPr/>
        <p:nvPr/>
      </p:nvGrpSpPr>
      <p:grpSpPr>
        <a:xfrm>
          <a:off x="0" y="0"/>
          <a:ext cx="0" cy="0"/>
          <a:chOff x="0" y="0"/>
          <a:chExt cx="0" cy="0"/>
        </a:xfrm>
      </p:grpSpPr>
      <p:sp>
        <p:nvSpPr>
          <p:cNvPr id="352" name="Google Shape;352;p55"/>
          <p:cNvSpPr txBox="1">
            <a:spLocks noGrp="1"/>
          </p:cNvSpPr>
          <p:nvPr>
            <p:ph type="title"/>
          </p:nvPr>
        </p:nvSpPr>
        <p:spPr>
          <a:xfrm>
            <a:off x="839788" y="987424"/>
            <a:ext cx="3932100" cy="10701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53575A"/>
              </a:buClr>
              <a:buSzPts val="3200"/>
              <a:buFont typeface="Arial"/>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3" name="Google Shape;353;p55"/>
          <p:cNvSpPr>
            <a:spLocks noGrp="1"/>
          </p:cNvSpPr>
          <p:nvPr>
            <p:ph type="pic" idx="2"/>
          </p:nvPr>
        </p:nvSpPr>
        <p:spPr>
          <a:xfrm>
            <a:off x="5183188" y="987425"/>
            <a:ext cx="6172200" cy="48735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3575A"/>
              </a:buClr>
              <a:buSzPts val="3200"/>
              <a:buFont typeface="Arial"/>
              <a:buNone/>
              <a:defRPr sz="3200" b="0" i="0" u="none" strike="noStrike" cap="none">
                <a:solidFill>
                  <a:srgbClr val="53575A"/>
                </a:solidFill>
                <a:latin typeface="Arial"/>
                <a:ea typeface="Arial"/>
                <a:cs typeface="Arial"/>
                <a:sym typeface="Arial"/>
              </a:defRPr>
            </a:lvl1pPr>
            <a:lvl2pPr marR="0" lvl="1" algn="l" rtl="0">
              <a:lnSpc>
                <a:spcPct val="90000"/>
              </a:lnSpc>
              <a:spcBef>
                <a:spcPts val="500"/>
              </a:spcBef>
              <a:spcAft>
                <a:spcPts val="0"/>
              </a:spcAft>
              <a:buClr>
                <a:srgbClr val="53575A"/>
              </a:buClr>
              <a:buSzPts val="2800"/>
              <a:buFont typeface="Arial"/>
              <a:buNone/>
              <a:defRPr sz="2800" b="0" i="0" u="none" strike="noStrike" cap="none">
                <a:solidFill>
                  <a:srgbClr val="53575A"/>
                </a:solidFill>
                <a:latin typeface="Arial"/>
                <a:ea typeface="Arial"/>
                <a:cs typeface="Arial"/>
                <a:sym typeface="Arial"/>
              </a:defRPr>
            </a:lvl2pPr>
            <a:lvl3pPr marR="0" lvl="2" algn="l" rtl="0">
              <a:lnSpc>
                <a:spcPct val="90000"/>
              </a:lnSpc>
              <a:spcBef>
                <a:spcPts val="500"/>
              </a:spcBef>
              <a:spcAft>
                <a:spcPts val="0"/>
              </a:spcAft>
              <a:buClr>
                <a:srgbClr val="53575A"/>
              </a:buClr>
              <a:buSzPts val="2400"/>
              <a:buFont typeface="Arial"/>
              <a:buNone/>
              <a:defRPr sz="2400" b="0" i="0" u="none" strike="noStrike" cap="none">
                <a:solidFill>
                  <a:srgbClr val="53575A"/>
                </a:solidFill>
                <a:latin typeface="Arial"/>
                <a:ea typeface="Arial"/>
                <a:cs typeface="Arial"/>
                <a:sym typeface="Arial"/>
              </a:defRPr>
            </a:lvl3pPr>
            <a:lvl4pPr marR="0" lvl="3" algn="l" rtl="0">
              <a:lnSpc>
                <a:spcPct val="90000"/>
              </a:lnSpc>
              <a:spcBef>
                <a:spcPts val="500"/>
              </a:spcBef>
              <a:spcAft>
                <a:spcPts val="0"/>
              </a:spcAft>
              <a:buClr>
                <a:srgbClr val="53575A"/>
              </a:buClr>
              <a:buSzPts val="2000"/>
              <a:buFont typeface="Arial"/>
              <a:buNone/>
              <a:defRPr sz="2000" b="0" i="0" u="none" strike="noStrike" cap="none">
                <a:solidFill>
                  <a:srgbClr val="53575A"/>
                </a:solidFill>
                <a:latin typeface="Arial"/>
                <a:ea typeface="Arial"/>
                <a:cs typeface="Arial"/>
                <a:sym typeface="Arial"/>
              </a:defRPr>
            </a:lvl4pPr>
            <a:lvl5pPr marR="0" lvl="4" algn="l" rtl="0">
              <a:lnSpc>
                <a:spcPct val="90000"/>
              </a:lnSpc>
              <a:spcBef>
                <a:spcPts val="500"/>
              </a:spcBef>
              <a:spcAft>
                <a:spcPts val="0"/>
              </a:spcAft>
              <a:buClr>
                <a:srgbClr val="53575A"/>
              </a:buClr>
              <a:buSzPts val="2000"/>
              <a:buFont typeface="Arial"/>
              <a:buNone/>
              <a:defRPr sz="2000" b="0" i="0" u="none" strike="noStrike" cap="none">
                <a:solidFill>
                  <a:srgbClr val="53575A"/>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354" name="Google Shape;354;p55"/>
          <p:cNvSpPr txBox="1">
            <a:spLocks noGrp="1"/>
          </p:cNvSpPr>
          <p:nvPr>
            <p:ph type="body" idx="1"/>
          </p:nvPr>
        </p:nvSpPr>
        <p:spPr>
          <a:xfrm>
            <a:off x="839788" y="2057400"/>
            <a:ext cx="3932100" cy="38115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53575A"/>
              </a:buClr>
              <a:buSzPts val="1600"/>
              <a:buNone/>
              <a:defRPr sz="1600"/>
            </a:lvl1pPr>
            <a:lvl2pPr marL="914400" lvl="1" indent="-228600" algn="l">
              <a:lnSpc>
                <a:spcPct val="90000"/>
              </a:lnSpc>
              <a:spcBef>
                <a:spcPts val="500"/>
              </a:spcBef>
              <a:spcAft>
                <a:spcPts val="0"/>
              </a:spcAft>
              <a:buClr>
                <a:srgbClr val="53575A"/>
              </a:buClr>
              <a:buSzPts val="1400"/>
              <a:buNone/>
              <a:defRPr sz="1400"/>
            </a:lvl2pPr>
            <a:lvl3pPr marL="1371600" lvl="2" indent="-228600" algn="l">
              <a:lnSpc>
                <a:spcPct val="90000"/>
              </a:lnSpc>
              <a:spcBef>
                <a:spcPts val="500"/>
              </a:spcBef>
              <a:spcAft>
                <a:spcPts val="0"/>
              </a:spcAft>
              <a:buClr>
                <a:srgbClr val="53575A"/>
              </a:buClr>
              <a:buSzPts val="1200"/>
              <a:buNone/>
              <a:defRPr sz="1200"/>
            </a:lvl3pPr>
            <a:lvl4pPr marL="1828800" lvl="3" indent="-228600" algn="l">
              <a:lnSpc>
                <a:spcPct val="90000"/>
              </a:lnSpc>
              <a:spcBef>
                <a:spcPts val="500"/>
              </a:spcBef>
              <a:spcAft>
                <a:spcPts val="0"/>
              </a:spcAft>
              <a:buClr>
                <a:srgbClr val="53575A"/>
              </a:buClr>
              <a:buSzPts val="1000"/>
              <a:buNone/>
              <a:defRPr sz="1000"/>
            </a:lvl4pPr>
            <a:lvl5pPr marL="2286000" lvl="4" indent="-228600" algn="l">
              <a:lnSpc>
                <a:spcPct val="90000"/>
              </a:lnSpc>
              <a:spcBef>
                <a:spcPts val="500"/>
              </a:spcBef>
              <a:spcAft>
                <a:spcPts val="0"/>
              </a:spcAft>
              <a:buClr>
                <a:srgbClr val="53575A"/>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355" name="Google Shape;355;p55"/>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6" name="Google Shape;356;p55"/>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660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62"/>
        <p:cNvGrpSpPr/>
        <p:nvPr/>
      </p:nvGrpSpPr>
      <p:grpSpPr>
        <a:xfrm>
          <a:off x="0" y="0"/>
          <a:ext cx="0" cy="0"/>
          <a:chOff x="0" y="0"/>
          <a:chExt cx="0" cy="0"/>
        </a:xfrm>
      </p:grpSpPr>
      <p:pic>
        <p:nvPicPr>
          <p:cNvPr id="63" name="Google Shape;63;p10"/>
          <p:cNvPicPr preferRelativeResize="0"/>
          <p:nvPr/>
        </p:nvPicPr>
        <p:blipFill rotWithShape="1">
          <a:blip r:embed="rId2">
            <a:alphaModFix/>
          </a:blip>
          <a:srcRect/>
          <a:stretch/>
        </p:blipFill>
        <p:spPr>
          <a:xfrm>
            <a:off x="2118" y="1589"/>
            <a:ext cx="2115" cy="1587"/>
          </a:xfrm>
          <a:prstGeom prst="rect">
            <a:avLst/>
          </a:prstGeom>
          <a:noFill/>
          <a:ln>
            <a:noFill/>
          </a:ln>
        </p:spPr>
      </p:pic>
      <p:sp>
        <p:nvSpPr>
          <p:cNvPr id="64" name="Google Shape;64;p10"/>
          <p:cNvSpPr txBox="1">
            <a:spLocks noGrp="1"/>
          </p:cNvSpPr>
          <p:nvPr>
            <p:ph type="title"/>
          </p:nvPr>
        </p:nvSpPr>
        <p:spPr>
          <a:xfrm>
            <a:off x="233259" y="433461"/>
            <a:ext cx="11725500" cy="3693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32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10"/>
          <p:cNvSpPr/>
          <p:nvPr/>
        </p:nvSpPr>
        <p:spPr>
          <a:xfrm>
            <a:off x="11064591" y="42308"/>
            <a:ext cx="894300" cy="1248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000000"/>
              </a:buClr>
              <a:buSzPts val="816"/>
              <a:buFont typeface="Arial"/>
              <a:buNone/>
            </a:pPr>
            <a:endParaRPr sz="816" b="0" i="0" u="none" strike="noStrike" cap="none">
              <a:solidFill>
                <a:schemeClr val="lt1"/>
              </a:solidFill>
              <a:latin typeface="Arial"/>
              <a:ea typeface="Arial"/>
              <a:cs typeface="Arial"/>
              <a:sym typeface="Arial"/>
            </a:endParaRPr>
          </a:p>
        </p:txBody>
      </p:sp>
    </p:spTree>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357"/>
        <p:cNvGrpSpPr/>
        <p:nvPr/>
      </p:nvGrpSpPr>
      <p:grpSpPr>
        <a:xfrm>
          <a:off x="0" y="0"/>
          <a:ext cx="0" cy="0"/>
          <a:chOff x="0" y="0"/>
          <a:chExt cx="0" cy="0"/>
        </a:xfrm>
      </p:grpSpPr>
      <p:sp>
        <p:nvSpPr>
          <p:cNvPr id="358" name="Google Shape;358;p56"/>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9" name="Google Shape;359;p56"/>
          <p:cNvSpPr txBox="1">
            <a:spLocks noGrp="1"/>
          </p:cNvSpPr>
          <p:nvPr>
            <p:ph type="body" idx="1"/>
          </p:nvPr>
        </p:nvSpPr>
        <p:spPr>
          <a:xfrm rot="5400000">
            <a:off x="3920400" y="-1256575"/>
            <a:ext cx="4351200" cy="10515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0" name="Google Shape;360;p56"/>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1" name="Google Shape;361;p56"/>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710215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362"/>
        <p:cNvGrpSpPr/>
        <p:nvPr/>
      </p:nvGrpSpPr>
      <p:grpSpPr>
        <a:xfrm>
          <a:off x="0" y="0"/>
          <a:ext cx="0" cy="0"/>
          <a:chOff x="0" y="0"/>
          <a:chExt cx="0" cy="0"/>
        </a:xfrm>
      </p:grpSpPr>
      <p:sp>
        <p:nvSpPr>
          <p:cNvPr id="363" name="Google Shape;363;p57"/>
          <p:cNvSpPr txBox="1">
            <a:spLocks noGrp="1"/>
          </p:cNvSpPr>
          <p:nvPr>
            <p:ph type="title"/>
          </p:nvPr>
        </p:nvSpPr>
        <p:spPr>
          <a:xfrm rot="5400000">
            <a:off x="7516050" y="2339149"/>
            <a:ext cx="5046600" cy="26289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4" name="Google Shape;364;p57"/>
          <p:cNvSpPr txBox="1">
            <a:spLocks noGrp="1"/>
          </p:cNvSpPr>
          <p:nvPr>
            <p:ph type="body" idx="1"/>
          </p:nvPr>
        </p:nvSpPr>
        <p:spPr>
          <a:xfrm rot="5400000">
            <a:off x="2182050" y="-213551"/>
            <a:ext cx="5046600" cy="77343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5" name="Google Shape;365;p57"/>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6" name="Google Shape;366;p57"/>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sz="1200" b="1">
                <a:solidFill>
                  <a:srgbClr val="951F39"/>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592100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67"/>
        <p:cNvGrpSpPr/>
        <p:nvPr/>
      </p:nvGrpSpPr>
      <p:grpSpPr>
        <a:xfrm>
          <a:off x="0" y="0"/>
          <a:ext cx="0" cy="0"/>
          <a:chOff x="0" y="0"/>
          <a:chExt cx="0" cy="0"/>
        </a:xfrm>
      </p:grpSpPr>
      <p:pic>
        <p:nvPicPr>
          <p:cNvPr id="368" name="Google Shape;368;p58"/>
          <p:cNvPicPr preferRelativeResize="0"/>
          <p:nvPr/>
        </p:nvPicPr>
        <p:blipFill rotWithShape="1">
          <a:blip r:embed="rId2">
            <a:alphaModFix/>
          </a:blip>
          <a:srcRect/>
          <a:stretch/>
        </p:blipFill>
        <p:spPr>
          <a:xfrm>
            <a:off x="2118" y="1589"/>
            <a:ext cx="2115" cy="1587"/>
          </a:xfrm>
          <a:prstGeom prst="rect">
            <a:avLst/>
          </a:prstGeom>
          <a:noFill/>
          <a:ln>
            <a:noFill/>
          </a:ln>
        </p:spPr>
      </p:pic>
      <p:sp>
        <p:nvSpPr>
          <p:cNvPr id="369" name="Google Shape;369;p58"/>
          <p:cNvSpPr txBox="1">
            <a:spLocks noGrp="1"/>
          </p:cNvSpPr>
          <p:nvPr>
            <p:ph type="title"/>
          </p:nvPr>
        </p:nvSpPr>
        <p:spPr>
          <a:xfrm>
            <a:off x="233259" y="433461"/>
            <a:ext cx="11725500" cy="3693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32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0" name="Google Shape;370;p58"/>
          <p:cNvSpPr/>
          <p:nvPr/>
        </p:nvSpPr>
        <p:spPr>
          <a:xfrm>
            <a:off x="11064591" y="42308"/>
            <a:ext cx="894300" cy="124800"/>
          </a:xfrm>
          <a:prstGeom prst="rect">
            <a:avLst/>
          </a:prstGeom>
          <a:noFill/>
          <a:ln>
            <a:noFill/>
          </a:ln>
        </p:spPr>
        <p:txBody>
          <a:bodyPr spcFirstLastPara="1" wrap="square" lIns="0" tIns="0" rIns="0" bIns="0" anchor="t" anchorCtr="0">
            <a:noAutofit/>
          </a:bodyPr>
          <a:lstStyle/>
          <a:p>
            <a:pPr algn="r">
              <a:buSzPts val="816"/>
            </a:pPr>
            <a:endParaRPr sz="816">
              <a:solidFill>
                <a:srgbClr val="FFFFFF"/>
              </a:solidFill>
            </a:endParaRPr>
          </a:p>
        </p:txBody>
      </p:sp>
    </p:spTree>
    <p:extLst>
      <p:ext uri="{BB962C8B-B14F-4D97-AF65-F5344CB8AC3E}">
        <p14:creationId xmlns:p14="http://schemas.microsoft.com/office/powerpoint/2010/main" val="1238675750"/>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371"/>
        <p:cNvGrpSpPr/>
        <p:nvPr/>
      </p:nvGrpSpPr>
      <p:grpSpPr>
        <a:xfrm>
          <a:off x="0" y="0"/>
          <a:ext cx="0" cy="0"/>
          <a:chOff x="0" y="0"/>
          <a:chExt cx="0" cy="0"/>
        </a:xfrm>
      </p:grpSpPr>
      <p:sp>
        <p:nvSpPr>
          <p:cNvPr id="372" name="Google Shape;372;p59"/>
          <p:cNvSpPr txBox="1">
            <a:spLocks noGrp="1"/>
          </p:cNvSpPr>
          <p:nvPr>
            <p:ph type="title"/>
          </p:nvPr>
        </p:nvSpPr>
        <p:spPr>
          <a:xfrm>
            <a:off x="838200" y="446881"/>
            <a:ext cx="10515600" cy="7890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4000"/>
              <a:buFont typeface="Arial"/>
              <a:buNone/>
              <a:defRPr sz="4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3" name="Google Shape;373;p59"/>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406400" algn="l">
              <a:lnSpc>
                <a:spcPct val="90000"/>
              </a:lnSpc>
              <a:spcBef>
                <a:spcPts val="1000"/>
              </a:spcBef>
              <a:spcAft>
                <a:spcPts val="0"/>
              </a:spcAft>
              <a:buClr>
                <a:schemeClr val="dk1"/>
              </a:buClr>
              <a:buSzPts val="2800"/>
              <a:buChar char="•"/>
              <a:defRPr b="1"/>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 name="Google Shape;374;p59"/>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 name="Google Shape;375;p59"/>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 name="Google Shape;376;p59"/>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a:pPr/>
              <a:t>‹Nr.›</a:t>
            </a:fld>
            <a:endParaRPr/>
          </a:p>
        </p:txBody>
      </p:sp>
      <p:pic>
        <p:nvPicPr>
          <p:cNvPr id="377" name="Google Shape;377;p59" descr="Image result for africa cdc png"/>
          <p:cNvPicPr preferRelativeResize="0"/>
          <p:nvPr/>
        </p:nvPicPr>
        <p:blipFill rotWithShape="1">
          <a:blip r:embed="rId2">
            <a:alphaModFix/>
          </a:blip>
          <a:srcRect/>
          <a:stretch/>
        </p:blipFill>
        <p:spPr>
          <a:xfrm>
            <a:off x="9720943" y="5698442"/>
            <a:ext cx="2380898" cy="1063468"/>
          </a:xfrm>
          <a:prstGeom prst="rect">
            <a:avLst/>
          </a:prstGeom>
          <a:noFill/>
          <a:ln>
            <a:noFill/>
          </a:ln>
        </p:spPr>
      </p:pic>
      <p:pic>
        <p:nvPicPr>
          <p:cNvPr id="378" name="Google Shape;378;p59" descr="Image result for african unionc png"/>
          <p:cNvPicPr preferRelativeResize="0"/>
          <p:nvPr/>
        </p:nvPicPr>
        <p:blipFill rotWithShape="1">
          <a:blip r:embed="rId3">
            <a:alphaModFix/>
          </a:blip>
          <a:srcRect/>
          <a:stretch/>
        </p:blipFill>
        <p:spPr>
          <a:xfrm>
            <a:off x="90159" y="6030861"/>
            <a:ext cx="1841519" cy="650977"/>
          </a:xfrm>
          <a:prstGeom prst="rect">
            <a:avLst/>
          </a:prstGeom>
          <a:noFill/>
          <a:ln>
            <a:noFill/>
          </a:ln>
        </p:spPr>
      </p:pic>
      <p:sp>
        <p:nvSpPr>
          <p:cNvPr id="379" name="Google Shape;379;p59"/>
          <p:cNvSpPr txBox="1">
            <a:spLocks noGrp="1"/>
          </p:cNvSpPr>
          <p:nvPr>
            <p:ph type="body" idx="2"/>
          </p:nvPr>
        </p:nvSpPr>
        <p:spPr>
          <a:xfrm>
            <a:off x="838200" y="1253188"/>
            <a:ext cx="10515600" cy="3126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accent5"/>
              </a:buClr>
              <a:buSzPts val="1800"/>
              <a:buNone/>
              <a:defRPr sz="1800">
                <a:solidFill>
                  <a:schemeClr val="accent5"/>
                </a:solidFill>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45395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276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3261E6-7911-44CE-8B15-D92EF9A6B266}"/>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3200" kern="1200" dirty="0" err="1">
              <a:solidFill>
                <a:srgbClr val="000000"/>
              </a:solidFill>
              <a:sym typeface="Arial" panose="020B0604020202020204" pitchFamily="34" charset="0"/>
            </a:endParaRPr>
          </a:p>
        </p:txBody>
      </p:sp>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b="1" kern="1200"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auto">
          <a:xfrm>
            <a:off x="368304" y="6632689"/>
            <a:ext cx="40389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Last Modified 3/1/2020 11:19 PM E. Africa Standard Time</a:t>
            </a:r>
            <a:endParaRPr lang="en-US" sz="700" kern="1200" dirty="0">
              <a:solidFill>
                <a:srgbClr val="FFFFFF"/>
              </a:solidFill>
              <a:latin typeface="Arial"/>
              <a:ea typeface="+mn-ea"/>
              <a:cs typeface="+mn-cs"/>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Printed 2/6/2020 1:46 PM E. Africa Standard Time</a:t>
            </a:r>
            <a:endParaRPr lang="en-US" sz="700" kern="1200" dirty="0">
              <a:solidFill>
                <a:srgbClr val="FFFFFF"/>
              </a:solidFill>
              <a:latin typeface="Arial"/>
              <a:ea typeface="+mn-ea"/>
              <a:cs typeface="+mn-cs"/>
            </a:endParaRPr>
          </a:p>
        </p:txBody>
      </p:sp>
      <p:sp>
        <p:nvSpPr>
          <p:cNvPr id="13314" name="Title"/>
          <p:cNvSpPr>
            <a:spLocks noGrp="1" noChangeArrowheads="1"/>
          </p:cNvSpPr>
          <p:nvPr userDrawn="1">
            <p:ph type="ctrTitle"/>
          </p:nvPr>
        </p:nvSpPr>
        <p:spPr bwMode="auto">
          <a:xfrm>
            <a:off x="368303" y="2865172"/>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08"/>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1400" kern="1200" dirty="0">
                <a:solidFill>
                  <a:srgbClr val="808080"/>
                </a:solidFill>
                <a:latin typeface="Arial"/>
                <a:ea typeface="+mn-ea"/>
                <a:cs typeface="+mn-cs"/>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pic>
        <p:nvPicPr>
          <p:cNvPr id="16" name="Picture 15">
            <a:extLst>
              <a:ext uri="{FF2B5EF4-FFF2-40B4-BE49-F238E27FC236}">
                <a16:creationId xmlns:a16="http://schemas.microsoft.com/office/drawing/2014/main" id="{23FF2117-BC89-485F-A6E4-514656DEDAD9}"/>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a:xfrm>
            <a:off x="2005970" y="778907"/>
            <a:ext cx="3884915" cy="1807851"/>
          </a:xfrm>
          <a:prstGeom prst="rect">
            <a:avLst/>
          </a:prstGeom>
          <a:ln>
            <a:noFill/>
          </a:ln>
          <a:effectLst/>
        </p:spPr>
      </p:pic>
      <p:pic>
        <p:nvPicPr>
          <p:cNvPr id="17" name="Picture 16" descr="African Union">
            <a:extLst>
              <a:ext uri="{FF2B5EF4-FFF2-40B4-BE49-F238E27FC236}">
                <a16:creationId xmlns:a16="http://schemas.microsoft.com/office/drawing/2014/main" id="{120C5AF5-5BEC-4739-8DB3-3395864264D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661035" y="996279"/>
            <a:ext cx="3506225" cy="1491513"/>
          </a:xfrm>
          <a:prstGeom prst="rect">
            <a:avLst/>
          </a:prstGeom>
          <a:ln w="38100" cap="sq">
            <a:noFill/>
            <a:prstDash val="solid"/>
            <a:miter lim="800000"/>
          </a:ln>
          <a:effectLst/>
        </p:spPr>
      </p:pic>
    </p:spTree>
    <p:extLst>
      <p:ext uri="{BB962C8B-B14F-4D97-AF65-F5344CB8AC3E}">
        <p14:creationId xmlns:p14="http://schemas.microsoft.com/office/powerpoint/2010/main" val="21787485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679"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703097-533F-4BD4-BA29-2C7CF43075F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000" kern="1200" dirty="0" err="1">
              <a:solidFill>
                <a:srgbClr val="000000"/>
              </a:solidFill>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95022862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70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1671371197"/>
      </p:ext>
    </p:extLst>
  </p:cSld>
  <p:clrMapOvr>
    <a:masterClrMapping/>
  </p:clrMapOvr>
  <p:extLst>
    <p:ext uri="{DCECCB84-F9BA-43D5-87BE-67443E8EF086}">
      <p15:sldGuideLst xmlns:p15="http://schemas.microsoft.com/office/powerpoint/2012/main">
        <p15:guide id="1" pos="5412">
          <p15:clr>
            <a:srgbClr val="000000"/>
          </p15:clr>
        </p15:guide>
        <p15:guide id="2" orient="horz" pos="582">
          <p15:clr>
            <a:srgbClr val="000000"/>
          </p15:clr>
        </p15:guide>
        <p15:guide id="3" orient="horz" pos="3991">
          <p15:clr>
            <a:srgbClr val="000000"/>
          </p15:clr>
        </p15:guide>
        <p15:guide id="4" pos="97">
          <p15:clr>
            <a:srgbClr val="00000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DDF47-59DC-4064-A76E-CD7D559B03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1CF56E-A1A4-47B9-AFFB-90094CD6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44940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358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3261E6-7911-44CE-8B15-D92EF9A6B266}"/>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3200" kern="1200" dirty="0">
              <a:solidFill>
                <a:srgbClr val="000000"/>
              </a:solidFill>
              <a:sym typeface="Arial" panose="020B0604020202020204" pitchFamily="34" charset="0"/>
            </a:endParaRPr>
          </a:p>
        </p:txBody>
      </p:sp>
      <p:sp>
        <p:nvSpPr>
          <p:cNvPr id="14" name="Rectangle 13"/>
          <p:cNvSpPr/>
          <p:nvPr userDrawn="1"/>
        </p:nvSpPr>
        <p:spPr bwMode="invGray">
          <a:xfrm>
            <a:off x="0" y="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15" name="Rectangle 14"/>
          <p:cNvSpPr/>
          <p:nvPr userDrawn="1"/>
        </p:nvSpPr>
        <p:spPr bwMode="invGray">
          <a:xfrm>
            <a:off x="0" y="6515100"/>
            <a:ext cx="12192000" cy="342900"/>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4" name="Working Draft Text" hidden="1"/>
          <p:cNvSpPr txBox="1">
            <a:spLocks noChangeArrowheads="1"/>
          </p:cNvSpPr>
          <p:nvPr userDrawn="1"/>
        </p:nvSpPr>
        <p:spPr bwMode="auto">
          <a:xfrm>
            <a:off x="368303" y="6515100"/>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b="1" kern="1200"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auto">
          <a:xfrm>
            <a:off x="368304" y="6632689"/>
            <a:ext cx="4038929"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a:solidFill>
                  <a:srgbClr val="FFFFFF"/>
                </a:solidFill>
                <a:latin typeface="Arial"/>
                <a:ea typeface="+mn-ea"/>
                <a:cs typeface="+mn-cs"/>
              </a:rPr>
              <a:t>Last Modified 6/9/2020 9:18 AM Eastern Standard Time</a:t>
            </a:r>
            <a:endParaRPr lang="en-US" sz="700" kern="1200" dirty="0">
              <a:solidFill>
                <a:srgbClr val="FFFFFF"/>
              </a:solidFill>
              <a:latin typeface="Arial"/>
              <a:ea typeface="+mn-ea"/>
              <a:cs typeface="+mn-cs"/>
            </a:endParaRPr>
          </a:p>
        </p:txBody>
      </p:sp>
      <p:sp>
        <p:nvSpPr>
          <p:cNvPr id="7" name="Printed" hidden="1"/>
          <p:cNvSpPr txBox="1">
            <a:spLocks noChangeArrowheads="1"/>
          </p:cNvSpPr>
          <p:nvPr userDrawn="1"/>
        </p:nvSpPr>
        <p:spPr bwMode="auto">
          <a:xfrm>
            <a:off x="368303" y="6750278"/>
            <a:ext cx="3795784"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700" kern="1200" dirty="0">
                <a:solidFill>
                  <a:srgbClr val="FFFFFF"/>
                </a:solidFill>
                <a:latin typeface="Arial"/>
                <a:ea typeface="+mn-ea"/>
                <a:cs typeface="+mn-cs"/>
              </a:rPr>
              <a:t>Printed 2/6/2020 1:46 PM E. Africa Standard Time</a:t>
            </a:r>
          </a:p>
        </p:txBody>
      </p:sp>
      <p:sp>
        <p:nvSpPr>
          <p:cNvPr id="13314" name="Title"/>
          <p:cNvSpPr>
            <a:spLocks noGrp="1" noChangeArrowheads="1"/>
          </p:cNvSpPr>
          <p:nvPr userDrawn="1">
            <p:ph type="ctrTitle"/>
          </p:nvPr>
        </p:nvSpPr>
        <p:spPr bwMode="auto">
          <a:xfrm>
            <a:off x="368303" y="2865172"/>
            <a:ext cx="8478152" cy="492443"/>
          </a:xfrm>
          <a:prstGeom prst="rect">
            <a:avLst/>
          </a:prstGeom>
        </p:spPr>
        <p:txBody>
          <a:bodyPr anchor="t">
            <a:spAutoFit/>
          </a:bodyPr>
          <a:lstStyle>
            <a:lvl1pPr>
              <a:defRPr sz="3200" b="0" cap="all" baseline="0">
                <a:solidFill>
                  <a:schemeClr val="tx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auto">
          <a:xfrm>
            <a:off x="368303" y="4369208"/>
            <a:ext cx="8478152" cy="276999"/>
          </a:xfrm>
          <a:prstGeom prst="rect">
            <a:avLst/>
          </a:prstGeom>
        </p:spPr>
        <p:txBody>
          <a:bodyPr wrap="square">
            <a:sp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auto">
          <a:xfrm>
            <a:off x="368303" y="5657799"/>
            <a:ext cx="84781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1400" kern="1200" dirty="0">
                <a:solidFill>
                  <a:srgbClr val="808080"/>
                </a:solidFill>
                <a:latin typeface="Arial"/>
                <a:ea typeface="+mn-ea"/>
                <a:cs typeface="+mn-cs"/>
              </a:rPr>
              <a:t>Document type | Date</a:t>
            </a:r>
          </a:p>
        </p:txBody>
      </p:sp>
      <p:sp>
        <p:nvSpPr>
          <p:cNvPr id="1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pic>
        <p:nvPicPr>
          <p:cNvPr id="16" name="Picture 15">
            <a:extLst>
              <a:ext uri="{FF2B5EF4-FFF2-40B4-BE49-F238E27FC236}">
                <a16:creationId xmlns:a16="http://schemas.microsoft.com/office/drawing/2014/main" id="{23FF2117-BC89-485F-A6E4-514656DEDAD9}"/>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a:xfrm>
            <a:off x="2005970" y="778907"/>
            <a:ext cx="3884915" cy="1807851"/>
          </a:xfrm>
          <a:prstGeom prst="rect">
            <a:avLst/>
          </a:prstGeom>
          <a:ln>
            <a:noFill/>
          </a:ln>
          <a:effectLst/>
        </p:spPr>
      </p:pic>
      <p:pic>
        <p:nvPicPr>
          <p:cNvPr id="17" name="Picture 16" descr="African Union">
            <a:extLst>
              <a:ext uri="{FF2B5EF4-FFF2-40B4-BE49-F238E27FC236}">
                <a16:creationId xmlns:a16="http://schemas.microsoft.com/office/drawing/2014/main" id="{120C5AF5-5BEC-4739-8DB3-3395864264D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661035" y="996279"/>
            <a:ext cx="3506225" cy="1491513"/>
          </a:xfrm>
          <a:prstGeom prst="rect">
            <a:avLst/>
          </a:prstGeom>
          <a:ln w="38100" cap="sq">
            <a:noFill/>
            <a:prstDash val="solid"/>
            <a:miter lim="800000"/>
          </a:ln>
          <a:effectLst/>
        </p:spPr>
      </p:pic>
    </p:spTree>
    <p:extLst>
      <p:ext uri="{BB962C8B-B14F-4D97-AF65-F5344CB8AC3E}">
        <p14:creationId xmlns:p14="http://schemas.microsoft.com/office/powerpoint/2010/main" val="29367696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69"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703097-533F-4BD4-BA29-2C7CF43075F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000" kern="1200" dirty="0">
              <a:solidFill>
                <a:srgbClr val="000000"/>
              </a:solidFill>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803280821"/>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66"/>
        <p:cNvGrpSpPr/>
        <p:nvPr/>
      </p:nvGrpSpPr>
      <p:grpSpPr>
        <a:xfrm>
          <a:off x="0" y="0"/>
          <a:ext cx="0" cy="0"/>
          <a:chOff x="0" y="0"/>
          <a:chExt cx="0" cy="0"/>
        </a:xfrm>
      </p:grpSpPr>
      <p:sp>
        <p:nvSpPr>
          <p:cNvPr id="67" name="Google Shape;67;p11"/>
          <p:cNvSpPr txBox="1">
            <a:spLocks noGrp="1"/>
          </p:cNvSpPr>
          <p:nvPr>
            <p:ph type="title"/>
          </p:nvPr>
        </p:nvSpPr>
        <p:spPr>
          <a:xfrm>
            <a:off x="838200" y="446881"/>
            <a:ext cx="10515600" cy="7890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4000"/>
              <a:buFont typeface="Arial"/>
              <a:buNone/>
              <a:defRPr sz="4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11"/>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406400" algn="l">
              <a:lnSpc>
                <a:spcPct val="90000"/>
              </a:lnSpc>
              <a:spcBef>
                <a:spcPts val="1000"/>
              </a:spcBef>
              <a:spcAft>
                <a:spcPts val="0"/>
              </a:spcAft>
              <a:buClr>
                <a:schemeClr val="dk1"/>
              </a:buClr>
              <a:buSzPts val="2800"/>
              <a:buChar char="•"/>
              <a:defRPr b="1"/>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 name="Google Shape;69;p11"/>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11"/>
          <p:cNvSpPr txBox="1">
            <a:spLocks noGrp="1"/>
          </p:cNvSpPr>
          <p:nvPr>
            <p:ph type="ftr" idx="11"/>
          </p:nvPr>
        </p:nvSpPr>
        <p:spPr>
          <a:xfrm>
            <a:off x="4038600" y="6356350"/>
            <a:ext cx="4114800" cy="3651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11"/>
          <p:cNvSpPr txBox="1">
            <a:spLocks noGrp="1"/>
          </p:cNvSpPr>
          <p:nvPr>
            <p:ph type="sldNum" idx="12"/>
          </p:nvPr>
        </p:nvSpPr>
        <p:spPr>
          <a:xfrm>
            <a:off x="8610600" y="6356350"/>
            <a:ext cx="2743200" cy="3651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Nr.›</a:t>
            </a:fld>
            <a:endParaRPr/>
          </a:p>
        </p:txBody>
      </p:sp>
      <p:pic>
        <p:nvPicPr>
          <p:cNvPr id="72" name="Google Shape;72;p11" descr="Image result for africa cdc png"/>
          <p:cNvPicPr preferRelativeResize="0"/>
          <p:nvPr/>
        </p:nvPicPr>
        <p:blipFill rotWithShape="1">
          <a:blip r:embed="rId2">
            <a:alphaModFix/>
          </a:blip>
          <a:srcRect/>
          <a:stretch/>
        </p:blipFill>
        <p:spPr>
          <a:xfrm>
            <a:off x="9720943" y="5698442"/>
            <a:ext cx="2380898" cy="1063468"/>
          </a:xfrm>
          <a:prstGeom prst="rect">
            <a:avLst/>
          </a:prstGeom>
          <a:noFill/>
          <a:ln>
            <a:noFill/>
          </a:ln>
        </p:spPr>
      </p:pic>
      <p:pic>
        <p:nvPicPr>
          <p:cNvPr id="73" name="Google Shape;73;p11" descr="Image result for african unionc png"/>
          <p:cNvPicPr preferRelativeResize="0"/>
          <p:nvPr/>
        </p:nvPicPr>
        <p:blipFill rotWithShape="1">
          <a:blip r:embed="rId3">
            <a:alphaModFix/>
          </a:blip>
          <a:srcRect/>
          <a:stretch/>
        </p:blipFill>
        <p:spPr>
          <a:xfrm>
            <a:off x="90159" y="6030861"/>
            <a:ext cx="1841519" cy="650977"/>
          </a:xfrm>
          <a:prstGeom prst="rect">
            <a:avLst/>
          </a:prstGeom>
          <a:noFill/>
          <a:ln>
            <a:noFill/>
          </a:ln>
        </p:spPr>
      </p:pic>
      <p:sp>
        <p:nvSpPr>
          <p:cNvPr id="74" name="Google Shape;74;p11"/>
          <p:cNvSpPr txBox="1">
            <a:spLocks noGrp="1"/>
          </p:cNvSpPr>
          <p:nvPr>
            <p:ph type="body" idx="2"/>
          </p:nvPr>
        </p:nvSpPr>
        <p:spPr>
          <a:xfrm>
            <a:off x="838200" y="1253188"/>
            <a:ext cx="10515600" cy="3126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accent5"/>
              </a:buClr>
              <a:buSzPts val="1800"/>
              <a:buNone/>
              <a:defRPr sz="1800">
                <a:solidFill>
                  <a:schemeClr val="accent5"/>
                </a:solidFill>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89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6"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spTree>
    <p:extLst>
      <p:ext uri="{BB962C8B-B14F-4D97-AF65-F5344CB8AC3E}">
        <p14:creationId xmlns:p14="http://schemas.microsoft.com/office/powerpoint/2010/main" val="967338579"/>
      </p:ext>
    </p:extLst>
  </p:cSld>
  <p:clrMapOvr>
    <a:masterClrMapping/>
  </p:clrMapOvr>
  <p:extLst>
    <p:ext uri="{DCECCB84-F9BA-43D5-87BE-67443E8EF086}">
      <p15:sldGuideLst xmlns:p15="http://schemas.microsoft.com/office/powerpoint/2012/main">
        <p15:guide id="1" pos="5412">
          <p15:clr>
            <a:srgbClr val="000000"/>
          </p15:clr>
        </p15:guide>
        <p15:guide id="2" orient="horz" pos="582">
          <p15:clr>
            <a:srgbClr val="000000"/>
          </p15:clr>
        </p15:guide>
        <p15:guide id="3" orient="horz" pos="3991">
          <p15:clr>
            <a:srgbClr val="000000"/>
          </p15:clr>
        </p15:guide>
        <p15:guide id="4" pos="97">
          <p15:clr>
            <a:srgbClr val="00000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DDF47-59DC-4064-A76E-CD7D559B03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1CF56E-A1A4-47B9-AFFB-90094CD6E33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8353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Title Slide">
  <p:cSld name="6_Title Slide">
    <p:bg>
      <p:bgPr>
        <a:solidFill>
          <a:schemeClr val="lt1"/>
        </a:solidFill>
        <a:effectLst/>
      </p:bgPr>
    </p:bg>
    <p:spTree>
      <p:nvGrpSpPr>
        <p:cNvPr id="1" name="Shape 190"/>
        <p:cNvGrpSpPr/>
        <p:nvPr/>
      </p:nvGrpSpPr>
      <p:grpSpPr>
        <a:xfrm>
          <a:off x="0" y="0"/>
          <a:ext cx="0" cy="0"/>
          <a:chOff x="0" y="0"/>
          <a:chExt cx="0" cy="0"/>
        </a:xfrm>
      </p:grpSpPr>
      <p:pic>
        <p:nvPicPr>
          <p:cNvPr id="191" name="Google Shape;191;p29"/>
          <p:cNvPicPr preferRelativeResize="0"/>
          <p:nvPr/>
        </p:nvPicPr>
        <p:blipFill rotWithShape="1">
          <a:blip r:embed="rId2">
            <a:alphaModFix/>
          </a:blip>
          <a:srcRect t="2666" b="12959"/>
          <a:stretch/>
        </p:blipFill>
        <p:spPr>
          <a:xfrm>
            <a:off x="-30481" y="-17206"/>
            <a:ext cx="12222481" cy="6875207"/>
          </a:xfrm>
          <a:prstGeom prst="rect">
            <a:avLst/>
          </a:prstGeom>
          <a:solidFill>
            <a:schemeClr val="lt1"/>
          </a:solidFill>
          <a:ln>
            <a:noFill/>
          </a:ln>
        </p:spPr>
      </p:pic>
      <p:sp>
        <p:nvSpPr>
          <p:cNvPr id="192" name="Google Shape;192;p29"/>
          <p:cNvSpPr/>
          <p:nvPr/>
        </p:nvSpPr>
        <p:spPr>
          <a:xfrm flipH="1">
            <a:off x="-68703" y="-78104"/>
            <a:ext cx="12260700" cy="2161200"/>
          </a:xfrm>
          <a:prstGeom prst="rect">
            <a:avLst/>
          </a:prstGeom>
          <a:gradFill>
            <a:gsLst>
              <a:gs pos="0">
                <a:srgbClr val="000000">
                  <a:alpha val="35294"/>
                </a:srgbClr>
              </a:gs>
              <a:gs pos="100000">
                <a:srgbClr val="000000">
                  <a:alpha val="0"/>
                </a:srgbClr>
              </a:gs>
            </a:gsLst>
            <a:lin ang="5400012"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3" name="Google Shape;193;p29"/>
          <p:cNvSpPr txBox="1">
            <a:spLocks noGrp="1"/>
          </p:cNvSpPr>
          <p:nvPr>
            <p:ph type="dt" idx="10"/>
          </p:nvPr>
        </p:nvSpPr>
        <p:spPr>
          <a:xfrm>
            <a:off x="335280" y="6356350"/>
            <a:ext cx="2743200" cy="3651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194" name="Google Shape;194;p29"/>
          <p:cNvPicPr preferRelativeResize="0"/>
          <p:nvPr/>
        </p:nvPicPr>
        <p:blipFill rotWithShape="1">
          <a:blip r:embed="rId3">
            <a:alphaModFix/>
          </a:blip>
          <a:srcRect/>
          <a:stretch/>
        </p:blipFill>
        <p:spPr>
          <a:xfrm>
            <a:off x="9478940" y="-234376"/>
            <a:ext cx="3042915" cy="1617405"/>
          </a:xfrm>
          <a:prstGeom prst="rect">
            <a:avLst/>
          </a:prstGeom>
          <a:noFill/>
          <a:ln>
            <a:noFill/>
          </a:ln>
        </p:spPr>
      </p:pic>
      <p:pic>
        <p:nvPicPr>
          <p:cNvPr id="195" name="Google Shape;195;p29"/>
          <p:cNvPicPr preferRelativeResize="0"/>
          <p:nvPr/>
        </p:nvPicPr>
        <p:blipFill rotWithShape="1">
          <a:blip r:embed="rId4">
            <a:alphaModFix/>
          </a:blip>
          <a:srcRect/>
          <a:stretch/>
        </p:blipFill>
        <p:spPr>
          <a:xfrm>
            <a:off x="-30480" y="-17206"/>
            <a:ext cx="2446724" cy="1180589"/>
          </a:xfrm>
          <a:prstGeom prst="rect">
            <a:avLst/>
          </a:prstGeom>
          <a:noFill/>
          <a:ln>
            <a:noFill/>
          </a:ln>
        </p:spPr>
      </p:pic>
      <p:sp>
        <p:nvSpPr>
          <p:cNvPr id="196" name="Google Shape;196;p29"/>
          <p:cNvSpPr txBox="1">
            <a:spLocks noGrp="1"/>
          </p:cNvSpPr>
          <p:nvPr>
            <p:ph type="body" idx="1"/>
          </p:nvPr>
        </p:nvSpPr>
        <p:spPr>
          <a:xfrm>
            <a:off x="429996" y="1945323"/>
            <a:ext cx="3273300" cy="2387700"/>
          </a:xfrm>
          <a:prstGeom prst="rect">
            <a:avLst/>
          </a:prstGeom>
          <a:solidFill>
            <a:srgbClr val="349545">
              <a:alpha val="80000"/>
            </a:srgbClr>
          </a:solidFill>
          <a:ln>
            <a:noFill/>
          </a:ln>
        </p:spPr>
        <p:txBody>
          <a:bodyPr spcFirstLastPara="1" wrap="square" lIns="396000" tIns="45700" rIns="90000" bIns="45700" anchor="ctr" anchorCtr="0">
            <a:noAutofit/>
          </a:bodyPr>
          <a:lstStyle>
            <a:lvl1pPr marL="457200" lvl="0" indent="-228600" algn="l" rtl="0">
              <a:lnSpc>
                <a:spcPct val="90000"/>
              </a:lnSpc>
              <a:spcBef>
                <a:spcPts val="1000"/>
              </a:spcBef>
              <a:spcAft>
                <a:spcPts val="0"/>
              </a:spcAft>
              <a:buClr>
                <a:schemeClr val="lt1"/>
              </a:buClr>
              <a:buSzPts val="3200"/>
              <a:buNone/>
              <a:defRPr sz="3200">
                <a:solidFill>
                  <a:schemeClr val="lt1"/>
                </a:solidFill>
                <a:latin typeface="Arial"/>
                <a:ea typeface="Arial"/>
                <a:cs typeface="Arial"/>
                <a:sym typeface="Arial"/>
              </a:defRPr>
            </a:lvl1pPr>
            <a:lvl2pPr marL="914400" lvl="1" indent="-342900" algn="l" rtl="0">
              <a:lnSpc>
                <a:spcPct val="90000"/>
              </a:lnSpc>
              <a:spcBef>
                <a:spcPts val="500"/>
              </a:spcBef>
              <a:spcAft>
                <a:spcPts val="0"/>
              </a:spcAft>
              <a:buClr>
                <a:srgbClr val="53575A"/>
              </a:buClr>
              <a:buSzPts val="1800"/>
              <a:buChar char="•"/>
              <a:defRPr/>
            </a:lvl2pPr>
            <a:lvl3pPr marL="1371600" lvl="2" indent="-342900" algn="l" rtl="0">
              <a:lnSpc>
                <a:spcPct val="90000"/>
              </a:lnSpc>
              <a:spcBef>
                <a:spcPts val="500"/>
              </a:spcBef>
              <a:spcAft>
                <a:spcPts val="0"/>
              </a:spcAft>
              <a:buClr>
                <a:srgbClr val="53575A"/>
              </a:buClr>
              <a:buSzPts val="1800"/>
              <a:buChar char="•"/>
              <a:defRPr/>
            </a:lvl3pPr>
            <a:lvl4pPr marL="1828800" lvl="3" indent="-342900" algn="l" rtl="0">
              <a:lnSpc>
                <a:spcPct val="90000"/>
              </a:lnSpc>
              <a:spcBef>
                <a:spcPts val="500"/>
              </a:spcBef>
              <a:spcAft>
                <a:spcPts val="0"/>
              </a:spcAft>
              <a:buClr>
                <a:srgbClr val="53575A"/>
              </a:buClr>
              <a:buSzPts val="1800"/>
              <a:buChar char="•"/>
              <a:defRPr/>
            </a:lvl4pPr>
            <a:lvl5pPr marL="2286000" lvl="4" indent="-342900" algn="l" rtl="0">
              <a:lnSpc>
                <a:spcPct val="90000"/>
              </a:lnSpc>
              <a:spcBef>
                <a:spcPts val="500"/>
              </a:spcBef>
              <a:spcAft>
                <a:spcPts val="0"/>
              </a:spcAft>
              <a:buClr>
                <a:srgbClr val="53575A"/>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197" name="Google Shape;197;p29"/>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lvl="0" algn="r" rtl="0">
              <a:lnSpc>
                <a:spcPct val="100000"/>
              </a:lnSpc>
              <a:spcBef>
                <a:spcPts val="0"/>
              </a:spcBef>
              <a:spcAft>
                <a:spcPts val="0"/>
              </a:spcAft>
              <a:buSzPts val="1400"/>
              <a:buNone/>
              <a:defRPr sz="1200" b="1">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image" Target="../media/image2.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1.png"/><Relationship Id="rId5" Type="http://schemas.openxmlformats.org/officeDocument/2006/relationships/slideLayout" Target="../slideLayouts/slideLayout69.xml"/><Relationship Id="rId10" Type="http://schemas.openxmlformats.org/officeDocument/2006/relationships/theme" Target="../theme/theme10.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image" Target="../media/image20.png"/><Relationship Id="rId3" Type="http://schemas.openxmlformats.org/officeDocument/2006/relationships/slideLayout" Target="../slideLayouts/slideLayout76.xml"/><Relationship Id="rId21" Type="http://schemas.openxmlformats.org/officeDocument/2006/relationships/tags" Target="../tags/tag103.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image" Target="../media/image19.emf"/><Relationship Id="rId2" Type="http://schemas.openxmlformats.org/officeDocument/2006/relationships/slideLayout" Target="../slideLayouts/slideLayout75.xml"/><Relationship Id="rId16" Type="http://schemas.openxmlformats.org/officeDocument/2006/relationships/tags" Target="../tags/tag98.xml"/><Relationship Id="rId20" Type="http://schemas.openxmlformats.org/officeDocument/2006/relationships/tags" Target="../tags/tag102.xml"/><Relationship Id="rId1" Type="http://schemas.openxmlformats.org/officeDocument/2006/relationships/slideLayout" Target="../slideLayouts/slideLayout74.xml"/><Relationship Id="rId6" Type="http://schemas.openxmlformats.org/officeDocument/2006/relationships/vmlDrawing" Target="../drawings/vmlDrawing17.vml"/><Relationship Id="rId11" Type="http://schemas.openxmlformats.org/officeDocument/2006/relationships/tags" Target="../tags/tag93.xml"/><Relationship Id="rId24" Type="http://schemas.openxmlformats.org/officeDocument/2006/relationships/oleObject" Target="../embeddings/oleObject17.bin"/><Relationship Id="rId5" Type="http://schemas.openxmlformats.org/officeDocument/2006/relationships/theme" Target="../theme/theme11.xml"/><Relationship Id="rId15" Type="http://schemas.openxmlformats.org/officeDocument/2006/relationships/tags" Target="../tags/tag97.xml"/><Relationship Id="rId23" Type="http://schemas.openxmlformats.org/officeDocument/2006/relationships/tags" Target="../tags/tag105.xml"/><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slideLayout" Target="../slideLayouts/slideLayout77.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image" Target="../media/image21.png"/></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image" Target="../media/image20.png"/><Relationship Id="rId3" Type="http://schemas.openxmlformats.org/officeDocument/2006/relationships/slideLayout" Target="../slideLayouts/slideLayout80.xml"/><Relationship Id="rId21" Type="http://schemas.openxmlformats.org/officeDocument/2006/relationships/tags" Target="../tags/tag125.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image" Target="../media/image19.emf"/><Relationship Id="rId2" Type="http://schemas.openxmlformats.org/officeDocument/2006/relationships/slideLayout" Target="../slideLayouts/slideLayout79.xml"/><Relationship Id="rId16" Type="http://schemas.openxmlformats.org/officeDocument/2006/relationships/tags" Target="../tags/tag120.xml"/><Relationship Id="rId20" Type="http://schemas.openxmlformats.org/officeDocument/2006/relationships/tags" Target="../tags/tag124.xml"/><Relationship Id="rId1" Type="http://schemas.openxmlformats.org/officeDocument/2006/relationships/slideLayout" Target="../slideLayouts/slideLayout78.xml"/><Relationship Id="rId6" Type="http://schemas.openxmlformats.org/officeDocument/2006/relationships/vmlDrawing" Target="../drawings/vmlDrawing21.vml"/><Relationship Id="rId11" Type="http://schemas.openxmlformats.org/officeDocument/2006/relationships/tags" Target="../tags/tag115.xml"/><Relationship Id="rId24" Type="http://schemas.openxmlformats.org/officeDocument/2006/relationships/oleObject" Target="../embeddings/oleObject21.bin"/><Relationship Id="rId5" Type="http://schemas.openxmlformats.org/officeDocument/2006/relationships/theme" Target="../theme/theme12.xml"/><Relationship Id="rId15" Type="http://schemas.openxmlformats.org/officeDocument/2006/relationships/tags" Target="../tags/tag119.xml"/><Relationship Id="rId23" Type="http://schemas.openxmlformats.org/officeDocument/2006/relationships/tags" Target="../tags/tag127.xml"/><Relationship Id="rId10" Type="http://schemas.openxmlformats.org/officeDocument/2006/relationships/tags" Target="../tags/tag114.xml"/><Relationship Id="rId19" Type="http://schemas.openxmlformats.org/officeDocument/2006/relationships/tags" Target="../tags/tag123.xml"/><Relationship Id="rId4" Type="http://schemas.openxmlformats.org/officeDocument/2006/relationships/slideLayout" Target="../slideLayouts/slideLayout81.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image" Target="../media/image2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heme" Target="../theme/theme2.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0.png"/><Relationship Id="rId3" Type="http://schemas.openxmlformats.org/officeDocument/2006/relationships/slideLayout" Target="../slideLayouts/slideLayout25.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9.emf"/><Relationship Id="rId2" Type="http://schemas.openxmlformats.org/officeDocument/2006/relationships/slideLayout" Target="../slideLayouts/slideLayout24.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23.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3.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26.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21.png"/></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oleObject" Target="../embeddings/oleObject5.bin"/><Relationship Id="rId3" Type="http://schemas.openxmlformats.org/officeDocument/2006/relationships/slideLayout" Target="../slideLayouts/slideLayout29.xml"/><Relationship Id="rId21" Type="http://schemas.openxmlformats.org/officeDocument/2006/relationships/tags" Target="../tags/tag35.xml"/><Relationship Id="rId7" Type="http://schemas.openxmlformats.org/officeDocument/2006/relationships/theme" Target="../theme/theme4.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2" Type="http://schemas.openxmlformats.org/officeDocument/2006/relationships/slideLayout" Target="../slideLayouts/slideLayout28.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image" Target="../media/image21.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slideLayout" Target="../slideLayouts/slideLayout31.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image" Target="../media/image20.png"/><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slideLayout" Target="../slideLayouts/slideLayout30.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image" Target="../media/image19.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image" Target="../media/image20.png"/><Relationship Id="rId3" Type="http://schemas.openxmlformats.org/officeDocument/2006/relationships/slideLayout" Target="../slideLayouts/slideLayout35.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image" Target="../media/image19.emf"/><Relationship Id="rId2" Type="http://schemas.openxmlformats.org/officeDocument/2006/relationships/slideLayout" Target="../slideLayouts/slideLayout34.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slideLayout" Target="../slideLayouts/slideLayout33.xml"/><Relationship Id="rId6" Type="http://schemas.openxmlformats.org/officeDocument/2006/relationships/vmlDrawing" Target="../drawings/vmlDrawing9.vml"/><Relationship Id="rId11" Type="http://schemas.openxmlformats.org/officeDocument/2006/relationships/tags" Target="../tags/tag49.xml"/><Relationship Id="rId24" Type="http://schemas.openxmlformats.org/officeDocument/2006/relationships/oleObject" Target="../embeddings/oleObject9.bin"/><Relationship Id="rId5" Type="http://schemas.openxmlformats.org/officeDocument/2006/relationships/theme" Target="../theme/theme5.xml"/><Relationship Id="rId15" Type="http://schemas.openxmlformats.org/officeDocument/2006/relationships/tags" Target="../tags/tag53.xml"/><Relationship Id="rId23" Type="http://schemas.openxmlformats.org/officeDocument/2006/relationships/tags" Target="../tags/tag61.xml"/><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slideLayout" Target="../slideLayouts/slideLayout36.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image" Target="../media/image21.png"/></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image" Target="../media/image20.png"/><Relationship Id="rId3" Type="http://schemas.openxmlformats.org/officeDocument/2006/relationships/slideLayout" Target="../slideLayouts/slideLayout39.xml"/><Relationship Id="rId21" Type="http://schemas.openxmlformats.org/officeDocument/2006/relationships/tags" Target="../tags/tag81.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image" Target="../media/image19.emf"/><Relationship Id="rId2" Type="http://schemas.openxmlformats.org/officeDocument/2006/relationships/slideLayout" Target="../slideLayouts/slideLayout38.xml"/><Relationship Id="rId16" Type="http://schemas.openxmlformats.org/officeDocument/2006/relationships/tags" Target="../tags/tag76.xml"/><Relationship Id="rId20" Type="http://schemas.openxmlformats.org/officeDocument/2006/relationships/tags" Target="../tags/tag80.xml"/><Relationship Id="rId1" Type="http://schemas.openxmlformats.org/officeDocument/2006/relationships/slideLayout" Target="../slideLayouts/slideLayout37.xml"/><Relationship Id="rId6" Type="http://schemas.openxmlformats.org/officeDocument/2006/relationships/vmlDrawing" Target="../drawings/vmlDrawing13.vml"/><Relationship Id="rId11" Type="http://schemas.openxmlformats.org/officeDocument/2006/relationships/tags" Target="../tags/tag71.xml"/><Relationship Id="rId24" Type="http://schemas.openxmlformats.org/officeDocument/2006/relationships/oleObject" Target="../embeddings/oleObject13.bin"/><Relationship Id="rId5" Type="http://schemas.openxmlformats.org/officeDocument/2006/relationships/theme" Target="../theme/theme6.xml"/><Relationship Id="rId15" Type="http://schemas.openxmlformats.org/officeDocument/2006/relationships/tags" Target="../tags/tag75.xml"/><Relationship Id="rId23" Type="http://schemas.openxmlformats.org/officeDocument/2006/relationships/tags" Target="../tags/tag83.xml"/><Relationship Id="rId10" Type="http://schemas.openxmlformats.org/officeDocument/2006/relationships/tags" Target="../tags/tag70.xml"/><Relationship Id="rId19" Type="http://schemas.openxmlformats.org/officeDocument/2006/relationships/tags" Target="../tags/tag79.xml"/><Relationship Id="rId4" Type="http://schemas.openxmlformats.org/officeDocument/2006/relationships/slideLayout" Target="../slideLayouts/slideLayout40.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image" Target="../media/image21.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3.xml"/><Relationship Id="rId7" Type="http://schemas.openxmlformats.org/officeDocument/2006/relationships/image" Target="../media/image3.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heme" Target="../theme/theme7.xml"/><Relationship Id="rId5" Type="http://schemas.openxmlformats.org/officeDocument/2006/relationships/slideLayout" Target="../slideLayouts/slideLayout45.xml"/><Relationship Id="rId4" Type="http://schemas.openxmlformats.org/officeDocument/2006/relationships/slideLayout" Target="../slideLayouts/slideLayout44.xml"/><Relationship Id="rId9" Type="http://schemas.openxmlformats.org/officeDocument/2006/relationships/image" Target="../media/image2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2.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image" Target="../media/image1.png"/><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heme" Target="../theme/theme8.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2.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1.png"/><Relationship Id="rId5" Type="http://schemas.openxmlformats.org/officeDocument/2006/relationships/slideLayout" Target="../slideLayouts/slideLayout60.xml"/><Relationship Id="rId10" Type="http://schemas.openxmlformats.org/officeDocument/2006/relationships/theme" Target="../theme/theme9.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53575A"/>
              </a:buClr>
              <a:buSzPts val="3200"/>
              <a:buFont typeface="Arial"/>
              <a:buNone/>
              <a:defRPr sz="3200" b="1" i="0" u="none" strike="noStrike" cap="none">
                <a:solidFill>
                  <a:srgbClr val="53575A"/>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rgbClr val="53575A"/>
              </a:buClr>
              <a:buSzPts val="2800"/>
              <a:buFont typeface="Arial"/>
              <a:buChar char="•"/>
              <a:defRPr sz="2800" b="0" i="0" u="none" strike="noStrike" cap="none">
                <a:solidFill>
                  <a:srgbClr val="53575A"/>
                </a:solidFill>
                <a:latin typeface="Arial"/>
                <a:ea typeface="Arial"/>
                <a:cs typeface="Arial"/>
                <a:sym typeface="Arial"/>
              </a:defRPr>
            </a:lvl1pPr>
            <a:lvl2pPr marL="914400" marR="0" lvl="1" indent="-381000" algn="l" rtl="0">
              <a:lnSpc>
                <a:spcPct val="90000"/>
              </a:lnSpc>
              <a:spcBef>
                <a:spcPts val="500"/>
              </a:spcBef>
              <a:spcAft>
                <a:spcPts val="0"/>
              </a:spcAft>
              <a:buClr>
                <a:srgbClr val="53575A"/>
              </a:buClr>
              <a:buSzPts val="2400"/>
              <a:buFont typeface="Arial"/>
              <a:buChar char="•"/>
              <a:defRPr sz="2400" b="0" i="0" u="none" strike="noStrike" cap="none">
                <a:solidFill>
                  <a:srgbClr val="53575A"/>
                </a:solidFill>
                <a:latin typeface="Arial"/>
                <a:ea typeface="Arial"/>
                <a:cs typeface="Arial"/>
                <a:sym typeface="Arial"/>
              </a:defRPr>
            </a:lvl2pPr>
            <a:lvl3pPr marL="1371600" marR="0" lvl="2" indent="-355600" algn="l" rtl="0">
              <a:lnSpc>
                <a:spcPct val="90000"/>
              </a:lnSpc>
              <a:spcBef>
                <a:spcPts val="500"/>
              </a:spcBef>
              <a:spcAft>
                <a:spcPts val="0"/>
              </a:spcAft>
              <a:buClr>
                <a:srgbClr val="53575A"/>
              </a:buClr>
              <a:buSzPts val="2000"/>
              <a:buFont typeface="Arial"/>
              <a:buChar char="•"/>
              <a:defRPr sz="2000" b="0" i="0" u="none" strike="noStrike" cap="none">
                <a:solidFill>
                  <a:srgbClr val="53575A"/>
                </a:solidFill>
                <a:latin typeface="Arial"/>
                <a:ea typeface="Arial"/>
                <a:cs typeface="Arial"/>
                <a:sym typeface="Arial"/>
              </a:defRPr>
            </a:lvl3pPr>
            <a:lvl4pPr marL="1828800" marR="0" lvl="3"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4pPr>
            <a:lvl5pPr marL="2286000" marR="0" lvl="4"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marR="0" lvl="0" algn="r"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14" name="Google Shape;14;p1"/>
          <p:cNvPicPr preferRelativeResize="0"/>
          <p:nvPr/>
        </p:nvPicPr>
        <p:blipFill rotWithShape="1">
          <a:blip r:embed="rId10">
            <a:alphaModFix/>
          </a:blip>
          <a:srcRect/>
          <a:stretch/>
        </p:blipFill>
        <p:spPr>
          <a:xfrm>
            <a:off x="9478940" y="-234376"/>
            <a:ext cx="3042915" cy="1617404"/>
          </a:xfrm>
          <a:prstGeom prst="rect">
            <a:avLst/>
          </a:prstGeom>
          <a:noFill/>
          <a:ln>
            <a:noFill/>
          </a:ln>
        </p:spPr>
      </p:pic>
      <p:pic>
        <p:nvPicPr>
          <p:cNvPr id="15" name="Google Shape;15;p1"/>
          <p:cNvPicPr preferRelativeResize="0"/>
          <p:nvPr/>
        </p:nvPicPr>
        <p:blipFill rotWithShape="1">
          <a:blip r:embed="rId11">
            <a:alphaModFix/>
          </a:blip>
          <a:srcRect/>
          <a:stretch/>
        </p:blipFill>
        <p:spPr>
          <a:xfrm>
            <a:off x="-30481" y="-17206"/>
            <a:ext cx="2450595" cy="1182453"/>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51" r:id="rId2"/>
    <p:sldLayoutId id="2147483652" r:id="rId3"/>
    <p:sldLayoutId id="2147483653" r:id="rId4"/>
    <p:sldLayoutId id="2147483654" r:id="rId5"/>
    <p:sldLayoutId id="2147483655" r:id="rId6"/>
    <p:sldLayoutId id="2147483656" r:id="rId7"/>
    <p:sldLayoutId id="2147483657"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22"/>
        <p:cNvGrpSpPr/>
        <p:nvPr/>
      </p:nvGrpSpPr>
      <p:grpSpPr>
        <a:xfrm>
          <a:off x="0" y="0"/>
          <a:ext cx="0" cy="0"/>
          <a:chOff x="0" y="0"/>
          <a:chExt cx="0" cy="0"/>
        </a:xfrm>
      </p:grpSpPr>
      <p:sp>
        <p:nvSpPr>
          <p:cNvPr id="323" name="Google Shape;323;p50"/>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53575A"/>
              </a:buClr>
              <a:buSzPts val="3200"/>
              <a:buFont typeface="Arial"/>
              <a:buNone/>
              <a:defRPr sz="3200" b="1" i="0" u="none" strike="noStrike" cap="none">
                <a:solidFill>
                  <a:srgbClr val="53575A"/>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24" name="Google Shape;324;p50"/>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rgbClr val="53575A"/>
              </a:buClr>
              <a:buSzPts val="2800"/>
              <a:buFont typeface="Arial"/>
              <a:buChar char="•"/>
              <a:defRPr sz="2800" b="0" i="0" u="none" strike="noStrike" cap="none">
                <a:solidFill>
                  <a:srgbClr val="53575A"/>
                </a:solidFill>
                <a:latin typeface="Arial"/>
                <a:ea typeface="Arial"/>
                <a:cs typeface="Arial"/>
                <a:sym typeface="Arial"/>
              </a:defRPr>
            </a:lvl1pPr>
            <a:lvl2pPr marL="914400" marR="0" lvl="1" indent="-381000" algn="l" rtl="0">
              <a:lnSpc>
                <a:spcPct val="90000"/>
              </a:lnSpc>
              <a:spcBef>
                <a:spcPts val="500"/>
              </a:spcBef>
              <a:spcAft>
                <a:spcPts val="0"/>
              </a:spcAft>
              <a:buClr>
                <a:srgbClr val="53575A"/>
              </a:buClr>
              <a:buSzPts val="2400"/>
              <a:buFont typeface="Arial"/>
              <a:buChar char="•"/>
              <a:defRPr sz="2400" b="0" i="0" u="none" strike="noStrike" cap="none">
                <a:solidFill>
                  <a:srgbClr val="53575A"/>
                </a:solidFill>
                <a:latin typeface="Arial"/>
                <a:ea typeface="Arial"/>
                <a:cs typeface="Arial"/>
                <a:sym typeface="Arial"/>
              </a:defRPr>
            </a:lvl2pPr>
            <a:lvl3pPr marL="1371600" marR="0" lvl="2" indent="-355600" algn="l" rtl="0">
              <a:lnSpc>
                <a:spcPct val="90000"/>
              </a:lnSpc>
              <a:spcBef>
                <a:spcPts val="500"/>
              </a:spcBef>
              <a:spcAft>
                <a:spcPts val="0"/>
              </a:spcAft>
              <a:buClr>
                <a:srgbClr val="53575A"/>
              </a:buClr>
              <a:buSzPts val="2000"/>
              <a:buFont typeface="Arial"/>
              <a:buChar char="•"/>
              <a:defRPr sz="2000" b="0" i="0" u="none" strike="noStrike" cap="none">
                <a:solidFill>
                  <a:srgbClr val="53575A"/>
                </a:solidFill>
                <a:latin typeface="Arial"/>
                <a:ea typeface="Arial"/>
                <a:cs typeface="Arial"/>
                <a:sym typeface="Arial"/>
              </a:defRPr>
            </a:lvl3pPr>
            <a:lvl4pPr marL="1828800" marR="0" lvl="3"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4pPr>
            <a:lvl5pPr marL="2286000" marR="0" lvl="4"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25" name="Google Shape;325;p50"/>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marR="0" lvl="0" algn="r"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26" name="Google Shape;326;p50"/>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327" name="Google Shape;327;p50"/>
          <p:cNvPicPr preferRelativeResize="0"/>
          <p:nvPr/>
        </p:nvPicPr>
        <p:blipFill rotWithShape="1">
          <a:blip r:embed="rId11">
            <a:alphaModFix/>
          </a:blip>
          <a:srcRect/>
          <a:stretch/>
        </p:blipFill>
        <p:spPr>
          <a:xfrm>
            <a:off x="9478940" y="-234376"/>
            <a:ext cx="3042915" cy="1617404"/>
          </a:xfrm>
          <a:prstGeom prst="rect">
            <a:avLst/>
          </a:prstGeom>
          <a:noFill/>
          <a:ln>
            <a:noFill/>
          </a:ln>
        </p:spPr>
      </p:pic>
      <p:pic>
        <p:nvPicPr>
          <p:cNvPr id="328" name="Google Shape;328;p50"/>
          <p:cNvPicPr preferRelativeResize="0"/>
          <p:nvPr/>
        </p:nvPicPr>
        <p:blipFill rotWithShape="1">
          <a:blip r:embed="rId12">
            <a:alphaModFix/>
          </a:blip>
          <a:srcRect/>
          <a:stretch/>
        </p:blipFill>
        <p:spPr>
          <a:xfrm>
            <a:off x="-30481" y="-17206"/>
            <a:ext cx="2450595" cy="1182453"/>
          </a:xfrm>
          <a:prstGeom prst="rect">
            <a:avLst/>
          </a:prstGeom>
          <a:noFill/>
          <a:ln>
            <a:noFill/>
          </a:ln>
        </p:spPr>
      </p:pic>
    </p:spTree>
    <p:extLst>
      <p:ext uri="{BB962C8B-B14F-4D97-AF65-F5344CB8AC3E}">
        <p14:creationId xmlns:p14="http://schemas.microsoft.com/office/powerpoint/2010/main" val="1500110489"/>
      </p:ext>
    </p:extLst>
  </p:cSld>
  <p:clrMap bg1="lt1" tx1="dk1" bg2="dk2" tx2="lt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663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a:solidFill>
                <a:srgbClr val="000000"/>
              </a:solidFill>
              <a:sym typeface="Arial" panose="020B0604020202020204" pitchFamily="34" charset="0"/>
            </a:endParaRPr>
          </a:p>
        </p:txBody>
      </p:sp>
      <p:pic>
        <p:nvPicPr>
          <p:cNvPr id="60" name="Picture 59">
            <a:extLst>
              <a:ext uri="{FF2B5EF4-FFF2-40B4-BE49-F238E27FC236}">
                <a16:creationId xmlns:a16="http://schemas.microsoft.com/office/drawing/2014/main" id="{9FE4C38E-EEF1-4805-B81B-F12EFF0BE60E}"/>
              </a:ext>
            </a:extLst>
          </p:cNvPr>
          <p:cNvPicPr/>
          <p:nvPr userDrawn="1"/>
        </p:nvPicPr>
        <p:blipFill>
          <a:blip r:embed="rId26" cstate="print">
            <a:extLst>
              <a:ext uri="{28A0092B-C50C-407E-A947-70E740481C1C}">
                <a14:useLocalDpi xmlns:a14="http://schemas.microsoft.com/office/drawing/2010/main" val="0"/>
              </a:ext>
            </a:extLst>
          </a:blip>
          <a:stretch>
            <a:fillRect/>
          </a:stretch>
        </p:blipFill>
        <p:spPr>
          <a:xfrm>
            <a:off x="10651240" y="6273876"/>
            <a:ext cx="1228910" cy="571875"/>
          </a:xfrm>
          <a:prstGeom prst="rect">
            <a:avLst/>
          </a:prstGeom>
          <a:ln>
            <a:noFill/>
          </a:ln>
          <a:effectLst/>
        </p:spPr>
      </p:pic>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1034" name="Working Draft" hidden="1"/>
          <p:cNvSpPr txBox="1">
            <a:spLocks noChangeArrowheads="1"/>
          </p:cNvSpPr>
          <p:nvPr/>
        </p:nvSpPr>
        <p:spPr bwMode="auto">
          <a:xfrm rot="5400000">
            <a:off x="11070249" y="2558276"/>
            <a:ext cx="205344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Last Modified 3/1/2020 11:19 PM E. Africa Standard Time</a:t>
            </a:r>
            <a:endParaRPr lang="en-US" sz="1632" kern="1200" dirty="0">
              <a:solidFill>
                <a:srgbClr val="808080"/>
              </a:solidFill>
              <a:latin typeface="Arial"/>
              <a:ea typeface="+mn-ea"/>
              <a:cs typeface="+mn-cs"/>
            </a:endParaRPr>
          </a:p>
        </p:txBody>
      </p:sp>
      <p:sp>
        <p:nvSpPr>
          <p:cNvPr id="1035" name="Printed" hidden="1"/>
          <p:cNvSpPr txBox="1">
            <a:spLocks noChangeArrowheads="1"/>
          </p:cNvSpPr>
          <p:nvPr/>
        </p:nvSpPr>
        <p:spPr bwMode="auto">
          <a:xfrm rot="5400000">
            <a:off x="11222532" y="4776256"/>
            <a:ext cx="174887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Printed 2/6/2020 1:46 PM E. Africa Standard Time</a:t>
            </a:r>
            <a:endParaRPr lang="en-US" sz="1632" kern="1200" dirty="0">
              <a:solidFill>
                <a:srgbClr val="808080"/>
              </a:solidFill>
              <a:latin typeface="Arial"/>
              <a:ea typeface="+mn-ea"/>
              <a:cs typeface="+mn-cs"/>
            </a:endParaRPr>
          </a:p>
        </p:txBody>
      </p:sp>
      <p:sp>
        <p:nvSpPr>
          <p:cNvPr id="104" name="Slide Number"/>
          <p:cNvSpPr txBox="1">
            <a:spLocks/>
          </p:cNvSpPr>
          <p:nvPr userDrawn="1"/>
        </p:nvSpPr>
        <p:spPr bwMode="auto">
          <a:xfrm>
            <a:off x="11929063" y="66312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kern="1200" smtClean="0">
                <a:ea typeface="+mn-ea"/>
                <a:cs typeface="+mn-cs"/>
              </a:rPr>
              <a:pPr algn="r" fontAlgn="base">
                <a:spcBef>
                  <a:spcPct val="0"/>
                </a:spcBef>
                <a:spcAft>
                  <a:spcPct val="0"/>
                </a:spcAft>
                <a:buClrTx/>
                <a:buFontTx/>
                <a:buNone/>
              </a:pPr>
              <a:t>‹Nr.›</a:t>
            </a:fld>
            <a:endParaRPr lang="en-US" kern="1200" dirty="0">
              <a:ea typeface="+mn-ea"/>
              <a:cs typeface="+mn-cs"/>
            </a:endParaRPr>
          </a:p>
        </p:txBody>
      </p:sp>
      <p:sp>
        <p:nvSpPr>
          <p:cNvPr id="19" name="Title Placeholder 2"/>
          <p:cNvSpPr>
            <a:spLocks noGrp="1" noChangeArrowheads="1"/>
          </p:cNvSpPr>
          <p:nvPr>
            <p:ph type="title"/>
          </p:nvPr>
        </p:nvSpPr>
        <p:spPr bwMode="auto">
          <a:xfrm>
            <a:off x="233259" y="433461"/>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233259" y="9525"/>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200" kern="1200" cap="all" dirty="0">
                <a:solidFill>
                  <a:srgbClr val="FFFFFF"/>
                </a:solidFill>
                <a:ea typeface="+mn-ea"/>
                <a:cs typeface="+mn-cs"/>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4" name="Slide Elements" hidden="1"/>
          <p:cNvGrpSpPr/>
          <p:nvPr userDrawn="1"/>
        </p:nvGrpSpPr>
        <p:grpSpPr bwMode="auto">
          <a:xfrm>
            <a:off x="233259" y="6425526"/>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000" kern="1200" dirty="0">
                  <a:solidFill>
                    <a:srgbClr val="000000"/>
                  </a:solidFill>
                  <a:latin typeface="Arial"/>
                  <a:ea typeface="+mn-ea"/>
                  <a:cs typeface="+mn-cs"/>
                </a:rPr>
                <a:t>1 Footnote</a:t>
              </a: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fontAlgn="base">
                <a:spcBef>
                  <a:spcPct val="0"/>
                </a:spcBef>
                <a:spcAft>
                  <a:spcPct val="0"/>
                </a:spcAft>
                <a:buClrTx/>
                <a:buFontTx/>
                <a:buNone/>
                <a:tabLst>
                  <a:tab pos="643032" algn="l"/>
                </a:tabLst>
              </a:pPr>
              <a:r>
                <a:rPr lang="en-US" sz="1000" kern="1200" dirty="0">
                  <a:ea typeface="+mn-ea"/>
                  <a:cs typeface="+mn-cs"/>
                </a:rPr>
                <a:t>SOURCE: 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976207"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grpSp>
        <p:nvGrpSpPr>
          <p:cNvPr id="63" name="LegendBoxes" hidden="1"/>
          <p:cNvGrpSpPr>
            <a:grpSpLocks/>
          </p:cNvGrpSpPr>
          <p:nvPr userDrawn="1"/>
        </p:nvGrpSpPr>
        <p:grpSpPr bwMode="auto">
          <a:xfrm>
            <a:off x="10940631" y="928783"/>
            <a:ext cx="848784" cy="996951"/>
            <a:chOff x="4936" y="176"/>
            <a:chExt cx="401" cy="628"/>
          </a:xfrm>
        </p:grpSpPr>
        <p:sp>
          <p:nvSpPr>
            <p:cNvPr id="64"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66"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68"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70"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72" name="LegendLines" hidden="1"/>
          <p:cNvGrpSpPr>
            <a:grpSpLocks/>
          </p:cNvGrpSpPr>
          <p:nvPr userDrawn="1"/>
        </p:nvGrpSpPr>
        <p:grpSpPr bwMode="auto">
          <a:xfrm>
            <a:off x="10529997" y="928783"/>
            <a:ext cx="1259418" cy="730251"/>
            <a:chOff x="4750" y="176"/>
            <a:chExt cx="59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6"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7"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8"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grpSp>
      <p:grpSp>
        <p:nvGrpSpPr>
          <p:cNvPr id="79" name="LegendMoons" hidden="1"/>
          <p:cNvGrpSpPr/>
          <p:nvPr userDrawn="1"/>
        </p:nvGrpSpPr>
        <p:grpSpPr bwMode="auto">
          <a:xfrm>
            <a:off x="10851499" y="928782"/>
            <a:ext cx="937321" cy="1306516"/>
            <a:chOff x="7875175" y="286625"/>
            <a:chExt cx="702991"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sp>
          <p:nvSpPr>
            <p:cNvPr id="83"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4"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5"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6"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87"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1" name="Arc 42" hidden="1"/>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grpSp>
        <p:nvGrpSpPr>
          <p:cNvPr id="100" name="McKSticker" hidden="1"/>
          <p:cNvGrpSpPr/>
          <p:nvPr userDrawn="1"/>
        </p:nvGrpSpPr>
        <p:grpSpPr bwMode="auto">
          <a:xfrm>
            <a:off x="10891855" y="928782"/>
            <a:ext cx="1066894" cy="212366"/>
            <a:chOff x="7940605" y="285750"/>
            <a:chExt cx="800170" cy="212366"/>
          </a:xfrm>
        </p:grpSpPr>
        <p:sp>
          <p:nvSpPr>
            <p:cNvPr id="101"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303D24"/>
                </a:buClr>
                <a:buFontTx/>
                <a:buNone/>
              </a:pPr>
              <a:r>
                <a:rPr lang="en-US" sz="1200" kern="1200" dirty="0">
                  <a:solidFill>
                    <a:srgbClr val="808080"/>
                  </a:solidFill>
                  <a:ea typeface="+mn-ea"/>
                  <a:cs typeface="+mn-cs"/>
                </a:rPr>
                <a:t>PRELIMINARY</a:t>
              </a:r>
            </a:p>
          </p:txBody>
        </p:sp>
        <p:cxnSp>
          <p:nvCxnSpPr>
            <p:cNvPr id="102" name="AutoShape 31"/>
            <p:cNvCxnSpPr>
              <a:cxnSpLocks noChangeShapeType="1"/>
              <a:stCxn id="101" idx="2"/>
              <a:endCxn id="101"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61" name="Picture 60" descr="African Union">
            <a:extLst>
              <a:ext uri="{FF2B5EF4-FFF2-40B4-BE49-F238E27FC236}">
                <a16:creationId xmlns:a16="http://schemas.microsoft.com/office/drawing/2014/main" id="{1619019E-065B-48EC-A656-4EEFB89A899B}"/>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29954" y="6303969"/>
            <a:ext cx="1228910" cy="522766"/>
          </a:xfrm>
          <a:prstGeom prst="rect">
            <a:avLst/>
          </a:prstGeom>
          <a:ln w="38100" cap="sq">
            <a:noFill/>
            <a:prstDash val="solid"/>
            <a:miter lim="800000"/>
          </a:ln>
          <a:effectLst/>
        </p:spPr>
      </p:pic>
    </p:spTree>
    <p:extLst>
      <p:ext uri="{BB962C8B-B14F-4D97-AF65-F5344CB8AC3E}">
        <p14:creationId xmlns:p14="http://schemas.microsoft.com/office/powerpoint/2010/main" val="145379167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Lst>
  <p:hf hdr="0" ftr="0" dt="0"/>
  <p:txStyles>
    <p:titleStyle>
      <a:lvl1pPr algn="l" defTabSz="913526" rtl="0" eaLnBrk="1" fontAlgn="base" hangingPunct="1">
        <a:spcBef>
          <a:spcPct val="0"/>
        </a:spcBef>
        <a:spcAft>
          <a:spcPct val="0"/>
        </a:spcAft>
        <a:tabLst>
          <a:tab pos="275353" algn="l"/>
        </a:tabLst>
        <a:defRPr sz="24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482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a:solidFill>
                <a:srgbClr val="000000"/>
              </a:solidFill>
              <a:sym typeface="Arial" panose="020B0604020202020204" pitchFamily="34" charset="0"/>
            </a:endParaRPr>
          </a:p>
        </p:txBody>
      </p:sp>
      <p:pic>
        <p:nvPicPr>
          <p:cNvPr id="60" name="Picture 59">
            <a:extLst>
              <a:ext uri="{FF2B5EF4-FFF2-40B4-BE49-F238E27FC236}">
                <a16:creationId xmlns:a16="http://schemas.microsoft.com/office/drawing/2014/main" id="{9FE4C38E-EEF1-4805-B81B-F12EFF0BE60E}"/>
              </a:ext>
            </a:extLst>
          </p:cNvPr>
          <p:cNvPicPr/>
          <p:nvPr userDrawn="1"/>
        </p:nvPicPr>
        <p:blipFill>
          <a:blip r:embed="rId26" cstate="print">
            <a:extLst>
              <a:ext uri="{28A0092B-C50C-407E-A947-70E740481C1C}">
                <a14:useLocalDpi xmlns:a14="http://schemas.microsoft.com/office/drawing/2010/main" val="0"/>
              </a:ext>
            </a:extLst>
          </a:blip>
          <a:stretch>
            <a:fillRect/>
          </a:stretch>
        </p:blipFill>
        <p:spPr>
          <a:xfrm>
            <a:off x="10651240" y="6273876"/>
            <a:ext cx="1228910" cy="571875"/>
          </a:xfrm>
          <a:prstGeom prst="rect">
            <a:avLst/>
          </a:prstGeom>
          <a:ln>
            <a:noFill/>
          </a:ln>
          <a:effectLst/>
        </p:spPr>
      </p:pic>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1034" name="Working Draft" hidden="1"/>
          <p:cNvSpPr txBox="1">
            <a:spLocks noChangeArrowheads="1"/>
          </p:cNvSpPr>
          <p:nvPr/>
        </p:nvSpPr>
        <p:spPr bwMode="auto">
          <a:xfrm rot="5400000">
            <a:off x="11127958" y="2558276"/>
            <a:ext cx="193803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Last Modified 6/9/2020 9:18 AM Eastern Standard Time</a:t>
            </a:r>
            <a:endParaRPr lang="en-US" sz="1632" kern="1200" dirty="0">
              <a:solidFill>
                <a:srgbClr val="808080"/>
              </a:solidFill>
              <a:latin typeface="Arial"/>
              <a:ea typeface="+mn-ea"/>
              <a:cs typeface="+mn-cs"/>
            </a:endParaRPr>
          </a:p>
        </p:txBody>
      </p:sp>
      <p:sp>
        <p:nvSpPr>
          <p:cNvPr id="1035" name="Printed" hidden="1"/>
          <p:cNvSpPr txBox="1">
            <a:spLocks noChangeArrowheads="1"/>
          </p:cNvSpPr>
          <p:nvPr/>
        </p:nvSpPr>
        <p:spPr bwMode="auto">
          <a:xfrm rot="5400000">
            <a:off x="11222532" y="4776256"/>
            <a:ext cx="174887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dirty="0">
                <a:solidFill>
                  <a:srgbClr val="808080"/>
                </a:solidFill>
                <a:latin typeface="Arial"/>
                <a:ea typeface="+mn-ea"/>
                <a:cs typeface="+mn-cs"/>
              </a:rPr>
              <a:t>Printed 2/6/2020 1:46 PM E. Africa Standard Time</a:t>
            </a:r>
            <a:endParaRPr lang="en-US" sz="1632" kern="1200" dirty="0">
              <a:solidFill>
                <a:srgbClr val="808080"/>
              </a:solidFill>
              <a:latin typeface="Arial"/>
              <a:ea typeface="+mn-ea"/>
              <a:cs typeface="+mn-cs"/>
            </a:endParaRPr>
          </a:p>
        </p:txBody>
      </p:sp>
      <p:sp>
        <p:nvSpPr>
          <p:cNvPr id="104" name="Slide Number"/>
          <p:cNvSpPr txBox="1">
            <a:spLocks/>
          </p:cNvSpPr>
          <p:nvPr userDrawn="1"/>
        </p:nvSpPr>
        <p:spPr bwMode="auto">
          <a:xfrm>
            <a:off x="11929063" y="66312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kern="1200" smtClean="0">
                <a:ea typeface="+mn-ea"/>
                <a:cs typeface="+mn-cs"/>
              </a:rPr>
              <a:pPr algn="r" fontAlgn="base">
                <a:spcBef>
                  <a:spcPct val="0"/>
                </a:spcBef>
                <a:spcAft>
                  <a:spcPct val="0"/>
                </a:spcAft>
                <a:buClrTx/>
                <a:buFontTx/>
                <a:buNone/>
              </a:pPr>
              <a:t>‹Nr.›</a:t>
            </a:fld>
            <a:endParaRPr lang="en-US" kern="1200" dirty="0">
              <a:ea typeface="+mn-ea"/>
              <a:cs typeface="+mn-cs"/>
            </a:endParaRPr>
          </a:p>
        </p:txBody>
      </p:sp>
      <p:sp>
        <p:nvSpPr>
          <p:cNvPr id="19" name="Title Placeholder 2"/>
          <p:cNvSpPr>
            <a:spLocks noGrp="1" noChangeArrowheads="1"/>
          </p:cNvSpPr>
          <p:nvPr>
            <p:ph type="title"/>
          </p:nvPr>
        </p:nvSpPr>
        <p:spPr bwMode="auto">
          <a:xfrm>
            <a:off x="233259" y="433461"/>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233259" y="9525"/>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200" kern="1200" cap="all" dirty="0">
                <a:solidFill>
                  <a:srgbClr val="FFFFFF"/>
                </a:solidFill>
                <a:ea typeface="+mn-ea"/>
                <a:cs typeface="+mn-cs"/>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4" name="Slide Elements" hidden="1"/>
          <p:cNvGrpSpPr/>
          <p:nvPr userDrawn="1"/>
        </p:nvGrpSpPr>
        <p:grpSpPr bwMode="auto">
          <a:xfrm>
            <a:off x="233259" y="6425526"/>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000" kern="1200" dirty="0">
                  <a:solidFill>
                    <a:srgbClr val="000000"/>
                  </a:solidFill>
                  <a:latin typeface="Arial"/>
                  <a:ea typeface="+mn-ea"/>
                  <a:cs typeface="+mn-cs"/>
                </a:rPr>
                <a:t>1 Footnote</a:t>
              </a: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fontAlgn="base">
                <a:spcBef>
                  <a:spcPct val="0"/>
                </a:spcBef>
                <a:spcAft>
                  <a:spcPct val="0"/>
                </a:spcAft>
                <a:buClrTx/>
                <a:buFontTx/>
                <a:buNone/>
                <a:tabLst>
                  <a:tab pos="643032" algn="l"/>
                </a:tabLst>
              </a:pPr>
              <a:r>
                <a:rPr lang="en-US" sz="1000" kern="1200" dirty="0">
                  <a:ea typeface="+mn-ea"/>
                  <a:cs typeface="+mn-cs"/>
                </a:rPr>
                <a:t>SOURCE: 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976207"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grpSp>
        <p:nvGrpSpPr>
          <p:cNvPr id="63" name="LegendBoxes" hidden="1"/>
          <p:cNvGrpSpPr>
            <a:grpSpLocks/>
          </p:cNvGrpSpPr>
          <p:nvPr userDrawn="1"/>
        </p:nvGrpSpPr>
        <p:grpSpPr bwMode="auto">
          <a:xfrm>
            <a:off x="10940631" y="928783"/>
            <a:ext cx="848784" cy="996951"/>
            <a:chOff x="4936" y="176"/>
            <a:chExt cx="401" cy="628"/>
          </a:xfrm>
        </p:grpSpPr>
        <p:sp>
          <p:nvSpPr>
            <p:cNvPr id="64"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66"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68"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70"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72" name="LegendLines" hidden="1"/>
          <p:cNvGrpSpPr>
            <a:grpSpLocks/>
          </p:cNvGrpSpPr>
          <p:nvPr userDrawn="1"/>
        </p:nvGrpSpPr>
        <p:grpSpPr bwMode="auto">
          <a:xfrm>
            <a:off x="10529997" y="928783"/>
            <a:ext cx="1259418" cy="730251"/>
            <a:chOff x="4750" y="176"/>
            <a:chExt cx="59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6"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7"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8"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grpSp>
        <p:nvGrpSpPr>
          <p:cNvPr id="79" name="LegendMoons" hidden="1"/>
          <p:cNvGrpSpPr/>
          <p:nvPr userDrawn="1"/>
        </p:nvGrpSpPr>
        <p:grpSpPr bwMode="auto">
          <a:xfrm>
            <a:off x="10851499" y="928782"/>
            <a:ext cx="937321" cy="1306516"/>
            <a:chOff x="7875175" y="286625"/>
            <a:chExt cx="702991"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sp>
          <p:nvSpPr>
            <p:cNvPr id="83"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4"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5"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6"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7"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1" name="Arc 42" hidden="1"/>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grpSp>
        <p:nvGrpSpPr>
          <p:cNvPr id="100" name="McKSticker" hidden="1"/>
          <p:cNvGrpSpPr/>
          <p:nvPr userDrawn="1"/>
        </p:nvGrpSpPr>
        <p:grpSpPr bwMode="auto">
          <a:xfrm>
            <a:off x="10891855" y="928782"/>
            <a:ext cx="1066894" cy="212366"/>
            <a:chOff x="7940605" y="285750"/>
            <a:chExt cx="800170" cy="212366"/>
          </a:xfrm>
        </p:grpSpPr>
        <p:sp>
          <p:nvSpPr>
            <p:cNvPr id="101"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303D24"/>
                </a:buClr>
                <a:buFontTx/>
                <a:buNone/>
              </a:pPr>
              <a:r>
                <a:rPr lang="en-US" sz="1200" kern="1200" dirty="0">
                  <a:solidFill>
                    <a:srgbClr val="808080"/>
                  </a:solidFill>
                  <a:ea typeface="+mn-ea"/>
                  <a:cs typeface="+mn-cs"/>
                </a:rPr>
                <a:t>PRELIMINARY</a:t>
              </a:r>
            </a:p>
          </p:txBody>
        </p:sp>
        <p:cxnSp>
          <p:nvCxnSpPr>
            <p:cNvPr id="102" name="AutoShape 31"/>
            <p:cNvCxnSpPr>
              <a:cxnSpLocks noChangeShapeType="1"/>
              <a:stCxn id="101" idx="2"/>
              <a:endCxn id="101"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61" name="Picture 60" descr="African Union">
            <a:extLst>
              <a:ext uri="{FF2B5EF4-FFF2-40B4-BE49-F238E27FC236}">
                <a16:creationId xmlns:a16="http://schemas.microsoft.com/office/drawing/2014/main" id="{1619019E-065B-48EC-A656-4EEFB89A899B}"/>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29954" y="6303969"/>
            <a:ext cx="1228910" cy="522766"/>
          </a:xfrm>
          <a:prstGeom prst="rect">
            <a:avLst/>
          </a:prstGeom>
          <a:ln w="38100" cap="sq">
            <a:noFill/>
            <a:prstDash val="solid"/>
            <a:miter lim="800000"/>
          </a:ln>
          <a:effectLst/>
        </p:spPr>
      </p:pic>
    </p:spTree>
    <p:extLst>
      <p:ext uri="{BB962C8B-B14F-4D97-AF65-F5344CB8AC3E}">
        <p14:creationId xmlns:p14="http://schemas.microsoft.com/office/powerpoint/2010/main" val="3910863328"/>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Lst>
  <p:hf hdr="0" ftr="0" dt="0"/>
  <p:txStyles>
    <p:titleStyle>
      <a:lvl1pPr algn="l" defTabSz="913526" rtl="0" eaLnBrk="1" fontAlgn="base" hangingPunct="1">
        <a:spcBef>
          <a:spcPct val="0"/>
        </a:spcBef>
        <a:spcAft>
          <a:spcPct val="0"/>
        </a:spcAft>
        <a:tabLst>
          <a:tab pos="275353" algn="l"/>
        </a:tabLst>
        <a:defRPr sz="24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85"/>
        <p:cNvGrpSpPr/>
        <p:nvPr/>
      </p:nvGrpSpPr>
      <p:grpSpPr>
        <a:xfrm>
          <a:off x="0" y="0"/>
          <a:ext cx="0" cy="0"/>
          <a:chOff x="0" y="0"/>
          <a:chExt cx="0" cy="0"/>
        </a:xfrm>
      </p:grpSpPr>
      <p:sp>
        <p:nvSpPr>
          <p:cNvPr id="186" name="Google Shape;186;p28"/>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53575A"/>
              </a:buClr>
              <a:buSzPts val="4400"/>
              <a:buFont typeface="Arial"/>
              <a:buNone/>
              <a:defRPr sz="4400" b="1" i="0" u="none" strike="noStrike" cap="none">
                <a:solidFill>
                  <a:srgbClr val="53575A"/>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87" name="Google Shape;187;p28"/>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rgbClr val="53575A"/>
              </a:buClr>
              <a:buSzPts val="2800"/>
              <a:buFont typeface="Arial"/>
              <a:buChar char="•"/>
              <a:defRPr sz="2800" b="0" i="0" u="none" strike="noStrike" cap="none">
                <a:solidFill>
                  <a:srgbClr val="53575A"/>
                </a:solidFill>
                <a:latin typeface="Arial"/>
                <a:ea typeface="Arial"/>
                <a:cs typeface="Arial"/>
                <a:sym typeface="Arial"/>
              </a:defRPr>
            </a:lvl1pPr>
            <a:lvl2pPr marL="914400" marR="0" lvl="1" indent="-381000" algn="l" rtl="0">
              <a:lnSpc>
                <a:spcPct val="90000"/>
              </a:lnSpc>
              <a:spcBef>
                <a:spcPts val="500"/>
              </a:spcBef>
              <a:spcAft>
                <a:spcPts val="0"/>
              </a:spcAft>
              <a:buClr>
                <a:srgbClr val="53575A"/>
              </a:buClr>
              <a:buSzPts val="2400"/>
              <a:buFont typeface="Arial"/>
              <a:buChar char="•"/>
              <a:defRPr sz="2400" b="0" i="0" u="none" strike="noStrike" cap="none">
                <a:solidFill>
                  <a:srgbClr val="53575A"/>
                </a:solidFill>
                <a:latin typeface="Arial"/>
                <a:ea typeface="Arial"/>
                <a:cs typeface="Arial"/>
                <a:sym typeface="Arial"/>
              </a:defRPr>
            </a:lvl2pPr>
            <a:lvl3pPr marL="1371600" marR="0" lvl="2" indent="-355600" algn="l" rtl="0">
              <a:lnSpc>
                <a:spcPct val="90000"/>
              </a:lnSpc>
              <a:spcBef>
                <a:spcPts val="500"/>
              </a:spcBef>
              <a:spcAft>
                <a:spcPts val="0"/>
              </a:spcAft>
              <a:buClr>
                <a:srgbClr val="53575A"/>
              </a:buClr>
              <a:buSzPts val="2000"/>
              <a:buFont typeface="Arial"/>
              <a:buChar char="•"/>
              <a:defRPr sz="2000" b="0" i="0" u="none" strike="noStrike" cap="none">
                <a:solidFill>
                  <a:srgbClr val="53575A"/>
                </a:solidFill>
                <a:latin typeface="Arial"/>
                <a:ea typeface="Arial"/>
                <a:cs typeface="Arial"/>
                <a:sym typeface="Arial"/>
              </a:defRPr>
            </a:lvl3pPr>
            <a:lvl4pPr marL="1828800" marR="0" lvl="3"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4pPr>
            <a:lvl5pPr marL="2286000" marR="0" lvl="4"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8" name="Google Shape;188;p28"/>
          <p:cNvSpPr txBox="1">
            <a:spLocks noGrp="1"/>
          </p:cNvSpPr>
          <p:nvPr>
            <p:ph type="dt" idx="10"/>
          </p:nvPr>
        </p:nvSpPr>
        <p:spPr>
          <a:xfrm>
            <a:off x="838200" y="6356350"/>
            <a:ext cx="2743200" cy="3651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9" name="Google Shape;189;p28"/>
          <p:cNvSpPr txBox="1">
            <a:spLocks noGrp="1"/>
          </p:cNvSpPr>
          <p:nvPr>
            <p:ph type="ftr" idx="11"/>
          </p:nvPr>
        </p:nvSpPr>
        <p:spPr>
          <a:xfrm>
            <a:off x="7687056" y="6356350"/>
            <a:ext cx="4114800" cy="365100"/>
          </a:xfrm>
          <a:prstGeom prst="rect">
            <a:avLst/>
          </a:prstGeom>
          <a:noFill/>
          <a:ln>
            <a:noFill/>
          </a:ln>
        </p:spPr>
        <p:txBody>
          <a:bodyPr spcFirstLastPara="1" wrap="square" lIns="91425" tIns="45700" rIns="91425" bIns="45700" anchor="ctr" anchorCtr="0">
            <a:noAutofit/>
          </a:bodyPr>
          <a:lstStyle>
            <a:lvl1pPr marR="0" lvl="0" algn="r"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5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a:solidFill>
                <a:srgbClr val="000000"/>
              </a:solidFill>
              <a:sym typeface="Arial" panose="020B0604020202020204" pitchFamily="34" charset="0"/>
            </a:endParaRPr>
          </a:p>
        </p:txBody>
      </p:sp>
      <p:pic>
        <p:nvPicPr>
          <p:cNvPr id="60" name="Picture 59">
            <a:extLst>
              <a:ext uri="{FF2B5EF4-FFF2-40B4-BE49-F238E27FC236}">
                <a16:creationId xmlns:a16="http://schemas.microsoft.com/office/drawing/2014/main" id="{9FE4C38E-EEF1-4805-B81B-F12EFF0BE60E}"/>
              </a:ext>
            </a:extLst>
          </p:cNvPr>
          <p:cNvPicPr/>
          <p:nvPr userDrawn="1"/>
        </p:nvPicPr>
        <p:blipFill>
          <a:blip r:embed="rId26" cstate="print">
            <a:extLst>
              <a:ext uri="{28A0092B-C50C-407E-A947-70E740481C1C}">
                <a14:useLocalDpi xmlns:a14="http://schemas.microsoft.com/office/drawing/2010/main" val="0"/>
              </a:ext>
            </a:extLst>
          </a:blip>
          <a:stretch>
            <a:fillRect/>
          </a:stretch>
        </p:blipFill>
        <p:spPr>
          <a:xfrm>
            <a:off x="10651240" y="6273876"/>
            <a:ext cx="1228910" cy="571875"/>
          </a:xfrm>
          <a:prstGeom prst="rect">
            <a:avLst/>
          </a:prstGeom>
          <a:ln>
            <a:noFill/>
          </a:ln>
          <a:effectLst/>
        </p:spPr>
      </p:pic>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1034" name="Working Draft" hidden="1"/>
          <p:cNvSpPr txBox="1">
            <a:spLocks noChangeArrowheads="1"/>
          </p:cNvSpPr>
          <p:nvPr/>
        </p:nvSpPr>
        <p:spPr bwMode="auto">
          <a:xfrm rot="5400000">
            <a:off x="11127958" y="2558276"/>
            <a:ext cx="193803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Last Modified 6/9/2020 9:18 AM Eastern Standard Time</a:t>
            </a:r>
            <a:endParaRPr lang="en-US" sz="1632" kern="1200" dirty="0">
              <a:solidFill>
                <a:srgbClr val="808080"/>
              </a:solidFill>
              <a:latin typeface="Arial"/>
              <a:ea typeface="+mn-ea"/>
              <a:cs typeface="+mn-cs"/>
            </a:endParaRPr>
          </a:p>
        </p:txBody>
      </p:sp>
      <p:sp>
        <p:nvSpPr>
          <p:cNvPr id="1035" name="Printed" hidden="1"/>
          <p:cNvSpPr txBox="1">
            <a:spLocks noChangeArrowheads="1"/>
          </p:cNvSpPr>
          <p:nvPr/>
        </p:nvSpPr>
        <p:spPr bwMode="auto">
          <a:xfrm rot="5400000">
            <a:off x="11222532" y="4776256"/>
            <a:ext cx="174887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dirty="0">
                <a:solidFill>
                  <a:srgbClr val="808080"/>
                </a:solidFill>
                <a:latin typeface="Arial"/>
                <a:ea typeface="+mn-ea"/>
                <a:cs typeface="+mn-cs"/>
              </a:rPr>
              <a:t>Printed 2/6/2020 1:46 PM E. Africa Standard Time</a:t>
            </a:r>
            <a:endParaRPr lang="en-US" sz="1632" kern="1200" dirty="0">
              <a:solidFill>
                <a:srgbClr val="808080"/>
              </a:solidFill>
              <a:latin typeface="Arial"/>
              <a:ea typeface="+mn-ea"/>
              <a:cs typeface="+mn-cs"/>
            </a:endParaRPr>
          </a:p>
        </p:txBody>
      </p:sp>
      <p:sp>
        <p:nvSpPr>
          <p:cNvPr id="104" name="Slide Number"/>
          <p:cNvSpPr txBox="1">
            <a:spLocks/>
          </p:cNvSpPr>
          <p:nvPr userDrawn="1"/>
        </p:nvSpPr>
        <p:spPr bwMode="auto">
          <a:xfrm>
            <a:off x="11929063" y="66312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kern="1200" smtClean="0">
                <a:ea typeface="+mn-ea"/>
                <a:cs typeface="+mn-cs"/>
              </a:rPr>
              <a:pPr algn="r" fontAlgn="base">
                <a:spcBef>
                  <a:spcPct val="0"/>
                </a:spcBef>
                <a:spcAft>
                  <a:spcPct val="0"/>
                </a:spcAft>
                <a:buClrTx/>
                <a:buFontTx/>
                <a:buNone/>
              </a:pPr>
              <a:t>‹Nr.›</a:t>
            </a:fld>
            <a:endParaRPr lang="en-US" kern="1200" dirty="0">
              <a:ea typeface="+mn-ea"/>
              <a:cs typeface="+mn-cs"/>
            </a:endParaRPr>
          </a:p>
        </p:txBody>
      </p:sp>
      <p:sp>
        <p:nvSpPr>
          <p:cNvPr id="19" name="Title Placeholder 2"/>
          <p:cNvSpPr>
            <a:spLocks noGrp="1" noChangeArrowheads="1"/>
          </p:cNvSpPr>
          <p:nvPr>
            <p:ph type="title"/>
          </p:nvPr>
        </p:nvSpPr>
        <p:spPr bwMode="auto">
          <a:xfrm>
            <a:off x="233259" y="433461"/>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233259" y="9525"/>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200" kern="1200" cap="all" dirty="0">
                <a:solidFill>
                  <a:srgbClr val="FFFFFF"/>
                </a:solidFill>
                <a:ea typeface="+mn-ea"/>
                <a:cs typeface="+mn-cs"/>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4" name="Slide Elements" hidden="1"/>
          <p:cNvGrpSpPr/>
          <p:nvPr userDrawn="1"/>
        </p:nvGrpSpPr>
        <p:grpSpPr bwMode="auto">
          <a:xfrm>
            <a:off x="233259" y="6425526"/>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000" kern="1200" dirty="0">
                  <a:solidFill>
                    <a:srgbClr val="000000"/>
                  </a:solidFill>
                  <a:latin typeface="Arial"/>
                  <a:ea typeface="+mn-ea"/>
                  <a:cs typeface="+mn-cs"/>
                </a:rPr>
                <a:t>1 Footnote</a:t>
              </a: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fontAlgn="base">
                <a:spcBef>
                  <a:spcPct val="0"/>
                </a:spcBef>
                <a:spcAft>
                  <a:spcPct val="0"/>
                </a:spcAft>
                <a:buClrTx/>
                <a:buFontTx/>
                <a:buNone/>
                <a:tabLst>
                  <a:tab pos="643032" algn="l"/>
                </a:tabLst>
              </a:pPr>
              <a:r>
                <a:rPr lang="en-US" sz="1000" kern="1200" dirty="0">
                  <a:ea typeface="+mn-ea"/>
                  <a:cs typeface="+mn-cs"/>
                </a:rPr>
                <a:t>SOURCE: 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976207"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grpSp>
        <p:nvGrpSpPr>
          <p:cNvPr id="63" name="LegendBoxes" hidden="1"/>
          <p:cNvGrpSpPr>
            <a:grpSpLocks/>
          </p:cNvGrpSpPr>
          <p:nvPr userDrawn="1"/>
        </p:nvGrpSpPr>
        <p:grpSpPr bwMode="auto">
          <a:xfrm>
            <a:off x="10940631" y="928783"/>
            <a:ext cx="848784" cy="996951"/>
            <a:chOff x="4936" y="176"/>
            <a:chExt cx="401" cy="628"/>
          </a:xfrm>
        </p:grpSpPr>
        <p:sp>
          <p:nvSpPr>
            <p:cNvPr id="64"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66"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68"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70"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72" name="LegendLines" hidden="1"/>
          <p:cNvGrpSpPr>
            <a:grpSpLocks/>
          </p:cNvGrpSpPr>
          <p:nvPr userDrawn="1"/>
        </p:nvGrpSpPr>
        <p:grpSpPr bwMode="auto">
          <a:xfrm>
            <a:off x="10529997" y="928783"/>
            <a:ext cx="1259418" cy="730251"/>
            <a:chOff x="4750" y="176"/>
            <a:chExt cx="59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6"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7"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8"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grpSp>
        <p:nvGrpSpPr>
          <p:cNvPr id="79" name="LegendMoons" hidden="1"/>
          <p:cNvGrpSpPr/>
          <p:nvPr userDrawn="1"/>
        </p:nvGrpSpPr>
        <p:grpSpPr bwMode="auto">
          <a:xfrm>
            <a:off x="10851499" y="928782"/>
            <a:ext cx="937321" cy="1306516"/>
            <a:chOff x="7875175" y="286625"/>
            <a:chExt cx="702991"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sp>
          <p:nvSpPr>
            <p:cNvPr id="83"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4"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5"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6"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7"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1" name="Arc 42" hidden="1"/>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grpSp>
        <p:nvGrpSpPr>
          <p:cNvPr id="100" name="McKSticker" hidden="1"/>
          <p:cNvGrpSpPr/>
          <p:nvPr userDrawn="1"/>
        </p:nvGrpSpPr>
        <p:grpSpPr bwMode="auto">
          <a:xfrm>
            <a:off x="10891855" y="928782"/>
            <a:ext cx="1066894" cy="212366"/>
            <a:chOff x="7940605" y="285750"/>
            <a:chExt cx="800170" cy="212366"/>
          </a:xfrm>
        </p:grpSpPr>
        <p:sp>
          <p:nvSpPr>
            <p:cNvPr id="101"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303D24"/>
                </a:buClr>
                <a:buFontTx/>
                <a:buNone/>
              </a:pPr>
              <a:r>
                <a:rPr lang="en-US" sz="1200" kern="1200" dirty="0">
                  <a:solidFill>
                    <a:srgbClr val="808080"/>
                  </a:solidFill>
                  <a:ea typeface="+mn-ea"/>
                  <a:cs typeface="+mn-cs"/>
                </a:rPr>
                <a:t>PRELIMINARY</a:t>
              </a:r>
            </a:p>
          </p:txBody>
        </p:sp>
        <p:cxnSp>
          <p:nvCxnSpPr>
            <p:cNvPr id="102" name="AutoShape 31"/>
            <p:cNvCxnSpPr>
              <a:cxnSpLocks noChangeShapeType="1"/>
              <a:stCxn id="101" idx="2"/>
              <a:endCxn id="101"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61" name="Picture 60" descr="African Union">
            <a:extLst>
              <a:ext uri="{FF2B5EF4-FFF2-40B4-BE49-F238E27FC236}">
                <a16:creationId xmlns:a16="http://schemas.microsoft.com/office/drawing/2014/main" id="{1619019E-065B-48EC-A656-4EEFB89A899B}"/>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29954" y="6303969"/>
            <a:ext cx="1228910" cy="522766"/>
          </a:xfrm>
          <a:prstGeom prst="rect">
            <a:avLst/>
          </a:prstGeom>
          <a:ln w="38100" cap="sq">
            <a:noFill/>
            <a:prstDash val="solid"/>
            <a:miter lim="800000"/>
          </a:ln>
          <a:effectLst/>
        </p:spPr>
      </p:pic>
    </p:spTree>
    <p:extLst>
      <p:ext uri="{BB962C8B-B14F-4D97-AF65-F5344CB8AC3E}">
        <p14:creationId xmlns:p14="http://schemas.microsoft.com/office/powerpoint/2010/main" val="345918187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hf hdr="0" ftr="0" dt="0"/>
  <p:txStyles>
    <p:titleStyle>
      <a:lvl1pPr algn="l" defTabSz="913526" rtl="0" eaLnBrk="1" fontAlgn="base" hangingPunct="1">
        <a:spcBef>
          <a:spcPct val="0"/>
        </a:spcBef>
        <a:spcAft>
          <a:spcPct val="0"/>
        </a:spcAft>
        <a:tabLst>
          <a:tab pos="275353" algn="l"/>
        </a:tabLst>
        <a:defRPr sz="24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7197"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a:solidFill>
                <a:srgbClr val="000000"/>
              </a:solidFill>
              <a:sym typeface="Arial" panose="020B0604020202020204" pitchFamily="34" charset="0"/>
            </a:endParaRPr>
          </a:p>
        </p:txBody>
      </p:sp>
      <p:pic>
        <p:nvPicPr>
          <p:cNvPr id="60" name="Picture 59">
            <a:extLst>
              <a:ext uri="{FF2B5EF4-FFF2-40B4-BE49-F238E27FC236}">
                <a16:creationId xmlns:a16="http://schemas.microsoft.com/office/drawing/2014/main" id="{9FE4C38E-EEF1-4805-B81B-F12EFF0BE60E}"/>
              </a:ext>
            </a:extLst>
          </p:cNvPr>
          <p:cNvPicPr/>
          <p:nvPr userDrawn="1"/>
        </p:nvPicPr>
        <p:blipFill>
          <a:blip r:embed="rId28" cstate="print">
            <a:extLst>
              <a:ext uri="{28A0092B-C50C-407E-A947-70E740481C1C}">
                <a14:useLocalDpi xmlns:a14="http://schemas.microsoft.com/office/drawing/2010/main" val="0"/>
              </a:ext>
            </a:extLst>
          </a:blip>
          <a:stretch>
            <a:fillRect/>
          </a:stretch>
        </p:blipFill>
        <p:spPr>
          <a:xfrm>
            <a:off x="10651240" y="6273876"/>
            <a:ext cx="1228910" cy="571875"/>
          </a:xfrm>
          <a:prstGeom prst="rect">
            <a:avLst/>
          </a:prstGeom>
          <a:ln>
            <a:noFill/>
          </a:ln>
          <a:effectLst/>
        </p:spPr>
      </p:pic>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1034" name="Working Draft" hidden="1"/>
          <p:cNvSpPr txBox="1">
            <a:spLocks noChangeArrowheads="1"/>
          </p:cNvSpPr>
          <p:nvPr/>
        </p:nvSpPr>
        <p:spPr bwMode="auto">
          <a:xfrm rot="5400000">
            <a:off x="11091890" y="2558276"/>
            <a:ext cx="2010166"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Last Modified 4/8/2020 11:07 AM Eastern Standard Time</a:t>
            </a:r>
            <a:endParaRPr lang="en-US" sz="1632" kern="1200" dirty="0">
              <a:solidFill>
                <a:srgbClr val="808080"/>
              </a:solidFill>
              <a:latin typeface="Arial"/>
              <a:ea typeface="+mn-ea"/>
              <a:cs typeface="+mn-cs"/>
            </a:endParaRPr>
          </a:p>
        </p:txBody>
      </p:sp>
      <p:sp>
        <p:nvSpPr>
          <p:cNvPr id="1035" name="Printed" hidden="1"/>
          <p:cNvSpPr txBox="1">
            <a:spLocks noChangeArrowheads="1"/>
          </p:cNvSpPr>
          <p:nvPr/>
        </p:nvSpPr>
        <p:spPr bwMode="auto">
          <a:xfrm rot="5400000">
            <a:off x="11222532" y="4776256"/>
            <a:ext cx="174887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Printed 2/6/2020 1:46 PM E. Africa Standard Time</a:t>
            </a:r>
            <a:endParaRPr lang="en-US" sz="1632" kern="1200" dirty="0">
              <a:solidFill>
                <a:srgbClr val="808080"/>
              </a:solidFill>
              <a:latin typeface="Arial"/>
              <a:ea typeface="+mn-ea"/>
              <a:cs typeface="+mn-cs"/>
            </a:endParaRPr>
          </a:p>
        </p:txBody>
      </p:sp>
      <p:sp>
        <p:nvSpPr>
          <p:cNvPr id="104" name="Slide Number"/>
          <p:cNvSpPr txBox="1">
            <a:spLocks/>
          </p:cNvSpPr>
          <p:nvPr userDrawn="1"/>
        </p:nvSpPr>
        <p:spPr bwMode="auto">
          <a:xfrm>
            <a:off x="11929063" y="66312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kern="1200" smtClean="0">
                <a:ea typeface="+mn-ea"/>
                <a:cs typeface="+mn-cs"/>
              </a:rPr>
              <a:pPr algn="r" fontAlgn="base">
                <a:spcBef>
                  <a:spcPct val="0"/>
                </a:spcBef>
                <a:spcAft>
                  <a:spcPct val="0"/>
                </a:spcAft>
                <a:buClrTx/>
                <a:buFontTx/>
                <a:buNone/>
              </a:pPr>
              <a:t>‹Nr.›</a:t>
            </a:fld>
            <a:endParaRPr lang="en-US" kern="1200" dirty="0">
              <a:ea typeface="+mn-ea"/>
              <a:cs typeface="+mn-cs"/>
            </a:endParaRPr>
          </a:p>
        </p:txBody>
      </p:sp>
      <p:sp>
        <p:nvSpPr>
          <p:cNvPr id="19" name="Title Placeholder 2"/>
          <p:cNvSpPr>
            <a:spLocks noGrp="1" noChangeArrowheads="1"/>
          </p:cNvSpPr>
          <p:nvPr>
            <p:ph type="title"/>
          </p:nvPr>
        </p:nvSpPr>
        <p:spPr bwMode="auto">
          <a:xfrm>
            <a:off x="233259" y="433461"/>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233259" y="9525"/>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200" kern="1200" cap="all" dirty="0">
                <a:solidFill>
                  <a:srgbClr val="FFFFFF"/>
                </a:solidFill>
                <a:ea typeface="+mn-ea"/>
                <a:cs typeface="+mn-cs"/>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4" name="Slide Elements" hidden="1"/>
          <p:cNvGrpSpPr/>
          <p:nvPr userDrawn="1"/>
        </p:nvGrpSpPr>
        <p:grpSpPr bwMode="auto">
          <a:xfrm>
            <a:off x="233259" y="6425526"/>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000" kern="1200" dirty="0">
                  <a:solidFill>
                    <a:srgbClr val="000000"/>
                  </a:solidFill>
                  <a:latin typeface="Arial"/>
                  <a:ea typeface="+mn-ea"/>
                  <a:cs typeface="+mn-cs"/>
                </a:rPr>
                <a:t>1 Footnote</a:t>
              </a: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fontAlgn="base">
                <a:spcBef>
                  <a:spcPct val="0"/>
                </a:spcBef>
                <a:spcAft>
                  <a:spcPct val="0"/>
                </a:spcAft>
                <a:buClrTx/>
                <a:buFontTx/>
                <a:buNone/>
                <a:tabLst>
                  <a:tab pos="643032" algn="l"/>
                </a:tabLst>
              </a:pPr>
              <a:r>
                <a:rPr lang="en-US" sz="1000" kern="1200" dirty="0">
                  <a:ea typeface="+mn-ea"/>
                  <a:cs typeface="+mn-cs"/>
                </a:rPr>
                <a:t>SOURCE: 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976207"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grpSp>
        <p:nvGrpSpPr>
          <p:cNvPr id="63" name="LegendBoxes" hidden="1"/>
          <p:cNvGrpSpPr>
            <a:grpSpLocks/>
          </p:cNvGrpSpPr>
          <p:nvPr userDrawn="1"/>
        </p:nvGrpSpPr>
        <p:grpSpPr bwMode="auto">
          <a:xfrm>
            <a:off x="10940631" y="928783"/>
            <a:ext cx="848784" cy="996951"/>
            <a:chOff x="4936" y="176"/>
            <a:chExt cx="401" cy="628"/>
          </a:xfrm>
        </p:grpSpPr>
        <p:sp>
          <p:nvSpPr>
            <p:cNvPr id="64"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66"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68"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70"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72" name="LegendLines" hidden="1"/>
          <p:cNvGrpSpPr>
            <a:grpSpLocks/>
          </p:cNvGrpSpPr>
          <p:nvPr userDrawn="1"/>
        </p:nvGrpSpPr>
        <p:grpSpPr bwMode="auto">
          <a:xfrm>
            <a:off x="10529997" y="928783"/>
            <a:ext cx="1259418" cy="730251"/>
            <a:chOff x="4750" y="176"/>
            <a:chExt cx="59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6"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7"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8"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grpSp>
      <p:grpSp>
        <p:nvGrpSpPr>
          <p:cNvPr id="79" name="LegendMoons" hidden="1"/>
          <p:cNvGrpSpPr/>
          <p:nvPr userDrawn="1"/>
        </p:nvGrpSpPr>
        <p:grpSpPr bwMode="auto">
          <a:xfrm>
            <a:off x="10851499" y="928782"/>
            <a:ext cx="937321" cy="1306516"/>
            <a:chOff x="7875175" y="286625"/>
            <a:chExt cx="702991" cy="1306516"/>
          </a:xfrm>
        </p:grpSpPr>
        <p:grpSp>
          <p:nvGrpSpPr>
            <p:cNvPr id="80" name="MoonLegend2"/>
            <p:cNvGrpSpPr>
              <a:grpSpLocks noChangeAspect="1"/>
            </p:cNvGrpSpPr>
            <p:nvPr>
              <p:custDataLst>
                <p:tags r:id="rId11"/>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9" name="Arc 42"/>
              <p:cNvSpPr>
                <a:spLocks noChangeAspect="1"/>
              </p:cNvSpPr>
              <p:nvPr>
                <p:custDataLst>
                  <p:tags r:id="rId2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1" name="MoonLegend4"/>
            <p:cNvGrpSpPr>
              <a:grpSpLocks noChangeAspect="1"/>
            </p:cNvGrpSpPr>
            <p:nvPr>
              <p:custDataLst>
                <p:tags r:id="rId12"/>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7"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2" name="MoonLegend5"/>
            <p:cNvGrpSpPr>
              <a:grpSpLocks noChangeAspect="1"/>
            </p:cNvGrpSpPr>
            <p:nvPr>
              <p:custDataLst>
                <p:tags r:id="rId13"/>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5"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sp>
          <p:nvSpPr>
            <p:cNvPr id="83"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4"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5"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6"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87"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nvGrpSpPr>
            <p:cNvPr id="88" name="MoonLegend3"/>
            <p:cNvGrpSpPr>
              <a:grpSpLocks noChangeAspect="1"/>
            </p:cNvGrpSpPr>
            <p:nvPr>
              <p:custDataLst>
                <p:tags r:id="rId14"/>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3"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9" name="MoonLegend1"/>
            <p:cNvGrpSpPr>
              <a:grpSpLocks noChangeAspect="1"/>
            </p:cNvGrpSpPr>
            <p:nvPr userDrawn="1">
              <p:custDataLst>
                <p:tags r:id="rId15"/>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1" name="Arc 42" hidden="1"/>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grpSp>
        <p:nvGrpSpPr>
          <p:cNvPr id="100" name="McKSticker" hidden="1"/>
          <p:cNvGrpSpPr/>
          <p:nvPr userDrawn="1"/>
        </p:nvGrpSpPr>
        <p:grpSpPr bwMode="auto">
          <a:xfrm>
            <a:off x="10891855" y="928782"/>
            <a:ext cx="1066894" cy="212366"/>
            <a:chOff x="7940605" y="285750"/>
            <a:chExt cx="800170" cy="212366"/>
          </a:xfrm>
        </p:grpSpPr>
        <p:sp>
          <p:nvSpPr>
            <p:cNvPr id="101"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303D24"/>
                </a:buClr>
                <a:buFontTx/>
                <a:buNone/>
              </a:pPr>
              <a:r>
                <a:rPr lang="en-US" sz="1200" kern="1200" dirty="0">
                  <a:solidFill>
                    <a:srgbClr val="808080"/>
                  </a:solidFill>
                  <a:ea typeface="+mn-ea"/>
                  <a:cs typeface="+mn-cs"/>
                </a:rPr>
                <a:t>PRELIMINARY</a:t>
              </a:r>
            </a:p>
          </p:txBody>
        </p:sp>
        <p:cxnSp>
          <p:nvCxnSpPr>
            <p:cNvPr id="102" name="AutoShape 31"/>
            <p:cNvCxnSpPr>
              <a:cxnSpLocks noChangeShapeType="1"/>
              <a:stCxn id="101" idx="2"/>
              <a:endCxn id="101"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61" name="Picture 60" descr="African Union">
            <a:extLst>
              <a:ext uri="{FF2B5EF4-FFF2-40B4-BE49-F238E27FC236}">
                <a16:creationId xmlns:a16="http://schemas.microsoft.com/office/drawing/2014/main" id="{1619019E-065B-48EC-A656-4EEFB89A899B}"/>
              </a:ext>
            </a:extLst>
          </p:cNvPr>
          <p:cNvPicPr>
            <a:picLocks noChangeAspect="1" noChangeArrowheads="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29954" y="6303969"/>
            <a:ext cx="1228910" cy="522766"/>
          </a:xfrm>
          <a:prstGeom prst="rect">
            <a:avLst/>
          </a:prstGeom>
          <a:ln w="38100" cap="sq">
            <a:noFill/>
            <a:prstDash val="solid"/>
            <a:miter lim="800000"/>
          </a:ln>
          <a:effectLst/>
        </p:spPr>
      </p:pic>
    </p:spTree>
    <p:extLst>
      <p:ext uri="{BB962C8B-B14F-4D97-AF65-F5344CB8AC3E}">
        <p14:creationId xmlns:p14="http://schemas.microsoft.com/office/powerpoint/2010/main" val="798453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hf hdr="0" ftr="0" dt="0"/>
  <p:txStyles>
    <p:titleStyle>
      <a:lvl1pPr algn="l" defTabSz="913526" rtl="0" eaLnBrk="1" fontAlgn="base" hangingPunct="1">
        <a:spcBef>
          <a:spcPct val="0"/>
        </a:spcBef>
        <a:spcAft>
          <a:spcPct val="0"/>
        </a:spcAft>
        <a:tabLst>
          <a:tab pos="275353" algn="l"/>
        </a:tabLst>
        <a:defRPr sz="24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435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a:solidFill>
                <a:srgbClr val="000000"/>
              </a:solidFill>
              <a:sym typeface="Arial" panose="020B0604020202020204" pitchFamily="34" charset="0"/>
            </a:endParaRPr>
          </a:p>
        </p:txBody>
      </p:sp>
      <p:pic>
        <p:nvPicPr>
          <p:cNvPr id="60" name="Picture 59">
            <a:extLst>
              <a:ext uri="{FF2B5EF4-FFF2-40B4-BE49-F238E27FC236}">
                <a16:creationId xmlns:a16="http://schemas.microsoft.com/office/drawing/2014/main" id="{9FE4C38E-EEF1-4805-B81B-F12EFF0BE60E}"/>
              </a:ext>
            </a:extLst>
          </p:cNvPr>
          <p:cNvPicPr/>
          <p:nvPr userDrawn="1"/>
        </p:nvPicPr>
        <p:blipFill>
          <a:blip r:embed="rId26" cstate="print">
            <a:extLst>
              <a:ext uri="{28A0092B-C50C-407E-A947-70E740481C1C}">
                <a14:useLocalDpi xmlns:a14="http://schemas.microsoft.com/office/drawing/2010/main" val="0"/>
              </a:ext>
            </a:extLst>
          </a:blip>
          <a:stretch>
            <a:fillRect/>
          </a:stretch>
        </p:blipFill>
        <p:spPr>
          <a:xfrm>
            <a:off x="10651240" y="6273876"/>
            <a:ext cx="1228910" cy="571875"/>
          </a:xfrm>
          <a:prstGeom prst="rect">
            <a:avLst/>
          </a:prstGeom>
          <a:ln>
            <a:noFill/>
          </a:ln>
          <a:effectLst/>
        </p:spPr>
      </p:pic>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err="1">
              <a:solidFill>
                <a:srgbClr val="000000"/>
              </a:solidFill>
            </a:endParaRPr>
          </a:p>
        </p:txBody>
      </p:sp>
      <p:sp>
        <p:nvSpPr>
          <p:cNvPr id="1034" name="Working Draft" hidden="1"/>
          <p:cNvSpPr txBox="1">
            <a:spLocks noChangeArrowheads="1"/>
          </p:cNvSpPr>
          <p:nvPr/>
        </p:nvSpPr>
        <p:spPr bwMode="auto">
          <a:xfrm rot="5400000">
            <a:off x="11091890" y="2558276"/>
            <a:ext cx="2010166"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Last Modified 4/14/2020 7:27 PM E. Africa Standard Time</a:t>
            </a:r>
            <a:endParaRPr lang="en-US" sz="1632" kern="1200" dirty="0">
              <a:solidFill>
                <a:srgbClr val="808080"/>
              </a:solidFill>
              <a:latin typeface="Arial"/>
              <a:ea typeface="+mn-ea"/>
              <a:cs typeface="+mn-cs"/>
            </a:endParaRPr>
          </a:p>
        </p:txBody>
      </p:sp>
      <p:sp>
        <p:nvSpPr>
          <p:cNvPr id="1035" name="Printed" hidden="1"/>
          <p:cNvSpPr txBox="1">
            <a:spLocks noChangeArrowheads="1"/>
          </p:cNvSpPr>
          <p:nvPr/>
        </p:nvSpPr>
        <p:spPr bwMode="auto">
          <a:xfrm rot="5400000">
            <a:off x="11222532" y="4776256"/>
            <a:ext cx="174887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Printed 2/6/2020 1:46 PM E. Africa Standard Time</a:t>
            </a:r>
            <a:endParaRPr lang="en-US" sz="1632" kern="1200" dirty="0">
              <a:solidFill>
                <a:srgbClr val="808080"/>
              </a:solidFill>
              <a:latin typeface="Arial"/>
              <a:ea typeface="+mn-ea"/>
              <a:cs typeface="+mn-cs"/>
            </a:endParaRPr>
          </a:p>
        </p:txBody>
      </p:sp>
      <p:sp>
        <p:nvSpPr>
          <p:cNvPr id="104" name="Slide Number"/>
          <p:cNvSpPr txBox="1">
            <a:spLocks/>
          </p:cNvSpPr>
          <p:nvPr userDrawn="1"/>
        </p:nvSpPr>
        <p:spPr bwMode="auto">
          <a:xfrm>
            <a:off x="11929063" y="66312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kern="1200" smtClean="0">
                <a:ea typeface="+mn-ea"/>
                <a:cs typeface="+mn-cs"/>
              </a:rPr>
              <a:pPr algn="r" fontAlgn="base">
                <a:spcBef>
                  <a:spcPct val="0"/>
                </a:spcBef>
                <a:spcAft>
                  <a:spcPct val="0"/>
                </a:spcAft>
                <a:buClrTx/>
                <a:buFontTx/>
                <a:buNone/>
              </a:pPr>
              <a:t>‹Nr.›</a:t>
            </a:fld>
            <a:endParaRPr lang="en-US" kern="1200" dirty="0">
              <a:ea typeface="+mn-ea"/>
              <a:cs typeface="+mn-cs"/>
            </a:endParaRPr>
          </a:p>
        </p:txBody>
      </p:sp>
      <p:sp>
        <p:nvSpPr>
          <p:cNvPr id="19" name="Title Placeholder 2"/>
          <p:cNvSpPr>
            <a:spLocks noGrp="1" noChangeArrowheads="1"/>
          </p:cNvSpPr>
          <p:nvPr>
            <p:ph type="title"/>
          </p:nvPr>
        </p:nvSpPr>
        <p:spPr bwMode="auto">
          <a:xfrm>
            <a:off x="233259" y="433461"/>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233259" y="9525"/>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200" kern="1200" cap="all" dirty="0">
                <a:solidFill>
                  <a:srgbClr val="FFFFFF"/>
                </a:solidFill>
                <a:ea typeface="+mn-ea"/>
                <a:cs typeface="+mn-cs"/>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4" name="Slide Elements" hidden="1"/>
          <p:cNvGrpSpPr/>
          <p:nvPr userDrawn="1"/>
        </p:nvGrpSpPr>
        <p:grpSpPr bwMode="auto">
          <a:xfrm>
            <a:off x="233259" y="6425526"/>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000" kern="1200" dirty="0">
                  <a:solidFill>
                    <a:srgbClr val="000000"/>
                  </a:solidFill>
                  <a:latin typeface="Arial"/>
                  <a:ea typeface="+mn-ea"/>
                  <a:cs typeface="+mn-cs"/>
                </a:rPr>
                <a:t>1 Footnote</a:t>
              </a: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fontAlgn="base">
                <a:spcBef>
                  <a:spcPct val="0"/>
                </a:spcBef>
                <a:spcAft>
                  <a:spcPct val="0"/>
                </a:spcAft>
                <a:buClrTx/>
                <a:buFontTx/>
                <a:buNone/>
                <a:tabLst>
                  <a:tab pos="643032" algn="l"/>
                </a:tabLst>
              </a:pPr>
              <a:r>
                <a:rPr lang="en-US" sz="1000" kern="1200" dirty="0">
                  <a:ea typeface="+mn-ea"/>
                  <a:cs typeface="+mn-cs"/>
                </a:rPr>
                <a:t>SOURCE: 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976207"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grpSp>
        <p:nvGrpSpPr>
          <p:cNvPr id="63" name="LegendBoxes" hidden="1"/>
          <p:cNvGrpSpPr>
            <a:grpSpLocks/>
          </p:cNvGrpSpPr>
          <p:nvPr userDrawn="1"/>
        </p:nvGrpSpPr>
        <p:grpSpPr bwMode="auto">
          <a:xfrm>
            <a:off x="10940631" y="928783"/>
            <a:ext cx="848784" cy="996951"/>
            <a:chOff x="4936" y="176"/>
            <a:chExt cx="401" cy="628"/>
          </a:xfrm>
        </p:grpSpPr>
        <p:sp>
          <p:nvSpPr>
            <p:cNvPr id="64"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66"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68"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70"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72" name="LegendLines" hidden="1"/>
          <p:cNvGrpSpPr>
            <a:grpSpLocks/>
          </p:cNvGrpSpPr>
          <p:nvPr userDrawn="1"/>
        </p:nvGrpSpPr>
        <p:grpSpPr bwMode="auto">
          <a:xfrm>
            <a:off x="10529997" y="928783"/>
            <a:ext cx="1259418" cy="730251"/>
            <a:chOff x="4750" y="176"/>
            <a:chExt cx="59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a:ea typeface="+mn-ea"/>
                <a:cs typeface="+mn-cs"/>
              </a:endParaRPr>
            </a:p>
          </p:txBody>
        </p:sp>
        <p:sp>
          <p:nvSpPr>
            <p:cNvPr id="76"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7"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78"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grpSp>
      <p:grpSp>
        <p:nvGrpSpPr>
          <p:cNvPr id="79" name="LegendMoons" hidden="1"/>
          <p:cNvGrpSpPr/>
          <p:nvPr userDrawn="1"/>
        </p:nvGrpSpPr>
        <p:grpSpPr bwMode="auto">
          <a:xfrm>
            <a:off x="10851499" y="928782"/>
            <a:ext cx="937321" cy="1306516"/>
            <a:chOff x="7875175" y="286625"/>
            <a:chExt cx="702991"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sp>
          <p:nvSpPr>
            <p:cNvPr id="83"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4"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5"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6"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a:ea typeface="+mn-ea"/>
                  <a:cs typeface="+mn-cs"/>
                </a:rPr>
                <a:t>Legend</a:t>
              </a:r>
            </a:p>
          </p:txBody>
        </p:sp>
        <p:sp>
          <p:nvSpPr>
            <p:cNvPr id="87"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91" name="Arc 42" hidden="1"/>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grpSp>
        <p:nvGrpSpPr>
          <p:cNvPr id="100" name="McKSticker" hidden="1"/>
          <p:cNvGrpSpPr/>
          <p:nvPr userDrawn="1"/>
        </p:nvGrpSpPr>
        <p:grpSpPr bwMode="auto">
          <a:xfrm>
            <a:off x="10891855" y="928782"/>
            <a:ext cx="1066894" cy="212366"/>
            <a:chOff x="7940605" y="285750"/>
            <a:chExt cx="800170" cy="212366"/>
          </a:xfrm>
        </p:grpSpPr>
        <p:sp>
          <p:nvSpPr>
            <p:cNvPr id="101"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303D24"/>
                </a:buClr>
                <a:buFontTx/>
                <a:buNone/>
              </a:pPr>
              <a:r>
                <a:rPr lang="en-US" sz="1200" kern="1200" dirty="0">
                  <a:solidFill>
                    <a:srgbClr val="808080"/>
                  </a:solidFill>
                  <a:ea typeface="+mn-ea"/>
                  <a:cs typeface="+mn-cs"/>
                </a:rPr>
                <a:t>PRELIMINARY</a:t>
              </a:r>
            </a:p>
          </p:txBody>
        </p:sp>
        <p:cxnSp>
          <p:nvCxnSpPr>
            <p:cNvPr id="102" name="AutoShape 31"/>
            <p:cNvCxnSpPr>
              <a:cxnSpLocks noChangeShapeType="1"/>
              <a:stCxn id="101" idx="2"/>
              <a:endCxn id="101"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61" name="Picture 60" descr="African Union">
            <a:extLst>
              <a:ext uri="{FF2B5EF4-FFF2-40B4-BE49-F238E27FC236}">
                <a16:creationId xmlns:a16="http://schemas.microsoft.com/office/drawing/2014/main" id="{1619019E-065B-48EC-A656-4EEFB89A899B}"/>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29954" y="6303969"/>
            <a:ext cx="1228910" cy="522766"/>
          </a:xfrm>
          <a:prstGeom prst="rect">
            <a:avLst/>
          </a:prstGeom>
          <a:ln w="38100" cap="sq">
            <a:noFill/>
            <a:prstDash val="solid"/>
            <a:miter lim="800000"/>
          </a:ln>
          <a:effectLst/>
        </p:spPr>
      </p:pic>
    </p:spTree>
    <p:extLst>
      <p:ext uri="{BB962C8B-B14F-4D97-AF65-F5344CB8AC3E}">
        <p14:creationId xmlns:p14="http://schemas.microsoft.com/office/powerpoint/2010/main" val="59350917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Lst>
  <p:hf hdr="0" ftr="0" dt="0"/>
  <p:txStyles>
    <p:titleStyle>
      <a:lvl1pPr algn="l" defTabSz="913526" rtl="0" eaLnBrk="1" fontAlgn="base" hangingPunct="1">
        <a:spcBef>
          <a:spcPct val="0"/>
        </a:spcBef>
        <a:spcAft>
          <a:spcPct val="0"/>
        </a:spcAft>
        <a:tabLst>
          <a:tab pos="275353" algn="l"/>
        </a:tabLst>
        <a:defRPr sz="24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844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a:solidFill>
                <a:srgbClr val="000000"/>
              </a:solidFill>
              <a:sym typeface="Arial" panose="020B0604020202020204" pitchFamily="34" charset="0"/>
            </a:endParaRPr>
          </a:p>
        </p:txBody>
      </p:sp>
      <p:pic>
        <p:nvPicPr>
          <p:cNvPr id="60" name="Picture 59">
            <a:extLst>
              <a:ext uri="{FF2B5EF4-FFF2-40B4-BE49-F238E27FC236}">
                <a16:creationId xmlns:a16="http://schemas.microsoft.com/office/drawing/2014/main" id="{9FE4C38E-EEF1-4805-B81B-F12EFF0BE60E}"/>
              </a:ext>
            </a:extLst>
          </p:cNvPr>
          <p:cNvPicPr/>
          <p:nvPr userDrawn="1"/>
        </p:nvPicPr>
        <p:blipFill>
          <a:blip r:embed="rId26" cstate="print">
            <a:extLst>
              <a:ext uri="{28A0092B-C50C-407E-A947-70E740481C1C}">
                <a14:useLocalDpi xmlns:a14="http://schemas.microsoft.com/office/drawing/2010/main" val="0"/>
              </a:ext>
            </a:extLst>
          </a:blip>
          <a:stretch>
            <a:fillRect/>
          </a:stretch>
        </p:blipFill>
        <p:spPr>
          <a:xfrm>
            <a:off x="10651240" y="6273876"/>
            <a:ext cx="1228910" cy="571875"/>
          </a:xfrm>
          <a:prstGeom prst="rect">
            <a:avLst/>
          </a:prstGeom>
          <a:ln>
            <a:noFill/>
          </a:ln>
          <a:effectLst/>
        </p:spPr>
      </p:pic>
      <p:sp>
        <p:nvSpPr>
          <p:cNvPr id="105" name="Rectangle 104"/>
          <p:cNvSpPr/>
          <p:nvPr userDrawn="1"/>
        </p:nvSpPr>
        <p:spPr bwMode="invGray">
          <a:xfrm>
            <a:off x="0" y="0"/>
            <a:ext cx="12192000" cy="852852"/>
          </a:xfrm>
          <a:prstGeom prst="rect">
            <a:avLst/>
          </a:prstGeom>
          <a:solidFill>
            <a:srgbClr val="303D2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32" kern="1200" dirty="0">
              <a:solidFill>
                <a:srgbClr val="000000"/>
              </a:solidFill>
            </a:endParaRPr>
          </a:p>
        </p:txBody>
      </p:sp>
      <p:sp>
        <p:nvSpPr>
          <p:cNvPr id="1034" name="Working Draft" hidden="1"/>
          <p:cNvSpPr txBox="1">
            <a:spLocks noChangeArrowheads="1"/>
          </p:cNvSpPr>
          <p:nvPr/>
        </p:nvSpPr>
        <p:spPr bwMode="auto">
          <a:xfrm rot="5400000">
            <a:off x="11127958" y="2558276"/>
            <a:ext cx="193803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a:solidFill>
                  <a:srgbClr val="808080"/>
                </a:solidFill>
                <a:latin typeface="Arial"/>
                <a:ea typeface="+mn-ea"/>
                <a:cs typeface="+mn-cs"/>
              </a:rPr>
              <a:t>Last Modified 6/9/2020 9:18 AM Eastern Standard Time</a:t>
            </a:r>
            <a:endParaRPr lang="en-US" sz="1632" kern="1200" dirty="0">
              <a:solidFill>
                <a:srgbClr val="808080"/>
              </a:solidFill>
              <a:latin typeface="Arial"/>
              <a:ea typeface="+mn-ea"/>
              <a:cs typeface="+mn-cs"/>
            </a:endParaRPr>
          </a:p>
        </p:txBody>
      </p:sp>
      <p:sp>
        <p:nvSpPr>
          <p:cNvPr id="1035" name="Printed" hidden="1"/>
          <p:cNvSpPr txBox="1">
            <a:spLocks noChangeArrowheads="1"/>
          </p:cNvSpPr>
          <p:nvPr/>
        </p:nvSpPr>
        <p:spPr bwMode="auto">
          <a:xfrm rot="5400000">
            <a:off x="11222532" y="4776256"/>
            <a:ext cx="174887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buClrTx/>
              <a:buFontTx/>
              <a:buNone/>
              <a:defRPr/>
            </a:pPr>
            <a:r>
              <a:rPr lang="en-US" sz="612" kern="1200" dirty="0">
                <a:solidFill>
                  <a:srgbClr val="808080"/>
                </a:solidFill>
                <a:latin typeface="Arial"/>
                <a:ea typeface="+mn-ea"/>
                <a:cs typeface="+mn-cs"/>
              </a:rPr>
              <a:t>Printed 2/6/2020 1:46 PM E. Africa Standard Time</a:t>
            </a:r>
            <a:endParaRPr lang="en-US" sz="1632" kern="1200" dirty="0">
              <a:solidFill>
                <a:srgbClr val="808080"/>
              </a:solidFill>
              <a:latin typeface="Arial"/>
              <a:ea typeface="+mn-ea"/>
              <a:cs typeface="+mn-cs"/>
            </a:endParaRPr>
          </a:p>
        </p:txBody>
      </p:sp>
      <p:sp>
        <p:nvSpPr>
          <p:cNvPr id="104" name="Slide Number"/>
          <p:cNvSpPr txBox="1">
            <a:spLocks/>
          </p:cNvSpPr>
          <p:nvPr userDrawn="1"/>
        </p:nvSpPr>
        <p:spPr bwMode="auto">
          <a:xfrm>
            <a:off x="11929063" y="66312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kern="1200" smtClean="0">
                <a:ea typeface="+mn-ea"/>
                <a:cs typeface="+mn-cs"/>
              </a:rPr>
              <a:pPr algn="r" fontAlgn="base">
                <a:spcBef>
                  <a:spcPct val="0"/>
                </a:spcBef>
                <a:spcAft>
                  <a:spcPct val="0"/>
                </a:spcAft>
                <a:buClrTx/>
                <a:buFontTx/>
                <a:buNone/>
              </a:pPr>
              <a:t>‹Nr.›</a:t>
            </a:fld>
            <a:endParaRPr lang="en-US" kern="1200" dirty="0">
              <a:ea typeface="+mn-ea"/>
              <a:cs typeface="+mn-cs"/>
            </a:endParaRPr>
          </a:p>
        </p:txBody>
      </p:sp>
      <p:sp>
        <p:nvSpPr>
          <p:cNvPr id="19" name="Title Placeholder 2"/>
          <p:cNvSpPr>
            <a:spLocks noGrp="1" noChangeArrowheads="1"/>
          </p:cNvSpPr>
          <p:nvPr>
            <p:ph type="title"/>
          </p:nvPr>
        </p:nvSpPr>
        <p:spPr bwMode="auto">
          <a:xfrm>
            <a:off x="233259" y="433461"/>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233259" y="9525"/>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200" kern="1200" cap="all" dirty="0">
                <a:solidFill>
                  <a:srgbClr val="FFFFFF"/>
                </a:solidFill>
                <a:ea typeface="+mn-ea"/>
                <a:cs typeface="+mn-cs"/>
              </a:rPr>
              <a:t>Tracker</a:t>
            </a:r>
          </a:p>
        </p:txBody>
      </p:sp>
      <p:sp>
        <p:nvSpPr>
          <p:cNvPr id="11" name="3. Unit of measure" hidden="1"/>
          <p:cNvSpPr txBox="1">
            <a:spLocks noChangeArrowheads="1"/>
          </p:cNvSpPr>
          <p:nvPr/>
        </p:nvSpPr>
        <p:spPr bwMode="auto">
          <a:xfrm>
            <a:off x="233259" y="88461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a:solidFill>
                  <a:srgbClr val="808080"/>
                </a:solidFill>
                <a:latin typeface="Arial"/>
                <a:ea typeface="+mn-ea"/>
                <a:cs typeface="+mn-cs"/>
              </a:rPr>
              <a:t>Unit of measure</a:t>
            </a:r>
          </a:p>
        </p:txBody>
      </p:sp>
      <p:grpSp>
        <p:nvGrpSpPr>
          <p:cNvPr id="4" name="Slide Elements" hidden="1"/>
          <p:cNvGrpSpPr/>
          <p:nvPr userDrawn="1"/>
        </p:nvGrpSpPr>
        <p:grpSpPr bwMode="auto">
          <a:xfrm>
            <a:off x="233259" y="6425526"/>
            <a:ext cx="11725483" cy="359595"/>
            <a:chOff x="119063" y="6278946"/>
            <a:chExt cx="8618537" cy="352437"/>
          </a:xfrm>
        </p:grpSpPr>
        <p:sp>
          <p:nvSpPr>
            <p:cNvPr id="13" name="4. Footnote"/>
            <p:cNvSpPr txBox="1">
              <a:spLocks noChangeArrowheads="1"/>
            </p:cNvSpPr>
            <p:nvPr/>
          </p:nvSpPr>
          <p:spPr bwMode="auto">
            <a:xfrm>
              <a:off x="119063" y="6278946"/>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000" kern="1200" dirty="0">
                  <a:solidFill>
                    <a:srgbClr val="000000"/>
                  </a:solidFill>
                  <a:latin typeface="Arial"/>
                  <a:ea typeface="+mn-ea"/>
                  <a:cs typeface="+mn-cs"/>
                </a:rPr>
                <a:t>1 Footnote</a:t>
              </a:r>
            </a:p>
          </p:txBody>
        </p:sp>
        <p:sp>
          <p:nvSpPr>
            <p:cNvPr id="14" name="5. Source"/>
            <p:cNvSpPr>
              <a:spLocks noChangeArrowheads="1"/>
            </p:cNvSpPr>
            <p:nvPr/>
          </p:nvSpPr>
          <p:spPr bwMode="auto">
            <a:xfrm>
              <a:off x="119063" y="6480558"/>
              <a:ext cx="8119124"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25" indent="-619125" defTabSz="913526" fontAlgn="base">
                <a:spcBef>
                  <a:spcPct val="0"/>
                </a:spcBef>
                <a:spcAft>
                  <a:spcPct val="0"/>
                </a:spcAft>
                <a:buClrTx/>
                <a:buFontTx/>
                <a:buNone/>
                <a:tabLst>
                  <a:tab pos="643032" algn="l"/>
                </a:tabLst>
              </a:pPr>
              <a:r>
                <a:rPr lang="en-US" sz="1000" kern="1200" dirty="0">
                  <a:ea typeface="+mn-ea"/>
                  <a:cs typeface="+mn-cs"/>
                </a:rPr>
                <a:t>SOURCE: Source</a:t>
              </a:r>
            </a:p>
          </p:txBody>
        </p:sp>
      </p:grpSp>
      <p:sp>
        <p:nvSpPr>
          <p:cNvPr id="3" name="Text Placeholder 2"/>
          <p:cNvSpPr>
            <a:spLocks noGrp="1"/>
          </p:cNvSpPr>
          <p:nvPr>
            <p:ph type="body" idx="1"/>
          </p:nvPr>
        </p:nvSpPr>
        <p:spPr bwMode="auto">
          <a:xfrm>
            <a:off x="1976208" y="2620668"/>
            <a:ext cx="5853024" cy="1231106"/>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976207" y="2035353"/>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23"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buClrTx/>
              <a:buFontTx/>
              <a:buNone/>
            </a:pPr>
            <a:endParaRPr lang="en-US" sz="816" kern="1200" dirty="0">
              <a:solidFill>
                <a:srgbClr val="FFFFFF"/>
              </a:solidFill>
              <a:ea typeface="+mn-ea"/>
              <a:cs typeface="+mn-cs"/>
            </a:endParaRPr>
          </a:p>
        </p:txBody>
      </p:sp>
      <p:grpSp>
        <p:nvGrpSpPr>
          <p:cNvPr id="63" name="LegendBoxes" hidden="1"/>
          <p:cNvGrpSpPr>
            <a:grpSpLocks/>
          </p:cNvGrpSpPr>
          <p:nvPr userDrawn="1"/>
        </p:nvGrpSpPr>
        <p:grpSpPr bwMode="auto">
          <a:xfrm>
            <a:off x="10940631" y="928783"/>
            <a:ext cx="848784" cy="996951"/>
            <a:chOff x="4936" y="176"/>
            <a:chExt cx="401" cy="628"/>
          </a:xfrm>
        </p:grpSpPr>
        <p:sp>
          <p:nvSpPr>
            <p:cNvPr id="64" name="Legend1"/>
            <p:cNvSpPr>
              <a:spLocks noChangeArrowheads="1"/>
            </p:cNvSpPr>
            <p:nvPr/>
          </p:nvSpPr>
          <p:spPr bwMode="auto">
            <a:xfrm>
              <a:off x="5096"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66" name="Legend2"/>
            <p:cNvSpPr>
              <a:spLocks noChangeArrowheads="1"/>
            </p:cNvSpPr>
            <p:nvPr/>
          </p:nvSpPr>
          <p:spPr bwMode="auto">
            <a:xfrm>
              <a:off x="5096" y="34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68" name="Legend3"/>
            <p:cNvSpPr>
              <a:spLocks noChangeArrowheads="1"/>
            </p:cNvSpPr>
            <p:nvPr/>
          </p:nvSpPr>
          <p:spPr bwMode="auto">
            <a:xfrm>
              <a:off x="5096" y="517"/>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70" name="Legend4"/>
            <p:cNvSpPr>
              <a:spLocks noChangeArrowheads="1"/>
            </p:cNvSpPr>
            <p:nvPr/>
          </p:nvSpPr>
          <p:spPr bwMode="auto">
            <a:xfrm>
              <a:off x="5096" y="688"/>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72" name="LegendLines" hidden="1"/>
          <p:cNvGrpSpPr>
            <a:grpSpLocks/>
          </p:cNvGrpSpPr>
          <p:nvPr userDrawn="1"/>
        </p:nvGrpSpPr>
        <p:grpSpPr bwMode="auto">
          <a:xfrm>
            <a:off x="10529997" y="928783"/>
            <a:ext cx="1259418" cy="730251"/>
            <a:chOff x="4750" y="176"/>
            <a:chExt cx="59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en-US" sz="1632" kern="1200" dirty="0">
                <a:ea typeface="+mn-ea"/>
                <a:cs typeface="+mn-cs"/>
              </a:endParaRPr>
            </a:p>
          </p:txBody>
        </p:sp>
        <p:sp>
          <p:nvSpPr>
            <p:cNvPr id="76" name="Legend1"/>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7" name="Legend2"/>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78" name="Legend3"/>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grpSp>
        <p:nvGrpSpPr>
          <p:cNvPr id="79" name="LegendMoons" hidden="1"/>
          <p:cNvGrpSpPr/>
          <p:nvPr userDrawn="1"/>
        </p:nvGrpSpPr>
        <p:grpSpPr bwMode="auto">
          <a:xfrm>
            <a:off x="10851499" y="928782"/>
            <a:ext cx="937321" cy="1306516"/>
            <a:chOff x="7875175" y="286625"/>
            <a:chExt cx="702991"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sp>
          <p:nvSpPr>
            <p:cNvPr id="83"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4"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5"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6"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sp>
          <p:nvSpPr>
            <p:cNvPr id="87"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sp>
            <p:nvSpPr>
              <p:cNvPr id="91" name="Arc 42" hidden="1"/>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dirty="0">
                  <a:ea typeface="+mn-ea"/>
                  <a:cs typeface="+mn-cs"/>
                </a:endParaRPr>
              </a:p>
            </p:txBody>
          </p:sp>
        </p:grpSp>
      </p:grpSp>
      <p:grpSp>
        <p:nvGrpSpPr>
          <p:cNvPr id="100" name="McKSticker" hidden="1"/>
          <p:cNvGrpSpPr/>
          <p:nvPr userDrawn="1"/>
        </p:nvGrpSpPr>
        <p:grpSpPr bwMode="auto">
          <a:xfrm>
            <a:off x="10891855" y="928782"/>
            <a:ext cx="1066894" cy="212366"/>
            <a:chOff x="7940605" y="285750"/>
            <a:chExt cx="800170" cy="212366"/>
          </a:xfrm>
        </p:grpSpPr>
        <p:sp>
          <p:nvSpPr>
            <p:cNvPr id="101"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303D24"/>
                </a:buClr>
                <a:buFontTx/>
                <a:buNone/>
              </a:pPr>
              <a:r>
                <a:rPr lang="en-US" sz="1200" kern="1200" dirty="0">
                  <a:solidFill>
                    <a:srgbClr val="808080"/>
                  </a:solidFill>
                  <a:ea typeface="+mn-ea"/>
                  <a:cs typeface="+mn-cs"/>
                </a:rPr>
                <a:t>PRELIMINARY</a:t>
              </a:r>
            </a:p>
          </p:txBody>
        </p:sp>
        <p:cxnSp>
          <p:nvCxnSpPr>
            <p:cNvPr id="102" name="AutoShape 31"/>
            <p:cNvCxnSpPr>
              <a:cxnSpLocks noChangeShapeType="1"/>
              <a:stCxn id="101" idx="2"/>
              <a:endCxn id="101"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pic>
        <p:nvPicPr>
          <p:cNvPr id="61" name="Picture 60" descr="African Union">
            <a:extLst>
              <a:ext uri="{FF2B5EF4-FFF2-40B4-BE49-F238E27FC236}">
                <a16:creationId xmlns:a16="http://schemas.microsoft.com/office/drawing/2014/main" id="{1619019E-065B-48EC-A656-4EEFB89A899B}"/>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29954" y="6303969"/>
            <a:ext cx="1228910" cy="522766"/>
          </a:xfrm>
          <a:prstGeom prst="rect">
            <a:avLst/>
          </a:prstGeom>
          <a:ln w="38100" cap="sq">
            <a:noFill/>
            <a:prstDash val="solid"/>
            <a:miter lim="800000"/>
          </a:ln>
          <a:effectLst/>
        </p:spPr>
      </p:pic>
    </p:spTree>
    <p:extLst>
      <p:ext uri="{BB962C8B-B14F-4D97-AF65-F5344CB8AC3E}">
        <p14:creationId xmlns:p14="http://schemas.microsoft.com/office/powerpoint/2010/main" val="341624312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Lst>
  <p:hf hdr="0" ftr="0" dt="0"/>
  <p:txStyles>
    <p:titleStyle>
      <a:lvl1pPr algn="l" defTabSz="913526" rtl="0" eaLnBrk="1" fontAlgn="base" hangingPunct="1">
        <a:spcBef>
          <a:spcPct val="0"/>
        </a:spcBef>
        <a:spcAft>
          <a:spcPct val="0"/>
        </a:spcAft>
        <a:tabLst>
          <a:tab pos="275353" algn="l"/>
        </a:tabLst>
        <a:defRPr sz="2400" b="0" baseline="0">
          <a:solidFill>
            <a:schemeClr val="bg1"/>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14"/>
        <p:cNvGrpSpPr/>
        <p:nvPr/>
      </p:nvGrpSpPr>
      <p:grpSpPr>
        <a:xfrm>
          <a:off x="0" y="0"/>
          <a:ext cx="0" cy="0"/>
          <a:chOff x="0" y="0"/>
          <a:chExt cx="0" cy="0"/>
        </a:xfrm>
      </p:grpSpPr>
      <p:pic>
        <p:nvPicPr>
          <p:cNvPr id="515" name="Google Shape;515;p78"/>
          <p:cNvPicPr preferRelativeResize="0"/>
          <p:nvPr/>
        </p:nvPicPr>
        <p:blipFill rotWithShape="1">
          <a:blip r:embed="rId7">
            <a:alphaModFix/>
          </a:blip>
          <a:srcRect/>
          <a:stretch/>
        </p:blipFill>
        <p:spPr>
          <a:xfrm>
            <a:off x="0" y="0"/>
            <a:ext cx="215979" cy="161974"/>
          </a:xfrm>
          <a:prstGeom prst="rect">
            <a:avLst/>
          </a:prstGeom>
          <a:noFill/>
          <a:ln>
            <a:noFill/>
          </a:ln>
        </p:spPr>
      </p:pic>
      <p:pic>
        <p:nvPicPr>
          <p:cNvPr id="516" name="Google Shape;516;p78"/>
          <p:cNvPicPr preferRelativeResize="0"/>
          <p:nvPr/>
        </p:nvPicPr>
        <p:blipFill rotWithShape="1">
          <a:blip r:embed="rId8">
            <a:alphaModFix/>
          </a:blip>
          <a:srcRect/>
          <a:stretch/>
        </p:blipFill>
        <p:spPr>
          <a:xfrm>
            <a:off x="10651240" y="6273876"/>
            <a:ext cx="1228910" cy="571875"/>
          </a:xfrm>
          <a:prstGeom prst="rect">
            <a:avLst/>
          </a:prstGeom>
          <a:noFill/>
          <a:ln>
            <a:noFill/>
          </a:ln>
        </p:spPr>
      </p:pic>
      <p:sp>
        <p:nvSpPr>
          <p:cNvPr id="517" name="Google Shape;517;p78"/>
          <p:cNvSpPr/>
          <p:nvPr/>
        </p:nvSpPr>
        <p:spPr>
          <a:xfrm>
            <a:off x="0" y="0"/>
            <a:ext cx="12192000" cy="852852"/>
          </a:xfrm>
          <a:prstGeom prst="rect">
            <a:avLst/>
          </a:prstGeom>
          <a:solidFill>
            <a:srgbClr val="303D24"/>
          </a:solidFill>
          <a:ln>
            <a:noFill/>
          </a:ln>
        </p:spPr>
        <p:txBody>
          <a:bodyPr spcFirstLastPara="1" wrap="square" lIns="91425" tIns="45700" rIns="91425" bIns="45700" anchor="ctr" anchorCtr="0">
            <a:noAutofit/>
          </a:bodyPr>
          <a:lstStyle/>
          <a:p>
            <a:pPr algn="ctr"/>
            <a:endParaRPr sz="1629"/>
          </a:p>
        </p:txBody>
      </p:sp>
      <p:sp>
        <p:nvSpPr>
          <p:cNvPr id="518" name="Google Shape;518;p78"/>
          <p:cNvSpPr txBox="1"/>
          <p:nvPr/>
        </p:nvSpPr>
        <p:spPr>
          <a:xfrm>
            <a:off x="11929063" y="6631233"/>
            <a:ext cx="157094" cy="153888"/>
          </a:xfrm>
          <a:prstGeom prst="rect">
            <a:avLst/>
          </a:prstGeom>
          <a:noFill/>
          <a:ln>
            <a:noFill/>
          </a:ln>
        </p:spPr>
        <p:txBody>
          <a:bodyPr spcFirstLastPara="1" wrap="square" lIns="0" tIns="0" rIns="0" bIns="0" anchor="ctr" anchorCtr="0">
            <a:noAutofit/>
          </a:bodyPr>
          <a:lstStyle/>
          <a:p>
            <a:pPr algn="r"/>
            <a:fld id="{00000000-1234-1234-1234-123412341234}" type="slidenum">
              <a:rPr lang="en-US" sz="1000"/>
              <a:pPr algn="r"/>
              <a:t>‹Nr.›</a:t>
            </a:fld>
            <a:endParaRPr sz="1000"/>
          </a:p>
        </p:txBody>
      </p:sp>
      <p:sp>
        <p:nvSpPr>
          <p:cNvPr id="519" name="Google Shape;519;p78"/>
          <p:cNvSpPr txBox="1">
            <a:spLocks noGrp="1"/>
          </p:cNvSpPr>
          <p:nvPr>
            <p:ph type="title"/>
          </p:nvPr>
        </p:nvSpPr>
        <p:spPr>
          <a:xfrm>
            <a:off x="233259" y="433461"/>
            <a:ext cx="11725484" cy="369332"/>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SzPts val="1400"/>
              <a:buNone/>
              <a:defRPr sz="24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94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4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4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4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4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4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4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40" b="1" i="0" u="none" strike="noStrike" cap="none">
                <a:solidFill>
                  <a:schemeClr val="dk2"/>
                </a:solidFill>
                <a:latin typeface="Arial"/>
                <a:ea typeface="Arial"/>
                <a:cs typeface="Arial"/>
                <a:sym typeface="Arial"/>
              </a:defRPr>
            </a:lvl9pPr>
          </a:lstStyle>
          <a:p>
            <a:endParaRPr/>
          </a:p>
        </p:txBody>
      </p:sp>
      <p:sp>
        <p:nvSpPr>
          <p:cNvPr id="520" name="Google Shape;520;p78"/>
          <p:cNvSpPr txBox="1">
            <a:spLocks noGrp="1"/>
          </p:cNvSpPr>
          <p:nvPr>
            <p:ph type="body" idx="1"/>
          </p:nvPr>
        </p:nvSpPr>
        <p:spPr>
          <a:xfrm>
            <a:off x="1976208" y="2620668"/>
            <a:ext cx="5853024" cy="1231106"/>
          </a:xfrm>
          <a:prstGeom prst="rect">
            <a:avLst/>
          </a:prstGeom>
          <a:noFill/>
          <a:ln>
            <a:noFill/>
          </a:ln>
        </p:spPr>
        <p:txBody>
          <a:bodyPr spcFirstLastPara="1" wrap="square" lIns="0" tIns="0" rIns="0" bIns="0" anchor="t" anchorCtr="0">
            <a:no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20719" algn="l" rtl="0">
              <a:spcBef>
                <a:spcPts val="0"/>
              </a:spcBef>
              <a:spcAft>
                <a:spcPts val="0"/>
              </a:spcAft>
              <a:buClr>
                <a:schemeClr val="dk2"/>
              </a:buClr>
              <a:buSzPts val="1451"/>
              <a:buFont typeface="Arial"/>
              <a:buChar char="-"/>
              <a:defRPr sz="1629" b="0" i="0" u="none" strike="noStrike" cap="none">
                <a:solidFill>
                  <a:schemeClr val="dk1"/>
                </a:solidFill>
                <a:latin typeface="Arial"/>
                <a:ea typeface="Arial"/>
                <a:cs typeface="Arial"/>
                <a:sym typeface="Arial"/>
              </a:defRPr>
            </a:lvl6pPr>
            <a:lvl7pPr marL="3200400" marR="0" lvl="6" indent="-320719" algn="l" rtl="0">
              <a:spcBef>
                <a:spcPts val="0"/>
              </a:spcBef>
              <a:spcAft>
                <a:spcPts val="0"/>
              </a:spcAft>
              <a:buClr>
                <a:schemeClr val="dk2"/>
              </a:buClr>
              <a:buSzPts val="1451"/>
              <a:buFont typeface="Arial"/>
              <a:buChar char="-"/>
              <a:defRPr sz="1629" b="0" i="0" u="none" strike="noStrike" cap="none">
                <a:solidFill>
                  <a:schemeClr val="dk1"/>
                </a:solidFill>
                <a:latin typeface="Arial"/>
                <a:ea typeface="Arial"/>
                <a:cs typeface="Arial"/>
                <a:sym typeface="Arial"/>
              </a:defRPr>
            </a:lvl7pPr>
            <a:lvl8pPr marL="3657600" marR="0" lvl="7" indent="-320719" algn="l" rtl="0">
              <a:spcBef>
                <a:spcPts val="0"/>
              </a:spcBef>
              <a:spcAft>
                <a:spcPts val="0"/>
              </a:spcAft>
              <a:buClr>
                <a:schemeClr val="dk2"/>
              </a:buClr>
              <a:buSzPts val="1451"/>
              <a:buFont typeface="Arial"/>
              <a:buChar char="-"/>
              <a:defRPr sz="1629" b="0" i="0" u="none" strike="noStrike" cap="none">
                <a:solidFill>
                  <a:schemeClr val="dk1"/>
                </a:solidFill>
                <a:latin typeface="Arial"/>
                <a:ea typeface="Arial"/>
                <a:cs typeface="Arial"/>
                <a:sym typeface="Arial"/>
              </a:defRPr>
            </a:lvl8pPr>
            <a:lvl9pPr marL="4114800" marR="0" lvl="8" indent="-320719" algn="l" rtl="0">
              <a:spcBef>
                <a:spcPts val="0"/>
              </a:spcBef>
              <a:spcAft>
                <a:spcPts val="0"/>
              </a:spcAft>
              <a:buClr>
                <a:schemeClr val="dk2"/>
              </a:buClr>
              <a:buSzPts val="1451"/>
              <a:buFont typeface="Arial"/>
              <a:buChar char="-"/>
              <a:defRPr sz="1629" b="0" i="0" u="none" strike="noStrike" cap="none">
                <a:solidFill>
                  <a:schemeClr val="dk1"/>
                </a:solidFill>
                <a:latin typeface="Arial"/>
                <a:ea typeface="Arial"/>
                <a:cs typeface="Arial"/>
                <a:sym typeface="Arial"/>
              </a:defRPr>
            </a:lvl9pPr>
          </a:lstStyle>
          <a:p>
            <a:endParaRPr/>
          </a:p>
        </p:txBody>
      </p:sp>
      <p:sp>
        <p:nvSpPr>
          <p:cNvPr id="521" name="Google Shape;521;p78"/>
          <p:cNvSpPr/>
          <p:nvPr/>
        </p:nvSpPr>
        <p:spPr>
          <a:xfrm>
            <a:off x="11064591" y="42308"/>
            <a:ext cx="894152" cy="124720"/>
          </a:xfrm>
          <a:prstGeom prst="rect">
            <a:avLst/>
          </a:prstGeom>
          <a:noFill/>
          <a:ln>
            <a:noFill/>
          </a:ln>
        </p:spPr>
        <p:txBody>
          <a:bodyPr spcFirstLastPara="1" wrap="square" lIns="0" tIns="0" rIns="0" bIns="0" anchor="t" anchorCtr="0">
            <a:noAutofit/>
          </a:bodyPr>
          <a:lstStyle/>
          <a:p>
            <a:pPr algn="r"/>
            <a:endParaRPr sz="814">
              <a:solidFill>
                <a:srgbClr val="FFFFFF"/>
              </a:solidFill>
            </a:endParaRPr>
          </a:p>
        </p:txBody>
      </p:sp>
      <p:pic>
        <p:nvPicPr>
          <p:cNvPr id="522" name="Google Shape;522;p78" descr="African Union"/>
          <p:cNvPicPr preferRelativeResize="0"/>
          <p:nvPr/>
        </p:nvPicPr>
        <p:blipFill rotWithShape="1">
          <a:blip r:embed="rId9">
            <a:alphaModFix/>
          </a:blip>
          <a:srcRect/>
          <a:stretch/>
        </p:blipFill>
        <p:spPr>
          <a:xfrm>
            <a:off x="29954" y="6303969"/>
            <a:ext cx="1228910" cy="522766"/>
          </a:xfrm>
          <a:prstGeom prst="rect">
            <a:avLst/>
          </a:prstGeom>
          <a:noFill/>
          <a:ln>
            <a:noFill/>
          </a:ln>
        </p:spPr>
      </p:pic>
    </p:spTree>
    <p:extLst>
      <p:ext uri="{BB962C8B-B14F-4D97-AF65-F5344CB8AC3E}">
        <p14:creationId xmlns:p14="http://schemas.microsoft.com/office/powerpoint/2010/main" val="932391525"/>
      </p:ext>
    </p:extLst>
  </p:cSld>
  <p:clrMap bg1="lt1" tx1="dk1" bg2="dk2" tx2="lt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810"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95"/>
        <p:cNvGrpSpPr/>
        <p:nvPr/>
      </p:nvGrpSpPr>
      <p:grpSpPr>
        <a:xfrm>
          <a:off x="0" y="0"/>
          <a:ext cx="0" cy="0"/>
          <a:chOff x="0" y="0"/>
          <a:chExt cx="0" cy="0"/>
        </a:xfrm>
      </p:grpSpPr>
      <p:sp>
        <p:nvSpPr>
          <p:cNvPr id="196" name="Google Shape;196;p29"/>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53575A"/>
              </a:buClr>
              <a:buSzPts val="3200"/>
              <a:buFont typeface="Arial"/>
              <a:buNone/>
              <a:defRPr sz="3200" b="1" i="0" u="none" strike="noStrike" cap="none">
                <a:solidFill>
                  <a:srgbClr val="53575A"/>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97" name="Google Shape;197;p29"/>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rgbClr val="53575A"/>
              </a:buClr>
              <a:buSzPts val="2800"/>
              <a:buFont typeface="Arial"/>
              <a:buChar char="•"/>
              <a:defRPr sz="2800" b="0" i="0" u="none" strike="noStrike" cap="none">
                <a:solidFill>
                  <a:srgbClr val="53575A"/>
                </a:solidFill>
                <a:latin typeface="Arial"/>
                <a:ea typeface="Arial"/>
                <a:cs typeface="Arial"/>
                <a:sym typeface="Arial"/>
              </a:defRPr>
            </a:lvl1pPr>
            <a:lvl2pPr marL="914400" marR="0" lvl="1" indent="-381000" algn="l" rtl="0">
              <a:lnSpc>
                <a:spcPct val="90000"/>
              </a:lnSpc>
              <a:spcBef>
                <a:spcPts val="500"/>
              </a:spcBef>
              <a:spcAft>
                <a:spcPts val="0"/>
              </a:spcAft>
              <a:buClr>
                <a:srgbClr val="53575A"/>
              </a:buClr>
              <a:buSzPts val="2400"/>
              <a:buFont typeface="Arial"/>
              <a:buChar char="•"/>
              <a:defRPr sz="2400" b="0" i="0" u="none" strike="noStrike" cap="none">
                <a:solidFill>
                  <a:srgbClr val="53575A"/>
                </a:solidFill>
                <a:latin typeface="Arial"/>
                <a:ea typeface="Arial"/>
                <a:cs typeface="Arial"/>
                <a:sym typeface="Arial"/>
              </a:defRPr>
            </a:lvl2pPr>
            <a:lvl3pPr marL="1371600" marR="0" lvl="2" indent="-355600" algn="l" rtl="0">
              <a:lnSpc>
                <a:spcPct val="90000"/>
              </a:lnSpc>
              <a:spcBef>
                <a:spcPts val="500"/>
              </a:spcBef>
              <a:spcAft>
                <a:spcPts val="0"/>
              </a:spcAft>
              <a:buClr>
                <a:srgbClr val="53575A"/>
              </a:buClr>
              <a:buSzPts val="2000"/>
              <a:buFont typeface="Arial"/>
              <a:buChar char="•"/>
              <a:defRPr sz="2000" b="0" i="0" u="none" strike="noStrike" cap="none">
                <a:solidFill>
                  <a:srgbClr val="53575A"/>
                </a:solidFill>
                <a:latin typeface="Arial"/>
                <a:ea typeface="Arial"/>
                <a:cs typeface="Arial"/>
                <a:sym typeface="Arial"/>
              </a:defRPr>
            </a:lvl3pPr>
            <a:lvl4pPr marL="1828800" marR="0" lvl="3"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4pPr>
            <a:lvl5pPr marL="2286000" marR="0" lvl="4"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98" name="Google Shape;198;p29"/>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marR="0" lvl="0" algn="r"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9" name="Google Shape;199;p29"/>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200" name="Google Shape;200;p29"/>
          <p:cNvPicPr preferRelativeResize="0"/>
          <p:nvPr/>
        </p:nvPicPr>
        <p:blipFill rotWithShape="1">
          <a:blip r:embed="rId12">
            <a:alphaModFix/>
          </a:blip>
          <a:srcRect/>
          <a:stretch/>
        </p:blipFill>
        <p:spPr>
          <a:xfrm>
            <a:off x="9478940" y="-234376"/>
            <a:ext cx="3042915" cy="1617404"/>
          </a:xfrm>
          <a:prstGeom prst="rect">
            <a:avLst/>
          </a:prstGeom>
          <a:noFill/>
          <a:ln>
            <a:noFill/>
          </a:ln>
        </p:spPr>
      </p:pic>
      <p:pic>
        <p:nvPicPr>
          <p:cNvPr id="201" name="Google Shape;201;p29"/>
          <p:cNvPicPr preferRelativeResize="0"/>
          <p:nvPr/>
        </p:nvPicPr>
        <p:blipFill rotWithShape="1">
          <a:blip r:embed="rId13">
            <a:alphaModFix/>
          </a:blip>
          <a:srcRect/>
          <a:stretch/>
        </p:blipFill>
        <p:spPr>
          <a:xfrm>
            <a:off x="-30481" y="-17206"/>
            <a:ext cx="2450595" cy="1182453"/>
          </a:xfrm>
          <a:prstGeom prst="rect">
            <a:avLst/>
          </a:prstGeom>
          <a:noFill/>
          <a:ln>
            <a:noFill/>
          </a:ln>
        </p:spPr>
      </p:pic>
    </p:spTree>
    <p:extLst>
      <p:ext uri="{BB962C8B-B14F-4D97-AF65-F5344CB8AC3E}">
        <p14:creationId xmlns:p14="http://schemas.microsoft.com/office/powerpoint/2010/main" val="1050549590"/>
      </p:ext>
    </p:extLst>
  </p:cSld>
  <p:clrMap bg1="lt1" tx1="dk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61"/>
        <p:cNvGrpSpPr/>
        <p:nvPr/>
      </p:nvGrpSpPr>
      <p:grpSpPr>
        <a:xfrm>
          <a:off x="0" y="0"/>
          <a:ext cx="0" cy="0"/>
          <a:chOff x="0" y="0"/>
          <a:chExt cx="0" cy="0"/>
        </a:xfrm>
      </p:grpSpPr>
      <p:sp>
        <p:nvSpPr>
          <p:cNvPr id="262" name="Google Shape;262;p40"/>
          <p:cNvSpPr txBox="1">
            <a:spLocks noGrp="1"/>
          </p:cNvSpPr>
          <p:nvPr>
            <p:ph type="title"/>
          </p:nvPr>
        </p:nvSpPr>
        <p:spPr>
          <a:xfrm>
            <a:off x="2184400" y="365125"/>
            <a:ext cx="7899300" cy="13257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53575A"/>
              </a:buClr>
              <a:buSzPts val="3200"/>
              <a:buFont typeface="Arial"/>
              <a:buNone/>
              <a:defRPr sz="3200" b="1" i="0" u="none" strike="noStrike" cap="none">
                <a:solidFill>
                  <a:srgbClr val="53575A"/>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3" name="Google Shape;263;p40"/>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rgbClr val="53575A"/>
              </a:buClr>
              <a:buSzPts val="2800"/>
              <a:buFont typeface="Arial"/>
              <a:buChar char="•"/>
              <a:defRPr sz="2800" b="0" i="0" u="none" strike="noStrike" cap="none">
                <a:solidFill>
                  <a:srgbClr val="53575A"/>
                </a:solidFill>
                <a:latin typeface="Arial"/>
                <a:ea typeface="Arial"/>
                <a:cs typeface="Arial"/>
                <a:sym typeface="Arial"/>
              </a:defRPr>
            </a:lvl1pPr>
            <a:lvl2pPr marL="914400" marR="0" lvl="1" indent="-381000" algn="l" rtl="0">
              <a:lnSpc>
                <a:spcPct val="90000"/>
              </a:lnSpc>
              <a:spcBef>
                <a:spcPts val="500"/>
              </a:spcBef>
              <a:spcAft>
                <a:spcPts val="0"/>
              </a:spcAft>
              <a:buClr>
                <a:srgbClr val="53575A"/>
              </a:buClr>
              <a:buSzPts val="2400"/>
              <a:buFont typeface="Arial"/>
              <a:buChar char="•"/>
              <a:defRPr sz="2400" b="0" i="0" u="none" strike="noStrike" cap="none">
                <a:solidFill>
                  <a:srgbClr val="53575A"/>
                </a:solidFill>
                <a:latin typeface="Arial"/>
                <a:ea typeface="Arial"/>
                <a:cs typeface="Arial"/>
                <a:sym typeface="Arial"/>
              </a:defRPr>
            </a:lvl2pPr>
            <a:lvl3pPr marL="1371600" marR="0" lvl="2" indent="-355600" algn="l" rtl="0">
              <a:lnSpc>
                <a:spcPct val="90000"/>
              </a:lnSpc>
              <a:spcBef>
                <a:spcPts val="500"/>
              </a:spcBef>
              <a:spcAft>
                <a:spcPts val="0"/>
              </a:spcAft>
              <a:buClr>
                <a:srgbClr val="53575A"/>
              </a:buClr>
              <a:buSzPts val="2000"/>
              <a:buFont typeface="Arial"/>
              <a:buChar char="•"/>
              <a:defRPr sz="2000" b="0" i="0" u="none" strike="noStrike" cap="none">
                <a:solidFill>
                  <a:srgbClr val="53575A"/>
                </a:solidFill>
                <a:latin typeface="Arial"/>
                <a:ea typeface="Arial"/>
                <a:cs typeface="Arial"/>
                <a:sym typeface="Arial"/>
              </a:defRPr>
            </a:lvl3pPr>
            <a:lvl4pPr marL="1828800" marR="0" lvl="3"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4pPr>
            <a:lvl5pPr marL="2286000" marR="0" lvl="4" indent="-342900" algn="l" rtl="0">
              <a:lnSpc>
                <a:spcPct val="90000"/>
              </a:lnSpc>
              <a:spcBef>
                <a:spcPts val="500"/>
              </a:spcBef>
              <a:spcAft>
                <a:spcPts val="0"/>
              </a:spcAft>
              <a:buClr>
                <a:srgbClr val="53575A"/>
              </a:buClr>
              <a:buSzPts val="1800"/>
              <a:buFont typeface="Arial"/>
              <a:buChar char="•"/>
              <a:defRPr sz="1800" b="0" i="0" u="none" strike="noStrike" cap="none">
                <a:solidFill>
                  <a:srgbClr val="53575A"/>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64" name="Google Shape;264;p40"/>
          <p:cNvSpPr txBox="1">
            <a:spLocks noGrp="1"/>
          </p:cNvSpPr>
          <p:nvPr>
            <p:ph type="ftr" idx="1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lvl1pPr marR="0" lvl="0" algn="r"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65" name="Google Shape;265;p40"/>
          <p:cNvSpPr txBox="1">
            <a:spLocks noGrp="1"/>
          </p:cNvSpPr>
          <p:nvPr>
            <p:ph type="dt" idx="10"/>
          </p:nvPr>
        </p:nvSpPr>
        <p:spPr>
          <a:xfrm>
            <a:off x="335280" y="6356350"/>
            <a:ext cx="3322200" cy="365100"/>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1" i="0" u="none" strike="noStrike" cap="none">
                <a:solidFill>
                  <a:srgbClr val="951F39"/>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pic>
        <p:nvPicPr>
          <p:cNvPr id="266" name="Google Shape;266;p40"/>
          <p:cNvPicPr preferRelativeResize="0"/>
          <p:nvPr/>
        </p:nvPicPr>
        <p:blipFill rotWithShape="1">
          <a:blip r:embed="rId11">
            <a:alphaModFix/>
          </a:blip>
          <a:srcRect/>
          <a:stretch/>
        </p:blipFill>
        <p:spPr>
          <a:xfrm>
            <a:off x="9478940" y="-234376"/>
            <a:ext cx="3042915" cy="1617404"/>
          </a:xfrm>
          <a:prstGeom prst="rect">
            <a:avLst/>
          </a:prstGeom>
          <a:noFill/>
          <a:ln>
            <a:noFill/>
          </a:ln>
        </p:spPr>
      </p:pic>
      <p:pic>
        <p:nvPicPr>
          <p:cNvPr id="267" name="Google Shape;267;p40"/>
          <p:cNvPicPr preferRelativeResize="0"/>
          <p:nvPr/>
        </p:nvPicPr>
        <p:blipFill rotWithShape="1">
          <a:blip r:embed="rId12">
            <a:alphaModFix/>
          </a:blip>
          <a:srcRect/>
          <a:stretch/>
        </p:blipFill>
        <p:spPr>
          <a:xfrm>
            <a:off x="-30481" y="-17206"/>
            <a:ext cx="2450595" cy="1182453"/>
          </a:xfrm>
          <a:prstGeom prst="rect">
            <a:avLst/>
          </a:prstGeom>
          <a:noFill/>
          <a:ln>
            <a:noFill/>
          </a:ln>
        </p:spPr>
      </p:pic>
    </p:spTree>
    <p:extLst>
      <p:ext uri="{BB962C8B-B14F-4D97-AF65-F5344CB8AC3E}">
        <p14:creationId xmlns:p14="http://schemas.microsoft.com/office/powerpoint/2010/main" val="2003887307"/>
      </p:ext>
    </p:extLst>
  </p:cSld>
  <p:clrMap bg1="lt1" tx1="dk1" bg2="dk2" tx2="lt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34.xml"/><Relationship Id="rId7" Type="http://schemas.openxmlformats.org/officeDocument/2006/relationships/image" Target="../media/image36.jpeg"/><Relationship Id="rId2" Type="http://schemas.openxmlformats.org/officeDocument/2006/relationships/tags" Target="../tags/tag133.xml"/><Relationship Id="rId1" Type="http://schemas.openxmlformats.org/officeDocument/2006/relationships/vmlDrawing" Target="../drawings/vmlDrawing25.vml"/><Relationship Id="rId6" Type="http://schemas.openxmlformats.org/officeDocument/2006/relationships/image" Target="../media/image35.emf"/><Relationship Id="rId11" Type="http://schemas.openxmlformats.org/officeDocument/2006/relationships/image" Target="../media/image40.png"/><Relationship Id="rId5" Type="http://schemas.openxmlformats.org/officeDocument/2006/relationships/oleObject" Target="../embeddings/oleObject25.bin"/><Relationship Id="rId10" Type="http://schemas.openxmlformats.org/officeDocument/2006/relationships/image" Target="../media/image39.png"/><Relationship Id="rId4" Type="http://schemas.openxmlformats.org/officeDocument/2006/relationships/slideLayout" Target="../slideLayouts/slideLayout28.xml"/><Relationship Id="rId9"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 Type="http://schemas.openxmlformats.org/officeDocument/2006/relationships/tags" Target="../tags/tag136.xml"/><Relationship Id="rId21" Type="http://schemas.openxmlformats.org/officeDocument/2006/relationships/tags" Target="../tags/tag154.xml"/><Relationship Id="rId34" Type="http://schemas.openxmlformats.org/officeDocument/2006/relationships/image" Target="../media/image42.png"/><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image" Target="../media/image41.jpeg"/><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tags" Target="../tags/tag153.xml"/><Relationship Id="rId29" Type="http://schemas.openxmlformats.org/officeDocument/2006/relationships/tags" Target="../tags/tag162.xml"/><Relationship Id="rId1" Type="http://schemas.openxmlformats.org/officeDocument/2006/relationships/vmlDrawing" Target="../drawings/vmlDrawing26.v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image" Target="../media/image35.emf"/><Relationship Id="rId37" Type="http://schemas.openxmlformats.org/officeDocument/2006/relationships/image" Target="../media/image45.png"/><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image" Target="../media/image44.png"/><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oleObject" Target="../embeddings/oleObject26.bin"/><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slideLayout" Target="../slideLayouts/slideLayout28.xml"/><Relationship Id="rId35" Type="http://schemas.openxmlformats.org/officeDocument/2006/relationships/image" Target="../media/image43.png"/></Relationships>
</file>

<file path=ppt/slides/_rels/slide13.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oleObject" Target="../embeddings/oleObject27.bin"/><Relationship Id="rId18" Type="http://schemas.openxmlformats.org/officeDocument/2006/relationships/image" Target="../media/image50.png"/><Relationship Id="rId3" Type="http://schemas.openxmlformats.org/officeDocument/2006/relationships/tags" Target="../tags/tag164.xml"/><Relationship Id="rId21" Type="http://schemas.openxmlformats.org/officeDocument/2006/relationships/image" Target="../media/image53.png"/><Relationship Id="rId7" Type="http://schemas.openxmlformats.org/officeDocument/2006/relationships/tags" Target="../tags/tag168.xml"/><Relationship Id="rId12" Type="http://schemas.openxmlformats.org/officeDocument/2006/relationships/image" Target="../media/image46.jpeg"/><Relationship Id="rId17" Type="http://schemas.openxmlformats.org/officeDocument/2006/relationships/image" Target="../media/image49.png"/><Relationship Id="rId2" Type="http://schemas.openxmlformats.org/officeDocument/2006/relationships/tags" Target="../tags/tag163.xml"/><Relationship Id="rId16" Type="http://schemas.openxmlformats.org/officeDocument/2006/relationships/image" Target="../media/image48.jpeg"/><Relationship Id="rId20" Type="http://schemas.openxmlformats.org/officeDocument/2006/relationships/image" Target="../media/image52.png"/><Relationship Id="rId1" Type="http://schemas.openxmlformats.org/officeDocument/2006/relationships/vmlDrawing" Target="../drawings/vmlDrawing27.vml"/><Relationship Id="rId6" Type="http://schemas.openxmlformats.org/officeDocument/2006/relationships/tags" Target="../tags/tag167.xml"/><Relationship Id="rId11" Type="http://schemas.openxmlformats.org/officeDocument/2006/relationships/slideLayout" Target="../slideLayouts/slideLayout75.xml"/><Relationship Id="rId5" Type="http://schemas.openxmlformats.org/officeDocument/2006/relationships/tags" Target="../tags/tag166.xml"/><Relationship Id="rId15" Type="http://schemas.openxmlformats.org/officeDocument/2006/relationships/image" Target="../media/image47.png"/><Relationship Id="rId10" Type="http://schemas.openxmlformats.org/officeDocument/2006/relationships/tags" Target="../tags/tag171.xml"/><Relationship Id="rId19" Type="http://schemas.openxmlformats.org/officeDocument/2006/relationships/image" Target="../media/image51.png"/><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image" Target="../media/image35.emf"/><Relationship Id="rId22" Type="http://schemas.openxmlformats.org/officeDocument/2006/relationships/image" Target="../media/image54.jpeg"/></Relationships>
</file>

<file path=ppt/slides/_rels/slide14.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173.xml"/><Relationship Id="rId7" Type="http://schemas.openxmlformats.org/officeDocument/2006/relationships/oleObject" Target="../embeddings/oleObject28.bin"/><Relationship Id="rId2" Type="http://schemas.openxmlformats.org/officeDocument/2006/relationships/tags" Target="../tags/tag172.xml"/><Relationship Id="rId1" Type="http://schemas.openxmlformats.org/officeDocument/2006/relationships/vmlDrawing" Target="../drawings/vmlDrawing28.vml"/><Relationship Id="rId6" Type="http://schemas.openxmlformats.org/officeDocument/2006/relationships/slideLayout" Target="../slideLayouts/slideLayout75.xml"/><Relationship Id="rId11" Type="http://schemas.openxmlformats.org/officeDocument/2006/relationships/image" Target="../media/image57.jpeg"/><Relationship Id="rId5" Type="http://schemas.openxmlformats.org/officeDocument/2006/relationships/tags" Target="../tags/tag175.xml"/><Relationship Id="rId10" Type="http://schemas.openxmlformats.org/officeDocument/2006/relationships/image" Target="../media/image56.jpeg"/><Relationship Id="rId4" Type="http://schemas.openxmlformats.org/officeDocument/2006/relationships/tags" Target="../tags/tag174.xml"/><Relationship Id="rId9" Type="http://schemas.openxmlformats.org/officeDocument/2006/relationships/image" Target="../media/image55.jpeg"/></Relationships>
</file>

<file path=ppt/slides/_rels/slide15.xml.rels><?xml version="1.0" encoding="UTF-8" standalone="yes"?>
<Relationships xmlns="http://schemas.openxmlformats.org/package/2006/relationships"><Relationship Id="rId8" Type="http://schemas.openxmlformats.org/officeDocument/2006/relationships/tags" Target="../tags/tag182.xml"/><Relationship Id="rId13" Type="http://schemas.openxmlformats.org/officeDocument/2006/relationships/image" Target="../media/image59.svg"/><Relationship Id="rId18" Type="http://schemas.openxmlformats.org/officeDocument/2006/relationships/image" Target="../media/image64.jpeg"/><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58.png"/><Relationship Id="rId17" Type="http://schemas.openxmlformats.org/officeDocument/2006/relationships/image" Target="../media/image63.svg"/><Relationship Id="rId2" Type="http://schemas.openxmlformats.org/officeDocument/2006/relationships/tags" Target="../tags/tag176.xml"/><Relationship Id="rId16" Type="http://schemas.openxmlformats.org/officeDocument/2006/relationships/image" Target="../media/image62.png"/><Relationship Id="rId20" Type="http://schemas.openxmlformats.org/officeDocument/2006/relationships/image" Target="../media/image66.jpeg"/><Relationship Id="rId1" Type="http://schemas.openxmlformats.org/officeDocument/2006/relationships/vmlDrawing" Target="../drawings/vmlDrawing29.vml"/><Relationship Id="rId6" Type="http://schemas.openxmlformats.org/officeDocument/2006/relationships/tags" Target="../tags/tag180.xml"/><Relationship Id="rId11" Type="http://schemas.openxmlformats.org/officeDocument/2006/relationships/image" Target="../media/image35.emf"/><Relationship Id="rId5" Type="http://schemas.openxmlformats.org/officeDocument/2006/relationships/tags" Target="../tags/tag179.xml"/><Relationship Id="rId15" Type="http://schemas.openxmlformats.org/officeDocument/2006/relationships/image" Target="../media/image61.svg"/><Relationship Id="rId10" Type="http://schemas.openxmlformats.org/officeDocument/2006/relationships/oleObject" Target="../embeddings/oleObject29.bin"/><Relationship Id="rId19" Type="http://schemas.openxmlformats.org/officeDocument/2006/relationships/image" Target="../media/image65.jpeg"/><Relationship Id="rId4" Type="http://schemas.openxmlformats.org/officeDocument/2006/relationships/tags" Target="../tags/tag178.xml"/><Relationship Id="rId9" Type="http://schemas.openxmlformats.org/officeDocument/2006/relationships/slideLayout" Target="../slideLayouts/slideLayout75.xml"/><Relationship Id="rId14"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image" Target="../media/image35.emf"/><Relationship Id="rId18" Type="http://schemas.openxmlformats.org/officeDocument/2006/relationships/image" Target="../media/image62.png"/><Relationship Id="rId3" Type="http://schemas.openxmlformats.org/officeDocument/2006/relationships/tags" Target="../tags/tag184.xml"/><Relationship Id="rId21" Type="http://schemas.openxmlformats.org/officeDocument/2006/relationships/image" Target="../media/image72.svg"/><Relationship Id="rId7" Type="http://schemas.openxmlformats.org/officeDocument/2006/relationships/tags" Target="../tags/tag188.xml"/><Relationship Id="rId12" Type="http://schemas.openxmlformats.org/officeDocument/2006/relationships/oleObject" Target="../embeddings/oleObject30.bin"/><Relationship Id="rId17" Type="http://schemas.openxmlformats.org/officeDocument/2006/relationships/image" Target="../media/image70.svg"/><Relationship Id="rId2" Type="http://schemas.openxmlformats.org/officeDocument/2006/relationships/tags" Target="../tags/tag183.xml"/><Relationship Id="rId16" Type="http://schemas.openxmlformats.org/officeDocument/2006/relationships/image" Target="../media/image69.png"/><Relationship Id="rId20" Type="http://schemas.openxmlformats.org/officeDocument/2006/relationships/image" Target="../media/image71.png"/><Relationship Id="rId1" Type="http://schemas.openxmlformats.org/officeDocument/2006/relationships/vmlDrawing" Target="../drawings/vmlDrawing30.vml"/><Relationship Id="rId6" Type="http://schemas.openxmlformats.org/officeDocument/2006/relationships/tags" Target="../tags/tag187.xml"/><Relationship Id="rId11" Type="http://schemas.openxmlformats.org/officeDocument/2006/relationships/slideLayout" Target="../slideLayouts/slideLayout75.xml"/><Relationship Id="rId5" Type="http://schemas.openxmlformats.org/officeDocument/2006/relationships/tags" Target="../tags/tag186.xml"/><Relationship Id="rId15" Type="http://schemas.openxmlformats.org/officeDocument/2006/relationships/image" Target="../media/image68.svg"/><Relationship Id="rId23" Type="http://schemas.openxmlformats.org/officeDocument/2006/relationships/image" Target="../media/image74.svg"/><Relationship Id="rId10" Type="http://schemas.openxmlformats.org/officeDocument/2006/relationships/tags" Target="../tags/tag191.xml"/><Relationship Id="rId19" Type="http://schemas.openxmlformats.org/officeDocument/2006/relationships/image" Target="../media/image63.svg"/><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image" Target="../media/image67.png"/><Relationship Id="rId22" Type="http://schemas.openxmlformats.org/officeDocument/2006/relationships/image" Target="../media/image73.png"/></Relationships>
</file>

<file path=ppt/slides/_rels/slide17.xml.rels><?xml version="1.0" encoding="UTF-8" standalone="yes"?>
<Relationships xmlns="http://schemas.openxmlformats.org/package/2006/relationships"><Relationship Id="rId13" Type="http://schemas.openxmlformats.org/officeDocument/2006/relationships/tags" Target="../tags/tag203.xml"/><Relationship Id="rId18" Type="http://schemas.openxmlformats.org/officeDocument/2006/relationships/tags" Target="../tags/tag208.xml"/><Relationship Id="rId26" Type="http://schemas.openxmlformats.org/officeDocument/2006/relationships/tags" Target="../tags/tag216.xml"/><Relationship Id="rId39" Type="http://schemas.openxmlformats.org/officeDocument/2006/relationships/tags" Target="../tags/tag229.xml"/><Relationship Id="rId3" Type="http://schemas.openxmlformats.org/officeDocument/2006/relationships/tags" Target="../tags/tag193.xml"/><Relationship Id="rId21" Type="http://schemas.openxmlformats.org/officeDocument/2006/relationships/tags" Target="../tags/tag211.xml"/><Relationship Id="rId34" Type="http://schemas.openxmlformats.org/officeDocument/2006/relationships/tags" Target="../tags/tag224.xml"/><Relationship Id="rId42" Type="http://schemas.openxmlformats.org/officeDocument/2006/relationships/tags" Target="../tags/tag232.xml"/><Relationship Id="rId47" Type="http://schemas.openxmlformats.org/officeDocument/2006/relationships/tags" Target="../tags/tag237.xml"/><Relationship Id="rId50" Type="http://schemas.openxmlformats.org/officeDocument/2006/relationships/slideLayout" Target="../slideLayouts/slideLayout79.xml"/><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tags" Target="../tags/tag215.xml"/><Relationship Id="rId33" Type="http://schemas.openxmlformats.org/officeDocument/2006/relationships/tags" Target="../tags/tag223.xml"/><Relationship Id="rId38" Type="http://schemas.openxmlformats.org/officeDocument/2006/relationships/tags" Target="../tags/tag228.xml"/><Relationship Id="rId46" Type="http://schemas.openxmlformats.org/officeDocument/2006/relationships/tags" Target="../tags/tag236.xml"/><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tags" Target="../tags/tag210.xml"/><Relationship Id="rId29" Type="http://schemas.openxmlformats.org/officeDocument/2006/relationships/tags" Target="../tags/tag219.xml"/><Relationship Id="rId41" Type="http://schemas.openxmlformats.org/officeDocument/2006/relationships/tags" Target="../tags/tag231.xml"/><Relationship Id="rId54" Type="http://schemas.openxmlformats.org/officeDocument/2006/relationships/chart" Target="../charts/chart2.xml"/><Relationship Id="rId1" Type="http://schemas.openxmlformats.org/officeDocument/2006/relationships/vmlDrawing" Target="../drawings/vmlDrawing31.v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tags" Target="../tags/tag214.xml"/><Relationship Id="rId32" Type="http://schemas.openxmlformats.org/officeDocument/2006/relationships/tags" Target="../tags/tag222.xml"/><Relationship Id="rId37" Type="http://schemas.openxmlformats.org/officeDocument/2006/relationships/tags" Target="../tags/tag227.xml"/><Relationship Id="rId40" Type="http://schemas.openxmlformats.org/officeDocument/2006/relationships/tags" Target="../tags/tag230.xml"/><Relationship Id="rId45" Type="http://schemas.openxmlformats.org/officeDocument/2006/relationships/tags" Target="../tags/tag235.xml"/><Relationship Id="rId53" Type="http://schemas.openxmlformats.org/officeDocument/2006/relationships/chart" Target="../charts/chart1.xml"/><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tags" Target="../tags/tag218.xml"/><Relationship Id="rId36" Type="http://schemas.openxmlformats.org/officeDocument/2006/relationships/tags" Target="../tags/tag226.xml"/><Relationship Id="rId49" Type="http://schemas.openxmlformats.org/officeDocument/2006/relationships/tags" Target="../tags/tag239.xml"/><Relationship Id="rId10" Type="http://schemas.openxmlformats.org/officeDocument/2006/relationships/tags" Target="../tags/tag200.xml"/><Relationship Id="rId19" Type="http://schemas.openxmlformats.org/officeDocument/2006/relationships/tags" Target="../tags/tag209.xml"/><Relationship Id="rId31" Type="http://schemas.openxmlformats.org/officeDocument/2006/relationships/tags" Target="../tags/tag221.xml"/><Relationship Id="rId44" Type="http://schemas.openxmlformats.org/officeDocument/2006/relationships/tags" Target="../tags/tag234.xml"/><Relationship Id="rId52" Type="http://schemas.openxmlformats.org/officeDocument/2006/relationships/image" Target="../media/image75.emf"/><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tags" Target="../tags/tag212.xml"/><Relationship Id="rId27" Type="http://schemas.openxmlformats.org/officeDocument/2006/relationships/tags" Target="../tags/tag217.xml"/><Relationship Id="rId30" Type="http://schemas.openxmlformats.org/officeDocument/2006/relationships/tags" Target="../tags/tag220.xml"/><Relationship Id="rId35" Type="http://schemas.openxmlformats.org/officeDocument/2006/relationships/tags" Target="../tags/tag225.xml"/><Relationship Id="rId43" Type="http://schemas.openxmlformats.org/officeDocument/2006/relationships/tags" Target="../tags/tag233.xml"/><Relationship Id="rId48" Type="http://schemas.openxmlformats.org/officeDocument/2006/relationships/tags" Target="../tags/tag238.xml"/><Relationship Id="rId8" Type="http://schemas.openxmlformats.org/officeDocument/2006/relationships/tags" Target="../tags/tag198.xml"/><Relationship Id="rId51" Type="http://schemas.openxmlformats.org/officeDocument/2006/relationships/oleObject" Target="../embeddings/oleObject31.bin"/></Relationships>
</file>

<file path=ppt/slides/_rels/slide18.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18" Type="http://schemas.openxmlformats.org/officeDocument/2006/relationships/tags" Target="../tags/tag256.xml"/><Relationship Id="rId26" Type="http://schemas.openxmlformats.org/officeDocument/2006/relationships/tags" Target="../tags/tag264.xml"/><Relationship Id="rId3" Type="http://schemas.openxmlformats.org/officeDocument/2006/relationships/tags" Target="../tags/tag241.xml"/><Relationship Id="rId21" Type="http://schemas.openxmlformats.org/officeDocument/2006/relationships/tags" Target="../tags/tag259.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tags" Target="../tags/tag263.xml"/><Relationship Id="rId2" Type="http://schemas.openxmlformats.org/officeDocument/2006/relationships/tags" Target="../tags/tag240.xml"/><Relationship Id="rId16" Type="http://schemas.openxmlformats.org/officeDocument/2006/relationships/tags" Target="../tags/tag254.xml"/><Relationship Id="rId20" Type="http://schemas.openxmlformats.org/officeDocument/2006/relationships/tags" Target="../tags/tag258.xml"/><Relationship Id="rId29" Type="http://schemas.openxmlformats.org/officeDocument/2006/relationships/oleObject" Target="../embeddings/oleObject32.bin"/><Relationship Id="rId1" Type="http://schemas.openxmlformats.org/officeDocument/2006/relationships/vmlDrawing" Target="../drawings/vmlDrawing32.vml"/><Relationship Id="rId6" Type="http://schemas.openxmlformats.org/officeDocument/2006/relationships/tags" Target="../tags/tag244.xml"/><Relationship Id="rId11" Type="http://schemas.openxmlformats.org/officeDocument/2006/relationships/tags" Target="../tags/tag249.xml"/><Relationship Id="rId24" Type="http://schemas.openxmlformats.org/officeDocument/2006/relationships/tags" Target="../tags/tag262.xml"/><Relationship Id="rId5" Type="http://schemas.openxmlformats.org/officeDocument/2006/relationships/tags" Target="../tags/tag243.xml"/><Relationship Id="rId15" Type="http://schemas.openxmlformats.org/officeDocument/2006/relationships/tags" Target="../tags/tag253.xml"/><Relationship Id="rId23" Type="http://schemas.openxmlformats.org/officeDocument/2006/relationships/tags" Target="../tags/tag261.xml"/><Relationship Id="rId28" Type="http://schemas.openxmlformats.org/officeDocument/2006/relationships/slideLayout" Target="../slideLayouts/slideLayout79.xml"/><Relationship Id="rId10" Type="http://schemas.openxmlformats.org/officeDocument/2006/relationships/tags" Target="../tags/tag248.xml"/><Relationship Id="rId19" Type="http://schemas.openxmlformats.org/officeDocument/2006/relationships/tags" Target="../tags/tag257.xml"/><Relationship Id="rId31" Type="http://schemas.openxmlformats.org/officeDocument/2006/relationships/chart" Target="../charts/chart3.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 Id="rId22" Type="http://schemas.openxmlformats.org/officeDocument/2006/relationships/tags" Target="../tags/tag260.xml"/><Relationship Id="rId27" Type="http://schemas.openxmlformats.org/officeDocument/2006/relationships/tags" Target="../tags/tag265.xml"/><Relationship Id="rId30" Type="http://schemas.openxmlformats.org/officeDocument/2006/relationships/image" Target="../media/image75.emf"/></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30.xml"/><Relationship Id="rId6" Type="http://schemas.openxmlformats.org/officeDocument/2006/relationships/image" Target="../media/image80.png"/><Relationship Id="rId5" Type="http://schemas.openxmlformats.org/officeDocument/2006/relationships/image" Target="../media/image79.png"/><Relationship Id="rId10" Type="http://schemas.microsoft.com/office/2007/relationships/hdphoto" Target="../media/hdphoto1.wdp"/><Relationship Id="rId4" Type="http://schemas.openxmlformats.org/officeDocument/2006/relationships/image" Target="../media/image78.png"/><Relationship Id="rId9" Type="http://schemas.openxmlformats.org/officeDocument/2006/relationships/image" Target="../media/image83.png"/></Relationships>
</file>

<file path=ppt/slides/_rels/slide2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30.xml"/><Relationship Id="rId4" Type="http://schemas.openxmlformats.org/officeDocument/2006/relationships/image" Target="../media/image84.png"/></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67.xml"/><Relationship Id="rId7" Type="http://schemas.openxmlformats.org/officeDocument/2006/relationships/slideLayout" Target="../slideLayouts/slideLayout28.xml"/><Relationship Id="rId2" Type="http://schemas.openxmlformats.org/officeDocument/2006/relationships/tags" Target="../tags/tag266.xml"/><Relationship Id="rId1" Type="http://schemas.openxmlformats.org/officeDocument/2006/relationships/vmlDrawing" Target="../drawings/vmlDrawing33.vml"/><Relationship Id="rId6" Type="http://schemas.openxmlformats.org/officeDocument/2006/relationships/tags" Target="../tags/tag270.xml"/><Relationship Id="rId5" Type="http://schemas.openxmlformats.org/officeDocument/2006/relationships/tags" Target="../tags/tag269.xml"/><Relationship Id="rId4" Type="http://schemas.openxmlformats.org/officeDocument/2006/relationships/tags" Target="../tags/tag268.xml"/><Relationship Id="rId9" Type="http://schemas.openxmlformats.org/officeDocument/2006/relationships/image" Target="../media/image35.emf"/></Relationships>
</file>

<file path=ppt/slides/_rels/slide23.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18" Type="http://schemas.openxmlformats.org/officeDocument/2006/relationships/tags" Target="../tags/tag287.xml"/><Relationship Id="rId26" Type="http://schemas.openxmlformats.org/officeDocument/2006/relationships/tags" Target="../tags/tag295.xml"/><Relationship Id="rId39" Type="http://schemas.openxmlformats.org/officeDocument/2006/relationships/image" Target="../media/image21.png"/><Relationship Id="rId3" Type="http://schemas.openxmlformats.org/officeDocument/2006/relationships/tags" Target="../tags/tag272.xml"/><Relationship Id="rId21" Type="http://schemas.openxmlformats.org/officeDocument/2006/relationships/tags" Target="../tags/tag290.xml"/><Relationship Id="rId34" Type="http://schemas.openxmlformats.org/officeDocument/2006/relationships/image" Target="../media/image88.png"/><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tags" Target="../tags/tag294.xml"/><Relationship Id="rId33" Type="http://schemas.openxmlformats.org/officeDocument/2006/relationships/image" Target="../media/image87.svg"/><Relationship Id="rId38" Type="http://schemas.openxmlformats.org/officeDocument/2006/relationships/image" Target="../media/image20.png"/><Relationship Id="rId2" Type="http://schemas.openxmlformats.org/officeDocument/2006/relationships/tags" Target="../tags/tag271.xml"/><Relationship Id="rId16" Type="http://schemas.openxmlformats.org/officeDocument/2006/relationships/tags" Target="../tags/tag285.xml"/><Relationship Id="rId20" Type="http://schemas.openxmlformats.org/officeDocument/2006/relationships/tags" Target="../tags/tag289.xml"/><Relationship Id="rId29" Type="http://schemas.openxmlformats.org/officeDocument/2006/relationships/image" Target="../media/image35.emf"/><Relationship Id="rId1" Type="http://schemas.openxmlformats.org/officeDocument/2006/relationships/vmlDrawing" Target="../drawings/vmlDrawing34.vml"/><Relationship Id="rId6" Type="http://schemas.openxmlformats.org/officeDocument/2006/relationships/tags" Target="../tags/tag275.xml"/><Relationship Id="rId11" Type="http://schemas.openxmlformats.org/officeDocument/2006/relationships/tags" Target="../tags/tag280.xml"/><Relationship Id="rId24" Type="http://schemas.openxmlformats.org/officeDocument/2006/relationships/tags" Target="../tags/tag293.xml"/><Relationship Id="rId32" Type="http://schemas.openxmlformats.org/officeDocument/2006/relationships/image" Target="../media/image86.png"/><Relationship Id="rId37" Type="http://schemas.openxmlformats.org/officeDocument/2006/relationships/image" Target="../media/image91.svg"/><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tags" Target="../tags/tag292.xml"/><Relationship Id="rId28" Type="http://schemas.openxmlformats.org/officeDocument/2006/relationships/oleObject" Target="../embeddings/oleObject34.bin"/><Relationship Id="rId36" Type="http://schemas.openxmlformats.org/officeDocument/2006/relationships/image" Target="../media/image90.png"/><Relationship Id="rId10" Type="http://schemas.openxmlformats.org/officeDocument/2006/relationships/tags" Target="../tags/tag279.xml"/><Relationship Id="rId19" Type="http://schemas.openxmlformats.org/officeDocument/2006/relationships/tags" Target="../tags/tag288.xml"/><Relationship Id="rId31" Type="http://schemas.openxmlformats.org/officeDocument/2006/relationships/chart" Target="../charts/chart4.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tags" Target="../tags/tag291.xml"/><Relationship Id="rId27" Type="http://schemas.openxmlformats.org/officeDocument/2006/relationships/slideLayout" Target="../slideLayouts/slideLayout28.xml"/><Relationship Id="rId30" Type="http://schemas.openxmlformats.org/officeDocument/2006/relationships/image" Target="../media/image85.jpeg"/><Relationship Id="rId35" Type="http://schemas.openxmlformats.org/officeDocument/2006/relationships/image" Target="../media/image89.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hyperlink" Target="mailto:AfricaCDCEBS@africa-union.org"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hyperlink" Target="https://africacdc.org/covid-19/"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3.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60"/>
        <p:cNvGrpSpPr/>
        <p:nvPr/>
      </p:nvGrpSpPr>
      <p:grpSpPr>
        <a:xfrm>
          <a:off x="0" y="0"/>
          <a:ext cx="0" cy="0"/>
          <a:chOff x="0" y="0"/>
          <a:chExt cx="0" cy="0"/>
        </a:xfrm>
      </p:grpSpPr>
      <p:pic>
        <p:nvPicPr>
          <p:cNvPr id="362" name="Google Shape;362;p54"/>
          <p:cNvPicPr preferRelativeResize="0"/>
          <p:nvPr/>
        </p:nvPicPr>
        <p:blipFill rotWithShape="1">
          <a:blip r:embed="rId3">
            <a:alphaModFix/>
          </a:blip>
          <a:srcRect/>
          <a:stretch/>
        </p:blipFill>
        <p:spPr>
          <a:xfrm>
            <a:off x="1533840" y="4784763"/>
            <a:ext cx="1975550" cy="1985425"/>
          </a:xfrm>
          <a:prstGeom prst="rect">
            <a:avLst/>
          </a:prstGeom>
          <a:noFill/>
          <a:ln>
            <a:noFill/>
          </a:ln>
        </p:spPr>
      </p:pic>
      <p:grpSp>
        <p:nvGrpSpPr>
          <p:cNvPr id="363" name="Google Shape;363;p54"/>
          <p:cNvGrpSpPr/>
          <p:nvPr/>
        </p:nvGrpSpPr>
        <p:grpSpPr>
          <a:xfrm>
            <a:off x="4859867" y="1204347"/>
            <a:ext cx="7349652" cy="5671298"/>
            <a:chOff x="4354225" y="979650"/>
            <a:chExt cx="7837800" cy="5878500"/>
          </a:xfrm>
        </p:grpSpPr>
        <p:pic>
          <p:nvPicPr>
            <p:cNvPr id="364" name="Google Shape;364;p54"/>
            <p:cNvPicPr preferRelativeResize="0"/>
            <p:nvPr/>
          </p:nvPicPr>
          <p:blipFill rotWithShape="1">
            <a:blip r:embed="rId4">
              <a:alphaModFix/>
            </a:blip>
            <a:srcRect/>
            <a:stretch/>
          </p:blipFill>
          <p:spPr>
            <a:xfrm>
              <a:off x="4354225" y="979650"/>
              <a:ext cx="7837800" cy="5878500"/>
            </a:xfrm>
            <a:prstGeom prst="round2SameRect">
              <a:avLst>
                <a:gd name="adj1" fmla="val 9483"/>
                <a:gd name="adj2" fmla="val 0"/>
              </a:avLst>
            </a:prstGeom>
            <a:noFill/>
            <a:ln>
              <a:noFill/>
            </a:ln>
          </p:spPr>
        </p:pic>
        <p:pic>
          <p:nvPicPr>
            <p:cNvPr id="365" name="Google Shape;365;p54"/>
            <p:cNvPicPr preferRelativeResize="0"/>
            <p:nvPr/>
          </p:nvPicPr>
          <p:blipFill rotWithShape="1">
            <a:blip r:embed="rId4">
              <a:alphaModFix/>
            </a:blip>
            <a:srcRect l="76208"/>
            <a:stretch/>
          </p:blipFill>
          <p:spPr>
            <a:xfrm>
              <a:off x="10327323" y="979725"/>
              <a:ext cx="1864699" cy="5878351"/>
            </a:xfrm>
            <a:prstGeom prst="rect">
              <a:avLst/>
            </a:prstGeom>
            <a:noFill/>
            <a:ln>
              <a:noFill/>
            </a:ln>
          </p:spPr>
        </p:pic>
      </p:grpSp>
      <p:sp>
        <p:nvSpPr>
          <p:cNvPr id="2" name="TextBox 1"/>
          <p:cNvSpPr txBox="1"/>
          <p:nvPr/>
        </p:nvSpPr>
        <p:spPr>
          <a:xfrm>
            <a:off x="389466" y="4026903"/>
            <a:ext cx="4276183" cy="461665"/>
          </a:xfrm>
          <a:prstGeom prst="rect">
            <a:avLst/>
          </a:prstGeom>
          <a:noFill/>
        </p:spPr>
        <p:txBody>
          <a:bodyPr wrap="square" rtlCol="0">
            <a:spAutoFit/>
          </a:bodyPr>
          <a:lstStyle/>
          <a:p>
            <a:pPr algn="ctr"/>
            <a:r>
              <a:rPr lang="en-US" sz="1200" b="1" dirty="0"/>
              <a:t>Africa CDC – RKI Workshop</a:t>
            </a:r>
            <a:endParaRPr lang="en-US" sz="1200" dirty="0"/>
          </a:p>
          <a:p>
            <a:pPr algn="ctr"/>
            <a:r>
              <a:rPr lang="en-US" sz="1200" b="1" dirty="0"/>
              <a:t>18 Nov  2020</a:t>
            </a:r>
          </a:p>
        </p:txBody>
      </p:sp>
      <p:sp>
        <p:nvSpPr>
          <p:cNvPr id="361" name="Google Shape;361;p54"/>
          <p:cNvSpPr txBox="1">
            <a:spLocks noGrp="1"/>
          </p:cNvSpPr>
          <p:nvPr>
            <p:ph type="ctrTitle" idx="4294967295"/>
          </p:nvPr>
        </p:nvSpPr>
        <p:spPr>
          <a:xfrm>
            <a:off x="-169330" y="1305945"/>
            <a:ext cx="5638799" cy="23877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rgbClr val="53575A"/>
              </a:buClr>
              <a:buSzPts val="3200"/>
              <a:buFont typeface="Arial"/>
              <a:buNone/>
            </a:pPr>
            <a:r>
              <a:rPr lang="en-US" sz="3000" b="1" i="0" u="none" strike="noStrike" cap="none" dirty="0">
                <a:solidFill>
                  <a:schemeClr val="tx1"/>
                </a:solidFill>
                <a:latin typeface="Arial"/>
                <a:ea typeface="Arial"/>
                <a:cs typeface="Arial"/>
                <a:sym typeface="Arial"/>
              </a:rPr>
              <a:t>Africa CDC Response </a:t>
            </a:r>
            <a:br>
              <a:rPr lang="en-US" sz="3000" b="1" i="0" u="none" strike="noStrike" cap="none" dirty="0">
                <a:solidFill>
                  <a:schemeClr val="tx1"/>
                </a:solidFill>
                <a:latin typeface="Arial"/>
                <a:ea typeface="Arial"/>
                <a:cs typeface="Arial"/>
                <a:sym typeface="Arial"/>
              </a:rPr>
            </a:br>
            <a:r>
              <a:rPr lang="en-US" sz="3000" b="1" i="0" u="none" strike="noStrike" cap="none" dirty="0">
                <a:solidFill>
                  <a:schemeClr val="tx1"/>
                </a:solidFill>
                <a:latin typeface="Arial"/>
                <a:ea typeface="Arial"/>
                <a:cs typeface="Arial"/>
                <a:sym typeface="Arial"/>
              </a:rPr>
              <a:t>to COVID-19 Pandemic </a:t>
            </a:r>
            <a:br>
              <a:rPr lang="en-US" sz="3000" b="1" i="0" u="none" strike="noStrike" cap="none" dirty="0">
                <a:solidFill>
                  <a:schemeClr val="tx1"/>
                </a:solidFill>
                <a:latin typeface="Arial"/>
                <a:ea typeface="Arial"/>
                <a:cs typeface="Arial"/>
                <a:sym typeface="Arial"/>
              </a:rPr>
            </a:br>
            <a:r>
              <a:rPr lang="en-US" sz="3000" b="1" i="0" u="none" strike="noStrike" cap="none" dirty="0">
                <a:solidFill>
                  <a:schemeClr val="tx1"/>
                </a:solidFill>
                <a:latin typeface="Arial"/>
                <a:ea typeface="Arial"/>
                <a:cs typeface="Arial"/>
                <a:sym typeface="Arial"/>
              </a:rPr>
              <a:t>in Africa</a:t>
            </a:r>
            <a:br>
              <a:rPr lang="en-US" sz="3000" b="1" i="0" u="none" strike="noStrike" cap="none" dirty="0">
                <a:solidFill>
                  <a:schemeClr val="tx1"/>
                </a:solidFill>
                <a:latin typeface="Arial"/>
                <a:ea typeface="Arial"/>
                <a:cs typeface="Arial"/>
                <a:sym typeface="Arial"/>
              </a:rPr>
            </a:br>
            <a:endParaRPr sz="3000" b="1" i="0" u="none" strike="noStrike" cap="none" dirty="0">
              <a:solidFill>
                <a:schemeClr val="tx1"/>
              </a:solidFill>
              <a:latin typeface="Arial"/>
              <a:ea typeface="Arial"/>
              <a:cs typeface="Arial"/>
              <a:sym typeface="Arial"/>
            </a:endParaRPr>
          </a:p>
          <a:p>
            <a:pPr marL="0" marR="0" lvl="0" indent="0" algn="ctr" rtl="0">
              <a:lnSpc>
                <a:spcPct val="90000"/>
              </a:lnSpc>
              <a:spcBef>
                <a:spcPts val="0"/>
              </a:spcBef>
              <a:spcAft>
                <a:spcPts val="0"/>
              </a:spcAft>
              <a:buClr>
                <a:srgbClr val="53575A"/>
              </a:buClr>
              <a:buSzPts val="3200"/>
              <a:buFont typeface="Arial"/>
              <a:buNone/>
            </a:pPr>
            <a:endParaRPr sz="1400" b="1" i="0" u="none" strike="noStrike" cap="none" dirty="0">
              <a:solidFill>
                <a:schemeClr val="tx1"/>
              </a:solidFill>
              <a:latin typeface="Arial"/>
              <a:ea typeface="Arial"/>
              <a:cs typeface="Arial"/>
              <a:sym typeface="Arial"/>
            </a:endParaRPr>
          </a:p>
          <a:p>
            <a:pPr marL="0" marR="0" lvl="0" indent="0" algn="ctr" rtl="0">
              <a:lnSpc>
                <a:spcPct val="90000"/>
              </a:lnSpc>
              <a:spcBef>
                <a:spcPts val="0"/>
              </a:spcBef>
              <a:spcAft>
                <a:spcPts val="0"/>
              </a:spcAft>
              <a:buClr>
                <a:srgbClr val="53575A"/>
              </a:buClr>
              <a:buSzPts val="3200"/>
              <a:buFont typeface="Arial"/>
              <a:buNone/>
            </a:pPr>
            <a:r>
              <a:rPr lang="en-US" sz="1700" b="1" i="0" u="none" strike="noStrike" cap="none" dirty="0">
                <a:solidFill>
                  <a:schemeClr val="tx1"/>
                </a:solidFill>
                <a:latin typeface="Arial"/>
                <a:ea typeface="Arial"/>
                <a:cs typeface="Arial"/>
                <a:sym typeface="Arial"/>
              </a:rPr>
              <a:t>Dr. Wessam Mankoula</a:t>
            </a:r>
            <a:br>
              <a:rPr lang="en-US" sz="1700" b="1" i="0" u="none" strike="noStrike" cap="none" dirty="0">
                <a:solidFill>
                  <a:schemeClr val="tx1"/>
                </a:solidFill>
                <a:latin typeface="Arial"/>
                <a:ea typeface="Arial"/>
                <a:cs typeface="Arial"/>
                <a:sym typeface="Arial"/>
              </a:rPr>
            </a:br>
            <a:r>
              <a:rPr lang="en-US" sz="1700" dirty="0">
                <a:solidFill>
                  <a:schemeClr val="tx1"/>
                </a:solidFill>
              </a:rPr>
              <a:t>Africa CDC Incident Manger for COVID-19</a:t>
            </a:r>
            <a:endParaRPr sz="1700" b="1" i="0" u="none" strike="noStrike" cap="none" dirty="0">
              <a:solidFill>
                <a:schemeClr val="tx1"/>
              </a:solidFill>
              <a:highlight>
                <a:srgbClr val="FFFFFF"/>
              </a:highlight>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78"/>
        <p:cNvGrpSpPr/>
        <p:nvPr/>
      </p:nvGrpSpPr>
      <p:grpSpPr>
        <a:xfrm>
          <a:off x="0" y="0"/>
          <a:ext cx="0" cy="0"/>
          <a:chOff x="0" y="0"/>
          <a:chExt cx="0" cy="0"/>
        </a:xfrm>
      </p:grpSpPr>
      <p:sp>
        <p:nvSpPr>
          <p:cNvPr id="579" name="Google Shape;579;p88"/>
          <p:cNvSpPr txBox="1">
            <a:spLocks noGrp="1"/>
          </p:cNvSpPr>
          <p:nvPr>
            <p:ph type="title"/>
          </p:nvPr>
        </p:nvSpPr>
        <p:spPr>
          <a:xfrm>
            <a:off x="3090041" y="433461"/>
            <a:ext cx="8868718" cy="281242"/>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SzPts val="3200"/>
              <a:buNone/>
            </a:pPr>
            <a:r>
              <a:rPr lang="en-US" sz="3200" dirty="0"/>
              <a:t>The six-pronged approach</a:t>
            </a:r>
            <a:endParaRPr sz="3200" dirty="0"/>
          </a:p>
        </p:txBody>
      </p:sp>
      <p:sp>
        <p:nvSpPr>
          <p:cNvPr id="580" name="Google Shape;580;p88"/>
          <p:cNvSpPr/>
          <p:nvPr/>
        </p:nvSpPr>
        <p:spPr>
          <a:xfrm>
            <a:off x="446375" y="1454225"/>
            <a:ext cx="2710150" cy="1366092"/>
          </a:xfrm>
          <a:prstGeom prst="roundRect">
            <a:avLst>
              <a:gd name="adj" fmla="val 16667"/>
            </a:avLst>
          </a:prstGeom>
          <a:solidFill>
            <a:schemeClr val="accent3"/>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sz="3200" b="1" i="0" u="none" strike="noStrike" cap="none" dirty="0">
                <a:solidFill>
                  <a:schemeClr val="bg1"/>
                </a:solidFill>
                <a:latin typeface="Arial"/>
                <a:ea typeface="Arial"/>
                <a:cs typeface="Arial"/>
                <a:sym typeface="Arial"/>
              </a:rPr>
              <a:t>1. </a:t>
            </a:r>
            <a:r>
              <a:rPr lang="en-US" sz="1600" b="1" i="0" u="none" strike="noStrike" cap="none" dirty="0">
                <a:solidFill>
                  <a:schemeClr val="bg1"/>
                </a:solidFill>
                <a:sym typeface="Arial"/>
              </a:rPr>
              <a:t>Africa Joint Continental Strategy for COVID-19 Outbreak</a:t>
            </a:r>
            <a:endParaRPr dirty="0">
              <a:solidFill>
                <a:schemeClr val="bg1"/>
              </a:solidFill>
            </a:endParaRPr>
          </a:p>
        </p:txBody>
      </p:sp>
      <p:sp>
        <p:nvSpPr>
          <p:cNvPr id="581" name="Google Shape;581;p88"/>
          <p:cNvSpPr/>
          <p:nvPr/>
        </p:nvSpPr>
        <p:spPr>
          <a:xfrm>
            <a:off x="6502936" y="1366092"/>
            <a:ext cx="2888255" cy="1299990"/>
          </a:xfrm>
          <a:prstGeom prst="roundRect">
            <a:avLst>
              <a:gd name="adj" fmla="val 16667"/>
            </a:avLst>
          </a:prstGeom>
          <a:solidFill>
            <a:schemeClr val="accent3"/>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sz="1800" b="1" i="0" u="none" strike="noStrike" cap="none">
                <a:solidFill>
                  <a:schemeClr val="bg1"/>
                </a:solidFill>
                <a:sym typeface="Arial"/>
              </a:rPr>
              <a:t>4. Africa Medical Supplies Platform (AMSP)</a:t>
            </a:r>
            <a:endParaRPr sz="1800">
              <a:solidFill>
                <a:schemeClr val="bg1"/>
              </a:solidFill>
            </a:endParaRPr>
          </a:p>
        </p:txBody>
      </p:sp>
      <p:sp>
        <p:nvSpPr>
          <p:cNvPr id="582" name="Google Shape;582;p88"/>
          <p:cNvSpPr/>
          <p:nvPr/>
        </p:nvSpPr>
        <p:spPr>
          <a:xfrm>
            <a:off x="6591768" y="4799681"/>
            <a:ext cx="2901109" cy="1303664"/>
          </a:xfrm>
          <a:prstGeom prst="roundRect">
            <a:avLst>
              <a:gd name="adj" fmla="val 16667"/>
            </a:avLst>
          </a:prstGeom>
          <a:solidFill>
            <a:schemeClr val="accent3"/>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sz="1800" b="1" i="0" u="none" strike="noStrike" cap="none" dirty="0">
                <a:solidFill>
                  <a:schemeClr val="bg1"/>
                </a:solidFill>
                <a:sym typeface="Arial"/>
              </a:rPr>
              <a:t>6. Africa Against COVID-19: Saving Lives, Economies, and Livelihoods</a:t>
            </a:r>
            <a:endParaRPr sz="1800" dirty="0">
              <a:solidFill>
                <a:schemeClr val="bg1"/>
              </a:solidFill>
            </a:endParaRPr>
          </a:p>
        </p:txBody>
      </p:sp>
      <p:sp>
        <p:nvSpPr>
          <p:cNvPr id="583" name="Google Shape;583;p88"/>
          <p:cNvSpPr/>
          <p:nvPr/>
        </p:nvSpPr>
        <p:spPr>
          <a:xfrm>
            <a:off x="429845" y="3244467"/>
            <a:ext cx="2814811" cy="1366092"/>
          </a:xfrm>
          <a:prstGeom prst="roundRect">
            <a:avLst>
              <a:gd name="adj" fmla="val 16667"/>
            </a:avLst>
          </a:prstGeom>
          <a:solidFill>
            <a:schemeClr val="accent3"/>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sz="1800" b="1" i="0" u="none" strike="noStrike" cap="none" dirty="0">
                <a:solidFill>
                  <a:schemeClr val="bg1"/>
                </a:solidFill>
                <a:sym typeface="Arial"/>
              </a:rPr>
              <a:t>2. Africa Task Force for Coronavirus (AFTCOR)</a:t>
            </a:r>
            <a:endParaRPr sz="1800" dirty="0">
              <a:solidFill>
                <a:schemeClr val="bg1"/>
              </a:solidFill>
            </a:endParaRPr>
          </a:p>
        </p:txBody>
      </p:sp>
      <p:sp>
        <p:nvSpPr>
          <p:cNvPr id="584" name="Google Shape;584;p88"/>
          <p:cNvSpPr/>
          <p:nvPr/>
        </p:nvSpPr>
        <p:spPr>
          <a:xfrm>
            <a:off x="505128" y="4941253"/>
            <a:ext cx="2794613" cy="1362422"/>
          </a:xfrm>
          <a:prstGeom prst="roundRect">
            <a:avLst>
              <a:gd name="adj" fmla="val 16667"/>
            </a:avLst>
          </a:prstGeom>
          <a:solidFill>
            <a:schemeClr val="accent3"/>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sz="1800" b="1" i="0" u="none" strike="noStrike" cap="none" dirty="0">
                <a:solidFill>
                  <a:schemeClr val="bg1"/>
                </a:solidFill>
                <a:sym typeface="Arial"/>
              </a:rPr>
              <a:t>3. Partnership to Accelerate COVID-19 Testing in Africa (PACT)</a:t>
            </a:r>
            <a:endParaRPr sz="1800" dirty="0">
              <a:solidFill>
                <a:schemeClr val="bg1"/>
              </a:solidFill>
            </a:endParaRPr>
          </a:p>
        </p:txBody>
      </p:sp>
      <p:sp>
        <p:nvSpPr>
          <p:cNvPr id="585" name="Google Shape;585;p88"/>
          <p:cNvSpPr/>
          <p:nvPr/>
        </p:nvSpPr>
        <p:spPr>
          <a:xfrm>
            <a:off x="6543330" y="3013112"/>
            <a:ext cx="2924979" cy="1338551"/>
          </a:xfrm>
          <a:prstGeom prst="roundRect">
            <a:avLst>
              <a:gd name="adj" fmla="val 16667"/>
            </a:avLst>
          </a:prstGeom>
          <a:solidFill>
            <a:schemeClr val="accent3"/>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sz="1800" b="1" i="0" u="none" strike="noStrike" cap="none">
                <a:solidFill>
                  <a:schemeClr val="bg1"/>
                </a:solidFill>
                <a:sym typeface="Arial"/>
              </a:rPr>
              <a:t>5. Consortium for COVID-19 Clinical Vaccine Trials </a:t>
            </a:r>
            <a:endParaRPr sz="1800">
              <a:solidFill>
                <a:schemeClr val="bg1"/>
              </a:solidFill>
            </a:endParaRPr>
          </a:p>
        </p:txBody>
      </p:sp>
      <p:sp>
        <p:nvSpPr>
          <p:cNvPr id="586" name="Google Shape;586;p88"/>
          <p:cNvSpPr/>
          <p:nvPr/>
        </p:nvSpPr>
        <p:spPr>
          <a:xfrm>
            <a:off x="3279228" y="1703833"/>
            <a:ext cx="2774731" cy="95410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1" i="0" u="none" strike="noStrike" cap="none" dirty="0">
                <a:solidFill>
                  <a:srgbClr val="000000"/>
                </a:solidFill>
                <a:latin typeface="Arial"/>
                <a:ea typeface="Arial"/>
                <a:cs typeface="Arial"/>
                <a:sym typeface="Arial"/>
              </a:rPr>
              <a:t>Enhance cooperation, collaboration, coordination and communication for COVID-19 response</a:t>
            </a:r>
            <a:endParaRPr dirty="0"/>
          </a:p>
        </p:txBody>
      </p:sp>
      <p:sp>
        <p:nvSpPr>
          <p:cNvPr id="587" name="Google Shape;587;p88"/>
          <p:cNvSpPr/>
          <p:nvPr/>
        </p:nvSpPr>
        <p:spPr>
          <a:xfrm>
            <a:off x="3394840" y="3335592"/>
            <a:ext cx="2953408" cy="138499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Steering committee comprising</a:t>
            </a:r>
            <a:endParaRPr/>
          </a:p>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representatives of public health and research institutions, MOH, NGOs, Africa CDC staff, multilateral and bilateral organizations, UN entities</a:t>
            </a:r>
            <a:endParaRPr/>
          </a:p>
        </p:txBody>
      </p:sp>
      <p:sp>
        <p:nvSpPr>
          <p:cNvPr id="588" name="Google Shape;588;p88"/>
          <p:cNvSpPr/>
          <p:nvPr/>
        </p:nvSpPr>
        <p:spPr>
          <a:xfrm>
            <a:off x="3415862" y="5130244"/>
            <a:ext cx="3069021" cy="95410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To mobilize partnerships, experts,</a:t>
            </a:r>
            <a:endParaRPr/>
          </a:p>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community workers, supplies, etc. to enhance COVID-19 testing, tracing and treatment</a:t>
            </a:r>
            <a:endParaRPr/>
          </a:p>
        </p:txBody>
      </p:sp>
      <p:sp>
        <p:nvSpPr>
          <p:cNvPr id="589" name="Google Shape;589;p88"/>
          <p:cNvSpPr/>
          <p:nvPr/>
        </p:nvSpPr>
        <p:spPr>
          <a:xfrm>
            <a:off x="9459311" y="1383287"/>
            <a:ext cx="2732689" cy="116955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One-stop online marketplace for procurement and supply of COVID-19-related diagnostics, medicines and medical equipment</a:t>
            </a:r>
            <a:endParaRPr/>
          </a:p>
        </p:txBody>
      </p:sp>
      <p:sp>
        <p:nvSpPr>
          <p:cNvPr id="590" name="Google Shape;590;p88"/>
          <p:cNvSpPr/>
          <p:nvPr/>
        </p:nvSpPr>
        <p:spPr>
          <a:xfrm>
            <a:off x="9490841" y="3009772"/>
            <a:ext cx="2701159" cy="138499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Initiative, to accelerate progress on COVID-19 vaccine trials in Africa through partnerships with relevant institutions and networks.</a:t>
            </a:r>
            <a:endParaRPr/>
          </a:p>
        </p:txBody>
      </p:sp>
      <p:sp>
        <p:nvSpPr>
          <p:cNvPr id="591" name="Google Shape;591;p88"/>
          <p:cNvSpPr/>
          <p:nvPr/>
        </p:nvSpPr>
        <p:spPr>
          <a:xfrm>
            <a:off x="9532883" y="4862212"/>
            <a:ext cx="2753710" cy="116955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Promoting harmonized,</a:t>
            </a:r>
            <a:endParaRPr/>
          </a:p>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standardized and coordinated</a:t>
            </a:r>
            <a:endParaRPr/>
          </a:p>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entry and exit requirements for AU Member States</a:t>
            </a:r>
            <a:endParaRPr/>
          </a:p>
          <a:p>
            <a:pPr marL="0" marR="0" lvl="0" indent="0" algn="l" rtl="0">
              <a:lnSpc>
                <a:spcPct val="100000"/>
              </a:lnSpc>
              <a:spcBef>
                <a:spcPts val="0"/>
              </a:spcBef>
              <a:spcAft>
                <a:spcPts val="0"/>
              </a:spcAft>
              <a:buNone/>
            </a:pPr>
            <a:r>
              <a:rPr lang="en-US" sz="1400" b="1" i="0" u="none" strike="noStrike" cap="none">
                <a:solidFill>
                  <a:srgbClr val="000000"/>
                </a:solidFill>
                <a:latin typeface="Arial"/>
                <a:ea typeface="Arial"/>
                <a:cs typeface="Arial"/>
                <a:sym typeface="Arial"/>
              </a:rPr>
              <a:t>through digital solutions</a:t>
            </a:r>
            <a:endParaRPr/>
          </a:p>
        </p:txBody>
      </p:sp>
    </p:spTree>
    <p:extLst>
      <p:ext uri="{BB962C8B-B14F-4D97-AF65-F5344CB8AC3E}">
        <p14:creationId xmlns:p14="http://schemas.microsoft.com/office/powerpoint/2010/main" val="13507563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EB5BBF-2735-4F6E-91F6-2D9FE1ED5B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3" name="think-cell Slide" r:id="rId5" imgW="451" imgH="450" progId="TCLayout.ActiveDocument.1">
                  <p:embed/>
                </p:oleObj>
              </mc:Choice>
              <mc:Fallback>
                <p:oleObj name="think-cell Slide" r:id="rId5" imgW="451" imgH="45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E030993-4F4C-46FA-9E6E-E8B49FCEA7B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err="1">
              <a:solidFill>
                <a:srgbClr val="000000"/>
              </a:solidFill>
              <a:sym typeface="Arial" panose="020B0604020202020204" pitchFamily="34" charset="0"/>
            </a:endParaRPr>
          </a:p>
        </p:txBody>
      </p:sp>
      <p:sp>
        <p:nvSpPr>
          <p:cNvPr id="6" name="Rectangle 5">
            <a:extLst>
              <a:ext uri="{FF2B5EF4-FFF2-40B4-BE49-F238E27FC236}">
                <a16:creationId xmlns:a16="http://schemas.microsoft.com/office/drawing/2014/main" id="{0014FB18-628D-4128-8625-C6E188B89F49}"/>
              </a:ext>
            </a:extLst>
          </p:cNvPr>
          <p:cNvSpPr>
            <a:spLocks/>
          </p:cNvSpPr>
          <p:nvPr/>
        </p:nvSpPr>
        <p:spPr>
          <a:xfrm>
            <a:off x="316097" y="2982213"/>
            <a:ext cx="1523009" cy="47387"/>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buClrTx/>
              <a:buFontTx/>
              <a:buNone/>
            </a:pPr>
            <a:endParaRPr lang="en-US" sz="1100" kern="1200">
              <a:solidFill>
                <a:srgbClr val="FFFFFF"/>
              </a:solidFill>
            </a:endParaRPr>
          </a:p>
        </p:txBody>
      </p:sp>
      <p:sp>
        <p:nvSpPr>
          <p:cNvPr id="7" name="Rectangle 6">
            <a:extLst>
              <a:ext uri="{FF2B5EF4-FFF2-40B4-BE49-F238E27FC236}">
                <a16:creationId xmlns:a16="http://schemas.microsoft.com/office/drawing/2014/main" id="{892A542D-AADA-45C9-BC11-AE022CA80E8B}"/>
              </a:ext>
            </a:extLst>
          </p:cNvPr>
          <p:cNvSpPr>
            <a:spLocks/>
          </p:cNvSpPr>
          <p:nvPr/>
        </p:nvSpPr>
        <p:spPr>
          <a:xfrm>
            <a:off x="2661756" y="2982213"/>
            <a:ext cx="1523009" cy="47387"/>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buClrTx/>
              <a:buFontTx/>
              <a:buNone/>
            </a:pPr>
            <a:endParaRPr lang="en-US" sz="1100" kern="1200">
              <a:solidFill>
                <a:srgbClr val="FFFFFF"/>
              </a:solidFill>
            </a:endParaRPr>
          </a:p>
        </p:txBody>
      </p:sp>
      <p:sp>
        <p:nvSpPr>
          <p:cNvPr id="9" name="TextBox 8">
            <a:extLst>
              <a:ext uri="{FF2B5EF4-FFF2-40B4-BE49-F238E27FC236}">
                <a16:creationId xmlns:a16="http://schemas.microsoft.com/office/drawing/2014/main" id="{64D2BDC6-5922-459A-A2A6-8A0AA63E2B07}"/>
              </a:ext>
            </a:extLst>
          </p:cNvPr>
          <p:cNvSpPr txBox="1">
            <a:spLocks/>
          </p:cNvSpPr>
          <p:nvPr/>
        </p:nvSpPr>
        <p:spPr>
          <a:xfrm>
            <a:off x="316097" y="3142454"/>
            <a:ext cx="1523009" cy="193899"/>
          </a:xfrm>
          <a:prstGeom prst="rect">
            <a:avLst/>
          </a:prstGeom>
        </p:spPr>
        <p:txBody>
          <a:bodyPr vert="horz" wrap="square" lIns="0" tIns="0" rIns="0" bIns="0" rtlCol="0" anchor="ctr">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Tx/>
              <a:buFont typeface="Arial" panose="020B0604020202020204" pitchFamily="34" charset="0"/>
              <a:buNone/>
            </a:pPr>
            <a:r>
              <a:rPr lang="en-US" sz="1400" b="1" kern="1200" dirty="0">
                <a:solidFill>
                  <a:srgbClr val="303D24"/>
                </a:solidFill>
                <a:latin typeface="Arial" charset="0"/>
                <a:ea typeface="+mn-ea"/>
                <a:cs typeface="+mn-cs"/>
              </a:rPr>
              <a:t>22 Feb 2020</a:t>
            </a:r>
          </a:p>
        </p:txBody>
      </p:sp>
      <p:sp>
        <p:nvSpPr>
          <p:cNvPr id="10" name="TextBox 9">
            <a:extLst>
              <a:ext uri="{FF2B5EF4-FFF2-40B4-BE49-F238E27FC236}">
                <a16:creationId xmlns:a16="http://schemas.microsoft.com/office/drawing/2014/main" id="{4F6E2BF3-D5E6-4459-82E5-7FD04121C690}"/>
              </a:ext>
            </a:extLst>
          </p:cNvPr>
          <p:cNvSpPr txBox="1">
            <a:spLocks/>
          </p:cNvSpPr>
          <p:nvPr/>
        </p:nvSpPr>
        <p:spPr>
          <a:xfrm>
            <a:off x="316097" y="3502047"/>
            <a:ext cx="1523009" cy="2326791"/>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
                <a:srgbClr val="303D24"/>
              </a:buClr>
              <a:buFont typeface="Arial" panose="020B0604020202020204" pitchFamily="34" charset="0"/>
              <a:buNone/>
            </a:pPr>
            <a:r>
              <a:rPr lang="en-US" sz="1400" b="1" kern="1200" dirty="0">
                <a:latin typeface="Arial" charset="0"/>
                <a:ea typeface="+mn-ea"/>
                <a:cs typeface="+mn-cs"/>
              </a:rPr>
              <a:t>Emergency Ministerial Meeting convened by Africa CDC </a:t>
            </a:r>
            <a:r>
              <a:rPr lang="en-US" sz="1400" kern="1200" dirty="0">
                <a:latin typeface="Arial" charset="0"/>
                <a:ea typeface="+mn-ea"/>
                <a:cs typeface="+mn-cs"/>
              </a:rPr>
              <a:t>to align on a </a:t>
            </a:r>
            <a:r>
              <a:rPr lang="en-US" sz="1400" b="1" kern="1200" dirty="0">
                <a:latin typeface="Arial" charset="0"/>
                <a:ea typeface="+mn-ea"/>
                <a:cs typeface="+mn-cs"/>
              </a:rPr>
              <a:t>Joint Continental Strategy</a:t>
            </a:r>
            <a:r>
              <a:rPr lang="en-US" sz="1400" kern="1200" dirty="0">
                <a:latin typeface="Arial" charset="0"/>
                <a:ea typeface="+mn-ea"/>
                <a:cs typeface="+mn-cs"/>
              </a:rPr>
              <a:t> for COVID-19 and formally </a:t>
            </a:r>
            <a:r>
              <a:rPr lang="en-US" sz="1400" b="1" kern="1200" dirty="0">
                <a:latin typeface="Arial" charset="0"/>
                <a:ea typeface="+mn-ea"/>
                <a:cs typeface="+mn-cs"/>
              </a:rPr>
              <a:t>endorsed the creation of AFTCOR</a:t>
            </a:r>
          </a:p>
        </p:txBody>
      </p:sp>
      <p:sp>
        <p:nvSpPr>
          <p:cNvPr id="12" name="TextBox 11">
            <a:extLst>
              <a:ext uri="{FF2B5EF4-FFF2-40B4-BE49-F238E27FC236}">
                <a16:creationId xmlns:a16="http://schemas.microsoft.com/office/drawing/2014/main" id="{058E4C78-F622-4133-9FDC-7BA0575A3D7B}"/>
              </a:ext>
            </a:extLst>
          </p:cNvPr>
          <p:cNvSpPr txBox="1">
            <a:spLocks/>
          </p:cNvSpPr>
          <p:nvPr/>
        </p:nvSpPr>
        <p:spPr>
          <a:xfrm>
            <a:off x="2661756" y="3142454"/>
            <a:ext cx="1523009" cy="193899"/>
          </a:xfrm>
          <a:prstGeom prst="rect">
            <a:avLst/>
          </a:prstGeom>
        </p:spPr>
        <p:txBody>
          <a:bodyPr vert="horz" wrap="square" lIns="0" tIns="0" rIns="0" bIns="0" rtlCol="0" anchor="ctr">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Tx/>
              <a:buFont typeface="Arial" panose="020B0604020202020204" pitchFamily="34" charset="0"/>
              <a:buNone/>
            </a:pPr>
            <a:r>
              <a:rPr lang="en-US" sz="1400" b="1" kern="1200" dirty="0">
                <a:solidFill>
                  <a:srgbClr val="303D24"/>
                </a:solidFill>
                <a:latin typeface="Arial" charset="0"/>
                <a:ea typeface="+mn-ea"/>
                <a:cs typeface="+mn-cs"/>
              </a:rPr>
              <a:t>09 Mar 2020</a:t>
            </a:r>
          </a:p>
        </p:txBody>
      </p:sp>
      <p:sp>
        <p:nvSpPr>
          <p:cNvPr id="13" name="TextBox 12">
            <a:extLst>
              <a:ext uri="{FF2B5EF4-FFF2-40B4-BE49-F238E27FC236}">
                <a16:creationId xmlns:a16="http://schemas.microsoft.com/office/drawing/2014/main" id="{3AC9CBC5-E70D-4174-A560-F3479B8A3CD4}"/>
              </a:ext>
            </a:extLst>
          </p:cNvPr>
          <p:cNvSpPr txBox="1">
            <a:spLocks/>
          </p:cNvSpPr>
          <p:nvPr/>
        </p:nvSpPr>
        <p:spPr>
          <a:xfrm>
            <a:off x="2661756" y="3532905"/>
            <a:ext cx="1523009" cy="969496"/>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
                <a:srgbClr val="303D24"/>
              </a:buClr>
              <a:buFont typeface="Arial" panose="020B0604020202020204" pitchFamily="34" charset="0"/>
              <a:buNone/>
            </a:pPr>
            <a:r>
              <a:rPr lang="en-US" sz="1400" kern="1200" dirty="0">
                <a:latin typeface="Arial" charset="0"/>
                <a:ea typeface="+mn-ea"/>
                <a:cs typeface="+mn-cs"/>
              </a:rPr>
              <a:t>Africa CDC briefs </a:t>
            </a:r>
            <a:r>
              <a:rPr lang="en-US" sz="1400" b="1" kern="1200" dirty="0">
                <a:latin typeface="Arial" charset="0"/>
                <a:ea typeface="+mn-ea"/>
                <a:cs typeface="+mn-cs"/>
              </a:rPr>
              <a:t>African Union Peace and Security Council </a:t>
            </a:r>
            <a:r>
              <a:rPr lang="en-US" sz="1400" kern="1200" dirty="0">
                <a:latin typeface="Arial" charset="0"/>
                <a:ea typeface="+mn-ea"/>
                <a:cs typeface="+mn-cs"/>
              </a:rPr>
              <a:t>on COVID-19 </a:t>
            </a:r>
          </a:p>
        </p:txBody>
      </p:sp>
      <p:sp>
        <p:nvSpPr>
          <p:cNvPr id="15" name="TextBox 14">
            <a:extLst>
              <a:ext uri="{FF2B5EF4-FFF2-40B4-BE49-F238E27FC236}">
                <a16:creationId xmlns:a16="http://schemas.microsoft.com/office/drawing/2014/main" id="{BD85F0D4-D1FA-4746-AC55-8F6C13342A47}"/>
              </a:ext>
            </a:extLst>
          </p:cNvPr>
          <p:cNvSpPr txBox="1">
            <a:spLocks/>
          </p:cNvSpPr>
          <p:nvPr/>
        </p:nvSpPr>
        <p:spPr>
          <a:xfrm>
            <a:off x="5210613" y="3142454"/>
            <a:ext cx="1523009" cy="193899"/>
          </a:xfrm>
          <a:prstGeom prst="rect">
            <a:avLst/>
          </a:prstGeom>
        </p:spPr>
        <p:txBody>
          <a:bodyPr vert="horz" wrap="square" lIns="0" tIns="0" rIns="0" bIns="0" rtlCol="0" anchor="ctr">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Tx/>
              <a:buFont typeface="Arial" panose="020B0604020202020204" pitchFamily="34" charset="0"/>
              <a:buNone/>
            </a:pPr>
            <a:r>
              <a:rPr lang="en-US" sz="1400" b="1" kern="1200" dirty="0">
                <a:solidFill>
                  <a:srgbClr val="303D24"/>
                </a:solidFill>
                <a:latin typeface="Arial" charset="0"/>
                <a:ea typeface="+mn-ea"/>
                <a:cs typeface="+mn-cs"/>
              </a:rPr>
              <a:t>23 Mar 2020</a:t>
            </a:r>
          </a:p>
        </p:txBody>
      </p:sp>
      <p:sp>
        <p:nvSpPr>
          <p:cNvPr id="16" name="TextBox 15">
            <a:extLst>
              <a:ext uri="{FF2B5EF4-FFF2-40B4-BE49-F238E27FC236}">
                <a16:creationId xmlns:a16="http://schemas.microsoft.com/office/drawing/2014/main" id="{BD48328D-3117-4E36-8107-28FBA48B3B24}"/>
              </a:ext>
            </a:extLst>
          </p:cNvPr>
          <p:cNvSpPr txBox="1">
            <a:spLocks/>
          </p:cNvSpPr>
          <p:nvPr/>
        </p:nvSpPr>
        <p:spPr>
          <a:xfrm>
            <a:off x="5210613" y="3502047"/>
            <a:ext cx="1523009" cy="1745093"/>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
                <a:srgbClr val="303D24"/>
              </a:buClr>
              <a:buFont typeface="Arial" panose="020B0604020202020204" pitchFamily="34" charset="0"/>
              <a:buNone/>
            </a:pPr>
            <a:r>
              <a:rPr lang="en-US" sz="1400" kern="1200" dirty="0">
                <a:latin typeface="Arial" charset="0"/>
                <a:ea typeface="+mn-ea"/>
                <a:cs typeface="+mn-cs"/>
              </a:rPr>
              <a:t>Africa CDC supported the </a:t>
            </a:r>
            <a:r>
              <a:rPr lang="en-US" sz="1400" b="1" kern="1200" dirty="0">
                <a:latin typeface="Arial" charset="0"/>
                <a:ea typeface="+mn-ea"/>
                <a:cs typeface="+mn-cs"/>
              </a:rPr>
              <a:t>distribution of 1.1 million laboratory tests and IPC supplies donated by Jack Ma foundation </a:t>
            </a:r>
            <a:r>
              <a:rPr lang="en-US" sz="1400" kern="1200" dirty="0">
                <a:latin typeface="Arial" charset="0"/>
                <a:ea typeface="+mn-ea"/>
                <a:cs typeface="+mn-cs"/>
              </a:rPr>
              <a:t>to African countries</a:t>
            </a:r>
          </a:p>
        </p:txBody>
      </p:sp>
      <p:sp>
        <p:nvSpPr>
          <p:cNvPr id="18" name="Arrow: Chevron 17">
            <a:extLst>
              <a:ext uri="{FF2B5EF4-FFF2-40B4-BE49-F238E27FC236}">
                <a16:creationId xmlns:a16="http://schemas.microsoft.com/office/drawing/2014/main" id="{E525D19F-136C-48D1-BB0B-1215B105C364}"/>
              </a:ext>
            </a:extLst>
          </p:cNvPr>
          <p:cNvSpPr/>
          <p:nvPr/>
        </p:nvSpPr>
        <p:spPr>
          <a:xfrm>
            <a:off x="2011952" y="2910787"/>
            <a:ext cx="155226" cy="221915"/>
          </a:xfrm>
          <a:prstGeom prst="chevron">
            <a:avLst>
              <a:gd name="adj" fmla="val 6126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100" kern="1200">
              <a:solidFill>
                <a:srgbClr val="000000"/>
              </a:solidFill>
            </a:endParaRPr>
          </a:p>
        </p:txBody>
      </p:sp>
      <p:sp>
        <p:nvSpPr>
          <p:cNvPr id="26" name="Arrow: Chevron 25">
            <a:extLst>
              <a:ext uri="{FF2B5EF4-FFF2-40B4-BE49-F238E27FC236}">
                <a16:creationId xmlns:a16="http://schemas.microsoft.com/office/drawing/2014/main" id="{25A1BB31-7F06-41E9-8D8E-C453ABF87D96}"/>
              </a:ext>
            </a:extLst>
          </p:cNvPr>
          <p:cNvSpPr/>
          <p:nvPr/>
        </p:nvSpPr>
        <p:spPr>
          <a:xfrm>
            <a:off x="4357611" y="2910787"/>
            <a:ext cx="155226" cy="221915"/>
          </a:xfrm>
          <a:prstGeom prst="chevron">
            <a:avLst>
              <a:gd name="adj" fmla="val 6126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100" kern="1200">
              <a:solidFill>
                <a:srgbClr val="000000"/>
              </a:solidFill>
            </a:endParaRPr>
          </a:p>
        </p:txBody>
      </p:sp>
      <p:sp>
        <p:nvSpPr>
          <p:cNvPr id="29" name="Arrow: Chevron 28">
            <a:extLst>
              <a:ext uri="{FF2B5EF4-FFF2-40B4-BE49-F238E27FC236}">
                <a16:creationId xmlns:a16="http://schemas.microsoft.com/office/drawing/2014/main" id="{50039D6C-001E-4FEA-8672-C54CC03DAD11}"/>
              </a:ext>
            </a:extLst>
          </p:cNvPr>
          <p:cNvSpPr/>
          <p:nvPr/>
        </p:nvSpPr>
        <p:spPr>
          <a:xfrm>
            <a:off x="6906468" y="2910787"/>
            <a:ext cx="155226" cy="221915"/>
          </a:xfrm>
          <a:prstGeom prst="chevron">
            <a:avLst>
              <a:gd name="adj" fmla="val 6126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100" kern="1200">
              <a:solidFill>
                <a:srgbClr val="000000"/>
              </a:solidFill>
            </a:endParaRPr>
          </a:p>
        </p:txBody>
      </p:sp>
      <p:pic>
        <p:nvPicPr>
          <p:cNvPr id="31" name="Picture 2" descr="Image">
            <a:extLst>
              <a:ext uri="{FF2B5EF4-FFF2-40B4-BE49-F238E27FC236}">
                <a16:creationId xmlns:a16="http://schemas.microsoft.com/office/drawing/2014/main" id="{78D05F2E-A588-4749-AC0B-B6F977FBD7A6}"/>
              </a:ext>
            </a:extLst>
          </p:cNvPr>
          <p:cNvPicPr>
            <a:picLocks noChangeArrowheads="1"/>
          </p:cNvPicPr>
          <p:nvPr/>
        </p:nvPicPr>
        <p:blipFill rotWithShape="1">
          <a:blip r:embed="rId7" cstate="print">
            <a:extLst>
              <a:ext uri="{28A0092B-C50C-407E-A947-70E740481C1C}">
                <a14:useLocalDpi xmlns:a14="http://schemas.microsoft.com/office/drawing/2010/main" val="0"/>
              </a:ext>
            </a:extLst>
          </a:blip>
          <a:srcRect l="20801" r="20801"/>
          <a:stretch/>
        </p:blipFill>
        <p:spPr bwMode="auto">
          <a:xfrm>
            <a:off x="316097" y="1277409"/>
            <a:ext cx="1523009" cy="154545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a16="http://schemas.microsoft.com/office/drawing/2014/main" id="{B8A1ABFA-75B8-4192-BFDF-83C65A713C69}"/>
              </a:ext>
            </a:extLst>
          </p:cNvPr>
          <p:cNvPicPr>
            <a:picLocks/>
          </p:cNvPicPr>
          <p:nvPr/>
        </p:nvPicPr>
        <p:blipFill rotWithShape="1">
          <a:blip r:embed="rId8"/>
          <a:srcRect l="13045" r="13045"/>
          <a:stretch/>
        </p:blipFill>
        <p:spPr>
          <a:xfrm>
            <a:off x="2661756" y="1277409"/>
            <a:ext cx="1523009" cy="1545458"/>
          </a:xfrm>
          <a:prstGeom prst="rect">
            <a:avLst/>
          </a:prstGeom>
          <a:noFill/>
        </p:spPr>
      </p:pic>
      <p:pic>
        <p:nvPicPr>
          <p:cNvPr id="47" name="Picture 46">
            <a:extLst>
              <a:ext uri="{FF2B5EF4-FFF2-40B4-BE49-F238E27FC236}">
                <a16:creationId xmlns:a16="http://schemas.microsoft.com/office/drawing/2014/main" id="{647C22FD-E194-4DD2-BB52-6CC928D9B9E1}"/>
              </a:ext>
            </a:extLst>
          </p:cNvPr>
          <p:cNvPicPr>
            <a:picLocks/>
          </p:cNvPicPr>
          <p:nvPr/>
        </p:nvPicPr>
        <p:blipFill rotWithShape="1">
          <a:blip r:embed="rId9"/>
          <a:srcRect l="20506" r="20506"/>
          <a:stretch/>
        </p:blipFill>
        <p:spPr>
          <a:xfrm>
            <a:off x="5210613" y="1277409"/>
            <a:ext cx="1523009" cy="1545458"/>
          </a:xfrm>
          <a:prstGeom prst="rect">
            <a:avLst/>
          </a:prstGeom>
          <a:noFill/>
        </p:spPr>
      </p:pic>
      <p:sp>
        <p:nvSpPr>
          <p:cNvPr id="53" name="TextBox 52">
            <a:extLst>
              <a:ext uri="{FF2B5EF4-FFF2-40B4-BE49-F238E27FC236}">
                <a16:creationId xmlns:a16="http://schemas.microsoft.com/office/drawing/2014/main" id="{09D34C5E-30C5-425D-9B71-B7F36DBD1AF8}"/>
              </a:ext>
            </a:extLst>
          </p:cNvPr>
          <p:cNvSpPr txBox="1">
            <a:spLocks/>
          </p:cNvSpPr>
          <p:nvPr/>
        </p:nvSpPr>
        <p:spPr>
          <a:xfrm>
            <a:off x="7971540" y="3142454"/>
            <a:ext cx="1523009" cy="193899"/>
          </a:xfrm>
          <a:prstGeom prst="rect">
            <a:avLst/>
          </a:prstGeom>
        </p:spPr>
        <p:txBody>
          <a:bodyPr vert="horz" wrap="square" lIns="0" tIns="0" rIns="0" bIns="0" rtlCol="0" anchor="ctr">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Tx/>
              <a:buFont typeface="Arial" panose="020B0604020202020204" pitchFamily="34" charset="0"/>
              <a:buNone/>
            </a:pPr>
            <a:r>
              <a:rPr lang="en-US" sz="1400" b="1" kern="1200" dirty="0">
                <a:solidFill>
                  <a:srgbClr val="303D24"/>
                </a:solidFill>
                <a:latin typeface="Arial" charset="0"/>
                <a:ea typeface="+mn-ea"/>
                <a:cs typeface="+mn-cs"/>
              </a:rPr>
              <a:t>25 Mar 2020</a:t>
            </a:r>
          </a:p>
        </p:txBody>
      </p:sp>
      <p:sp>
        <p:nvSpPr>
          <p:cNvPr id="54" name="TextBox 53">
            <a:extLst>
              <a:ext uri="{FF2B5EF4-FFF2-40B4-BE49-F238E27FC236}">
                <a16:creationId xmlns:a16="http://schemas.microsoft.com/office/drawing/2014/main" id="{19955DE0-7892-4223-B0B5-B2DDDCF2F5A8}"/>
              </a:ext>
            </a:extLst>
          </p:cNvPr>
          <p:cNvSpPr txBox="1">
            <a:spLocks/>
          </p:cNvSpPr>
          <p:nvPr/>
        </p:nvSpPr>
        <p:spPr>
          <a:xfrm>
            <a:off x="7971540" y="3502047"/>
            <a:ext cx="1523009" cy="1551194"/>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
                <a:srgbClr val="303D24"/>
              </a:buClr>
              <a:buFont typeface="Arial" panose="020B0604020202020204" pitchFamily="34" charset="0"/>
              <a:buNone/>
            </a:pPr>
            <a:r>
              <a:rPr lang="en-US" sz="1400" b="1" kern="1200" dirty="0">
                <a:latin typeface="Arial" charset="0"/>
                <a:ea typeface="Baskerville" charset="0"/>
                <a:cs typeface="Baskerville" charset="0"/>
              </a:rPr>
              <a:t>African Union Commission Chief of Staff </a:t>
            </a:r>
            <a:r>
              <a:rPr lang="en-US" sz="1400" kern="1200" dirty="0">
                <a:latin typeface="Arial" charset="0"/>
                <a:ea typeface="Baskerville" charset="0"/>
                <a:cs typeface="Baskerville" charset="0"/>
              </a:rPr>
              <a:t>attended Africa CDC Emergency Operation Center’s COVID-19 morning briefing</a:t>
            </a:r>
          </a:p>
        </p:txBody>
      </p:sp>
      <p:sp>
        <p:nvSpPr>
          <p:cNvPr id="56" name="Arrow: Chevron 55">
            <a:extLst>
              <a:ext uri="{FF2B5EF4-FFF2-40B4-BE49-F238E27FC236}">
                <a16:creationId xmlns:a16="http://schemas.microsoft.com/office/drawing/2014/main" id="{1332E8E5-3967-4474-B055-DA9E600F899F}"/>
              </a:ext>
            </a:extLst>
          </p:cNvPr>
          <p:cNvSpPr/>
          <p:nvPr/>
        </p:nvSpPr>
        <p:spPr>
          <a:xfrm>
            <a:off x="9667395" y="2910787"/>
            <a:ext cx="155226" cy="221915"/>
          </a:xfrm>
          <a:prstGeom prst="chevron">
            <a:avLst>
              <a:gd name="adj" fmla="val 6126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100" kern="1200">
              <a:solidFill>
                <a:srgbClr val="000000"/>
              </a:solidFill>
            </a:endParaRPr>
          </a:p>
        </p:txBody>
      </p:sp>
      <p:cxnSp>
        <p:nvCxnSpPr>
          <p:cNvPr id="21" name="Straight Connector 20">
            <a:extLst>
              <a:ext uri="{FF2B5EF4-FFF2-40B4-BE49-F238E27FC236}">
                <a16:creationId xmlns:a16="http://schemas.microsoft.com/office/drawing/2014/main" id="{91837D27-9F90-4ADD-BFF8-B6A09BF6E749}"/>
              </a:ext>
            </a:extLst>
          </p:cNvPr>
          <p:cNvCxnSpPr>
            <a:cxnSpLocks/>
          </p:cNvCxnSpPr>
          <p:nvPr/>
        </p:nvCxnSpPr>
        <p:spPr>
          <a:xfrm>
            <a:off x="2089565" y="3180859"/>
            <a:ext cx="0" cy="216405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DCAD4F7-F2A3-4F7A-8021-AA6C989ADE65}"/>
              </a:ext>
            </a:extLst>
          </p:cNvPr>
          <p:cNvCxnSpPr>
            <a:cxnSpLocks/>
          </p:cNvCxnSpPr>
          <p:nvPr/>
        </p:nvCxnSpPr>
        <p:spPr>
          <a:xfrm>
            <a:off x="4435224" y="3180859"/>
            <a:ext cx="0" cy="216405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2BB0F4C-BB24-4E27-9000-4B0A6CFF2D43}"/>
              </a:ext>
            </a:extLst>
          </p:cNvPr>
          <p:cNvCxnSpPr>
            <a:cxnSpLocks/>
          </p:cNvCxnSpPr>
          <p:nvPr/>
        </p:nvCxnSpPr>
        <p:spPr>
          <a:xfrm>
            <a:off x="6984081" y="3180859"/>
            <a:ext cx="0" cy="216405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2118807-C680-4989-A903-ADE506B38B99}"/>
              </a:ext>
            </a:extLst>
          </p:cNvPr>
          <p:cNvCxnSpPr>
            <a:cxnSpLocks/>
          </p:cNvCxnSpPr>
          <p:nvPr/>
        </p:nvCxnSpPr>
        <p:spPr>
          <a:xfrm>
            <a:off x="9745008" y="3180859"/>
            <a:ext cx="0" cy="216405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9" name="Picture 58">
            <a:extLst>
              <a:ext uri="{FF2B5EF4-FFF2-40B4-BE49-F238E27FC236}">
                <a16:creationId xmlns:a16="http://schemas.microsoft.com/office/drawing/2014/main" id="{E0EC204B-6949-400E-9813-0BE23958E4B7}"/>
              </a:ext>
            </a:extLst>
          </p:cNvPr>
          <p:cNvPicPr>
            <a:picLocks/>
          </p:cNvPicPr>
          <p:nvPr/>
        </p:nvPicPr>
        <p:blipFill rotWithShape="1">
          <a:blip r:embed="rId10"/>
          <a:srcRect l="16974" r="16974"/>
          <a:stretch/>
        </p:blipFill>
        <p:spPr>
          <a:xfrm>
            <a:off x="7971540" y="1277409"/>
            <a:ext cx="1523009" cy="1545458"/>
          </a:xfrm>
          <a:prstGeom prst="rect">
            <a:avLst/>
          </a:prstGeom>
          <a:noFill/>
        </p:spPr>
      </p:pic>
      <p:sp>
        <p:nvSpPr>
          <p:cNvPr id="61" name="TextBox 60">
            <a:extLst>
              <a:ext uri="{FF2B5EF4-FFF2-40B4-BE49-F238E27FC236}">
                <a16:creationId xmlns:a16="http://schemas.microsoft.com/office/drawing/2014/main" id="{6E5DB4B1-D245-4FC8-9C98-489428C0C9EA}"/>
              </a:ext>
            </a:extLst>
          </p:cNvPr>
          <p:cNvSpPr txBox="1">
            <a:spLocks/>
          </p:cNvSpPr>
          <p:nvPr/>
        </p:nvSpPr>
        <p:spPr>
          <a:xfrm>
            <a:off x="10435734" y="3142454"/>
            <a:ext cx="1523009" cy="193899"/>
          </a:xfrm>
          <a:prstGeom prst="rect">
            <a:avLst/>
          </a:prstGeom>
        </p:spPr>
        <p:txBody>
          <a:bodyPr vert="horz" wrap="square" lIns="0" tIns="0" rIns="0" bIns="0" rtlCol="0" anchor="ctr">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Tx/>
              <a:buFont typeface="Arial" panose="020B0604020202020204" pitchFamily="34" charset="0"/>
              <a:buNone/>
            </a:pPr>
            <a:r>
              <a:rPr lang="en-US" sz="1400" b="1" kern="1200" dirty="0">
                <a:solidFill>
                  <a:srgbClr val="303D24"/>
                </a:solidFill>
                <a:latin typeface="Arial" charset="0"/>
                <a:ea typeface="+mn-ea"/>
                <a:cs typeface="+mn-cs"/>
              </a:rPr>
              <a:t>26 Mar 2020</a:t>
            </a:r>
          </a:p>
        </p:txBody>
      </p:sp>
      <p:sp>
        <p:nvSpPr>
          <p:cNvPr id="62" name="TextBox 61">
            <a:extLst>
              <a:ext uri="{FF2B5EF4-FFF2-40B4-BE49-F238E27FC236}">
                <a16:creationId xmlns:a16="http://schemas.microsoft.com/office/drawing/2014/main" id="{B0F9A57A-65C8-4973-8AF5-4EB13638EF5B}"/>
              </a:ext>
            </a:extLst>
          </p:cNvPr>
          <p:cNvSpPr txBox="1">
            <a:spLocks/>
          </p:cNvSpPr>
          <p:nvPr/>
        </p:nvSpPr>
        <p:spPr>
          <a:xfrm>
            <a:off x="10435734" y="3502047"/>
            <a:ext cx="1523009" cy="1745093"/>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1600"/>
            </a:lvl1pPr>
            <a:lvl2pPr marL="685800" lvl="1" indent="-228600">
              <a:lnSpc>
                <a:spcPct val="90000"/>
              </a:lnSpc>
              <a:spcBef>
                <a:spcPts val="500"/>
              </a:spcBef>
              <a:buFont typeface="Arial" panose="020B0604020202020204" pitchFamily="34" charset="0"/>
              <a:buChar char="•"/>
              <a:defRPr sz="1600"/>
            </a:lvl2pPr>
            <a:lvl3pPr marL="1143000" lvl="2" indent="-228600">
              <a:lnSpc>
                <a:spcPct val="90000"/>
              </a:lnSpc>
              <a:spcBef>
                <a:spcPts val="500"/>
              </a:spcBef>
              <a:buFont typeface="Arial" panose="020B0604020202020204" pitchFamily="34" charset="0"/>
              <a:buChar char="•"/>
              <a:defRPr sz="1600"/>
            </a:lvl3pPr>
            <a:lvl4pPr marL="1600200" lvl="3" indent="-228600">
              <a:lnSpc>
                <a:spcPct val="90000"/>
              </a:lnSpc>
              <a:spcBef>
                <a:spcPts val="500"/>
              </a:spcBef>
              <a:buFont typeface="Arial" panose="020B0604020202020204" pitchFamily="34" charset="0"/>
              <a:buChar char="•"/>
              <a:defRPr sz="1600"/>
            </a:lvl4pPr>
            <a:lvl5pPr marL="2057400" lvl="4" indent="-228600">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fontAlgn="base">
              <a:spcAft>
                <a:spcPct val="0"/>
              </a:spcAft>
              <a:buClr>
                <a:srgbClr val="303D24"/>
              </a:buClr>
              <a:buFont typeface="Arial" panose="020B0604020202020204" pitchFamily="34" charset="0"/>
              <a:buNone/>
            </a:pPr>
            <a:r>
              <a:rPr lang="en-US" sz="1400" kern="1200" dirty="0">
                <a:latin typeface="Arial" charset="0"/>
                <a:ea typeface="Baskerville" charset="0"/>
                <a:cs typeface="Baskerville" charset="0"/>
              </a:rPr>
              <a:t>Africa CDC Director </a:t>
            </a:r>
            <a:r>
              <a:rPr lang="en-US" sz="1400" b="1" kern="1200" dirty="0">
                <a:latin typeface="Arial" charset="0"/>
                <a:ea typeface="Baskerville" charset="0"/>
                <a:cs typeface="Baskerville" charset="0"/>
              </a:rPr>
              <a:t>briefed the AUC Chairperson and Commissioners </a:t>
            </a:r>
            <a:r>
              <a:rPr lang="en-US" sz="1400" kern="1200" dirty="0">
                <a:latin typeface="Arial" charset="0"/>
                <a:ea typeface="Baskerville" charset="0"/>
                <a:cs typeface="Baskerville" charset="0"/>
              </a:rPr>
              <a:t>on COVID-19 situation and Africa CDC response activities</a:t>
            </a:r>
          </a:p>
        </p:txBody>
      </p:sp>
      <p:pic>
        <p:nvPicPr>
          <p:cNvPr id="67" name="Picture 66">
            <a:extLst>
              <a:ext uri="{FF2B5EF4-FFF2-40B4-BE49-F238E27FC236}">
                <a16:creationId xmlns:a16="http://schemas.microsoft.com/office/drawing/2014/main" id="{93833E19-5CF5-43A7-8963-F74D99AB7A05}"/>
              </a:ext>
            </a:extLst>
          </p:cNvPr>
          <p:cNvPicPr>
            <a:picLocks/>
          </p:cNvPicPr>
          <p:nvPr/>
        </p:nvPicPr>
        <p:blipFill rotWithShape="1">
          <a:blip r:embed="rId11"/>
          <a:srcRect l="16988" r="16988"/>
          <a:stretch/>
        </p:blipFill>
        <p:spPr>
          <a:xfrm>
            <a:off x="10435734" y="1277409"/>
            <a:ext cx="1523009" cy="1545458"/>
          </a:xfrm>
          <a:prstGeom prst="rect">
            <a:avLst/>
          </a:prstGeom>
          <a:noFill/>
        </p:spPr>
      </p:pic>
      <p:sp>
        <p:nvSpPr>
          <p:cNvPr id="14" name="Title 13">
            <a:extLst>
              <a:ext uri="{FF2B5EF4-FFF2-40B4-BE49-F238E27FC236}">
                <a16:creationId xmlns:a16="http://schemas.microsoft.com/office/drawing/2014/main" id="{DA6A7896-7899-4F3D-B995-CFC2D10EEC0B}"/>
              </a:ext>
            </a:extLst>
          </p:cNvPr>
          <p:cNvSpPr>
            <a:spLocks noGrp="1"/>
          </p:cNvSpPr>
          <p:nvPr>
            <p:ph type="title"/>
          </p:nvPr>
        </p:nvSpPr>
        <p:spPr>
          <a:xfrm>
            <a:off x="233259" y="433461"/>
            <a:ext cx="11725484" cy="369332"/>
          </a:xfrm>
        </p:spPr>
        <p:txBody>
          <a:bodyPr>
            <a:noAutofit/>
          </a:bodyPr>
          <a:lstStyle/>
          <a:p>
            <a:r>
              <a:rPr lang="en-US" dirty="0"/>
              <a:t>Key milestones in Africa Union Commission and Africa CDC’s COVID-19 response</a:t>
            </a:r>
          </a:p>
        </p:txBody>
      </p:sp>
      <p:sp>
        <p:nvSpPr>
          <p:cNvPr id="66" name="Rectangle 65">
            <a:extLst>
              <a:ext uri="{FF2B5EF4-FFF2-40B4-BE49-F238E27FC236}">
                <a16:creationId xmlns:a16="http://schemas.microsoft.com/office/drawing/2014/main" id="{9D9E8303-EF42-4FE0-83F3-D2E4648638C4}"/>
              </a:ext>
            </a:extLst>
          </p:cNvPr>
          <p:cNvSpPr>
            <a:spLocks/>
          </p:cNvSpPr>
          <p:nvPr/>
        </p:nvSpPr>
        <p:spPr>
          <a:xfrm>
            <a:off x="5210613" y="2982213"/>
            <a:ext cx="1523009" cy="47387"/>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buClrTx/>
              <a:buFontTx/>
              <a:buNone/>
            </a:pPr>
            <a:endParaRPr lang="en-US" sz="1100" kern="1200">
              <a:solidFill>
                <a:srgbClr val="FFFFFF"/>
              </a:solidFill>
            </a:endParaRPr>
          </a:p>
        </p:txBody>
      </p:sp>
      <p:sp>
        <p:nvSpPr>
          <p:cNvPr id="69" name="Rectangle 68">
            <a:extLst>
              <a:ext uri="{FF2B5EF4-FFF2-40B4-BE49-F238E27FC236}">
                <a16:creationId xmlns:a16="http://schemas.microsoft.com/office/drawing/2014/main" id="{6335FD12-E9EE-40E2-8D58-F6F250ADE2E6}"/>
              </a:ext>
            </a:extLst>
          </p:cNvPr>
          <p:cNvSpPr>
            <a:spLocks/>
          </p:cNvSpPr>
          <p:nvPr/>
        </p:nvSpPr>
        <p:spPr>
          <a:xfrm>
            <a:off x="7971540" y="2982213"/>
            <a:ext cx="1523009" cy="47387"/>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buClrTx/>
              <a:buFontTx/>
              <a:buNone/>
            </a:pPr>
            <a:endParaRPr lang="en-US" sz="1100" kern="1200">
              <a:solidFill>
                <a:srgbClr val="FFFFFF"/>
              </a:solidFill>
            </a:endParaRPr>
          </a:p>
        </p:txBody>
      </p:sp>
      <p:sp>
        <p:nvSpPr>
          <p:cNvPr id="70" name="Rectangle 69">
            <a:extLst>
              <a:ext uri="{FF2B5EF4-FFF2-40B4-BE49-F238E27FC236}">
                <a16:creationId xmlns:a16="http://schemas.microsoft.com/office/drawing/2014/main" id="{9F038C47-A599-46FC-8A63-3737F7DD8AB5}"/>
              </a:ext>
            </a:extLst>
          </p:cNvPr>
          <p:cNvSpPr>
            <a:spLocks/>
          </p:cNvSpPr>
          <p:nvPr/>
        </p:nvSpPr>
        <p:spPr>
          <a:xfrm>
            <a:off x="10435734" y="2982213"/>
            <a:ext cx="1523009" cy="47387"/>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buClrTx/>
              <a:buFontTx/>
              <a:buNone/>
            </a:pPr>
            <a:endParaRPr lang="en-US" sz="1100" kern="1200">
              <a:solidFill>
                <a:srgbClr val="FFFFFF"/>
              </a:solidFill>
            </a:endParaRPr>
          </a:p>
        </p:txBody>
      </p:sp>
    </p:spTree>
    <p:extLst>
      <p:ext uri="{BB962C8B-B14F-4D97-AF65-F5344CB8AC3E}">
        <p14:creationId xmlns:p14="http://schemas.microsoft.com/office/powerpoint/2010/main" val="3454586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1E42FE-A4A4-41A0-BC8D-B51C3F2F28E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7" name="think-cell Slide" r:id="rId31" imgW="451" imgH="450" progId="TCLayout.ActiveDocument.1">
                  <p:embed/>
                </p:oleObj>
              </mc:Choice>
              <mc:Fallback>
                <p:oleObj name="think-cell Slide" r:id="rId31" imgW="451" imgH="450"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9F848E-B1C3-4DCB-A961-1D5EE7318A59}"/>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a:solidFill>
                <a:srgbClr val="000000"/>
              </a:solidFill>
              <a:sym typeface="Arial" panose="020B0604020202020204" pitchFamily="34" charset="0"/>
            </a:endParaRPr>
          </a:p>
        </p:txBody>
      </p:sp>
      <p:sp>
        <p:nvSpPr>
          <p:cNvPr id="5" name="TextBox 4">
            <a:extLst>
              <a:ext uri="{FF2B5EF4-FFF2-40B4-BE49-F238E27FC236}">
                <a16:creationId xmlns:a16="http://schemas.microsoft.com/office/drawing/2014/main" id="{08A30921-1993-4744-ADE1-6D80F6ACFAD6}"/>
              </a:ext>
            </a:extLst>
          </p:cNvPr>
          <p:cNvSpPr txBox="1">
            <a:spLocks/>
          </p:cNvSpPr>
          <p:nvPr>
            <p:custDataLst>
              <p:tags r:id="rId4"/>
            </p:custDataLst>
          </p:nvPr>
        </p:nvSpPr>
        <p:spPr>
          <a:xfrm>
            <a:off x="5034252" y="922312"/>
            <a:ext cx="2123496" cy="349576"/>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solidFill>
                  <a:srgbClr val="FFFFFF"/>
                </a:solidFill>
                <a:ea typeface="+mn-ea"/>
                <a:cs typeface="+mn-cs"/>
              </a:rPr>
              <a:t>AU Bureau of Heads of States</a:t>
            </a:r>
          </a:p>
        </p:txBody>
      </p:sp>
      <p:sp>
        <p:nvSpPr>
          <p:cNvPr id="65" name="TextBox 64">
            <a:extLst>
              <a:ext uri="{FF2B5EF4-FFF2-40B4-BE49-F238E27FC236}">
                <a16:creationId xmlns:a16="http://schemas.microsoft.com/office/drawing/2014/main" id="{7A2942B4-B8E1-4474-B746-874BFD6BECCC}"/>
              </a:ext>
            </a:extLst>
          </p:cNvPr>
          <p:cNvSpPr txBox="1"/>
          <p:nvPr>
            <p:custDataLst>
              <p:tags r:id="rId5"/>
            </p:custDataLst>
          </p:nvPr>
        </p:nvSpPr>
        <p:spPr>
          <a:xfrm>
            <a:off x="5034252" y="1276231"/>
            <a:ext cx="2128244" cy="438109"/>
          </a:xfrm>
          <a:prstGeom prst="rect">
            <a:avLst/>
          </a:prstGeom>
          <a:solidFill>
            <a:schemeClr val="bg2">
              <a:lumMod val="95000"/>
            </a:schemeClr>
          </a:soli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1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AU Chair, AUC Chair and Prime Ministers</a:t>
            </a:r>
          </a:p>
        </p:txBody>
      </p:sp>
      <p:sp>
        <p:nvSpPr>
          <p:cNvPr id="9" name="TextBox 8">
            <a:extLst>
              <a:ext uri="{FF2B5EF4-FFF2-40B4-BE49-F238E27FC236}">
                <a16:creationId xmlns:a16="http://schemas.microsoft.com/office/drawing/2014/main" id="{7434A0A6-3E7D-4509-B579-2914DFB94169}"/>
              </a:ext>
            </a:extLst>
          </p:cNvPr>
          <p:cNvSpPr txBox="1">
            <a:spLocks/>
          </p:cNvSpPr>
          <p:nvPr>
            <p:custDataLst>
              <p:tags r:id="rId6"/>
            </p:custDataLst>
          </p:nvPr>
        </p:nvSpPr>
        <p:spPr>
          <a:xfrm>
            <a:off x="4737891" y="2475682"/>
            <a:ext cx="2123496" cy="583052"/>
          </a:xfrm>
          <a:prstGeom prst="rect">
            <a:avLst/>
          </a:prstGeom>
          <a:solidFill>
            <a:schemeClr val="accent4"/>
          </a:soli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solidFill>
                  <a:srgbClr val="FFFFFF"/>
                </a:solidFill>
                <a:ea typeface="+mn-ea"/>
                <a:cs typeface="+mn-cs"/>
              </a:rPr>
              <a:t>Continental AFTCOR Steering Committee</a:t>
            </a:r>
          </a:p>
        </p:txBody>
      </p:sp>
      <p:sp>
        <p:nvSpPr>
          <p:cNvPr id="76" name="TextBox 75">
            <a:extLst>
              <a:ext uri="{FF2B5EF4-FFF2-40B4-BE49-F238E27FC236}">
                <a16:creationId xmlns:a16="http://schemas.microsoft.com/office/drawing/2014/main" id="{5E4619E2-76B0-47CE-946D-FB27044F3EB0}"/>
              </a:ext>
            </a:extLst>
          </p:cNvPr>
          <p:cNvSpPr txBox="1">
            <a:spLocks/>
          </p:cNvSpPr>
          <p:nvPr>
            <p:custDataLst>
              <p:tags r:id="rId7"/>
            </p:custDataLst>
          </p:nvPr>
        </p:nvSpPr>
        <p:spPr>
          <a:xfrm>
            <a:off x="6757592" y="4872317"/>
            <a:ext cx="1351666"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200" b="1" baseline="0">
                <a:solidFill>
                  <a:schemeClr val="accent3"/>
                </a:solidFill>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solidFill>
                  <a:srgbClr val="000000"/>
                </a:solidFill>
                <a:ea typeface="+mn-ea"/>
                <a:cs typeface="+mn-cs"/>
              </a:rPr>
              <a:t>Eastern Africa</a:t>
            </a:r>
          </a:p>
        </p:txBody>
      </p:sp>
      <p:sp>
        <p:nvSpPr>
          <p:cNvPr id="77" name="TextBox 76">
            <a:extLst>
              <a:ext uri="{FF2B5EF4-FFF2-40B4-BE49-F238E27FC236}">
                <a16:creationId xmlns:a16="http://schemas.microsoft.com/office/drawing/2014/main" id="{93B2E43E-A47F-44D8-8CF3-CD3C83967645}"/>
              </a:ext>
            </a:extLst>
          </p:cNvPr>
          <p:cNvSpPr txBox="1">
            <a:spLocks/>
          </p:cNvSpPr>
          <p:nvPr>
            <p:custDataLst>
              <p:tags r:id="rId8"/>
            </p:custDataLst>
          </p:nvPr>
        </p:nvSpPr>
        <p:spPr>
          <a:xfrm>
            <a:off x="6757591" y="5409336"/>
            <a:ext cx="1351666"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200" b="1" baseline="0">
                <a:solidFill>
                  <a:schemeClr val="accent3"/>
                </a:solidFill>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solidFill>
                  <a:srgbClr val="000000"/>
                </a:solidFill>
                <a:ea typeface="+mn-ea"/>
                <a:cs typeface="+mn-cs"/>
              </a:rPr>
              <a:t>Central Africa</a:t>
            </a:r>
          </a:p>
        </p:txBody>
      </p:sp>
      <p:sp>
        <p:nvSpPr>
          <p:cNvPr id="84" name="TextBox 83">
            <a:extLst>
              <a:ext uri="{FF2B5EF4-FFF2-40B4-BE49-F238E27FC236}">
                <a16:creationId xmlns:a16="http://schemas.microsoft.com/office/drawing/2014/main" id="{1D16400E-7F52-4979-AE8B-BA710250D4A1}"/>
              </a:ext>
            </a:extLst>
          </p:cNvPr>
          <p:cNvSpPr txBox="1">
            <a:spLocks/>
          </p:cNvSpPr>
          <p:nvPr>
            <p:custDataLst>
              <p:tags r:id="rId9"/>
            </p:custDataLst>
          </p:nvPr>
        </p:nvSpPr>
        <p:spPr>
          <a:xfrm>
            <a:off x="6757591" y="5946356"/>
            <a:ext cx="1351666"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200" b="1" baseline="0">
                <a:solidFill>
                  <a:schemeClr val="accent3"/>
                </a:solidFill>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solidFill>
                  <a:srgbClr val="000000"/>
                </a:solidFill>
                <a:ea typeface="+mn-ea"/>
                <a:cs typeface="+mn-cs"/>
              </a:rPr>
              <a:t>Western  Africa</a:t>
            </a:r>
          </a:p>
        </p:txBody>
      </p:sp>
      <p:sp>
        <p:nvSpPr>
          <p:cNvPr id="86" name="TextBox 85">
            <a:extLst>
              <a:ext uri="{FF2B5EF4-FFF2-40B4-BE49-F238E27FC236}">
                <a16:creationId xmlns:a16="http://schemas.microsoft.com/office/drawing/2014/main" id="{85EA2410-9FC9-4BCA-B847-5C4464E48EAE}"/>
              </a:ext>
            </a:extLst>
          </p:cNvPr>
          <p:cNvSpPr txBox="1">
            <a:spLocks/>
          </p:cNvSpPr>
          <p:nvPr>
            <p:custDataLst>
              <p:tags r:id="rId10"/>
            </p:custDataLst>
          </p:nvPr>
        </p:nvSpPr>
        <p:spPr>
          <a:xfrm>
            <a:off x="9466840" y="4872317"/>
            <a:ext cx="1351666"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200" b="1" baseline="0">
                <a:solidFill>
                  <a:schemeClr val="accent3"/>
                </a:solidFill>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solidFill>
                  <a:srgbClr val="000000"/>
                </a:solidFill>
                <a:ea typeface="+mn-ea"/>
                <a:cs typeface="+mn-cs"/>
              </a:rPr>
              <a:t>Southern Africa</a:t>
            </a:r>
          </a:p>
        </p:txBody>
      </p:sp>
      <p:sp>
        <p:nvSpPr>
          <p:cNvPr id="88" name="TextBox 87">
            <a:extLst>
              <a:ext uri="{FF2B5EF4-FFF2-40B4-BE49-F238E27FC236}">
                <a16:creationId xmlns:a16="http://schemas.microsoft.com/office/drawing/2014/main" id="{F5BB6C52-6C9A-4CF1-866D-AD51704E1719}"/>
              </a:ext>
            </a:extLst>
          </p:cNvPr>
          <p:cNvSpPr txBox="1">
            <a:spLocks/>
          </p:cNvSpPr>
          <p:nvPr>
            <p:custDataLst>
              <p:tags r:id="rId11"/>
            </p:custDataLst>
          </p:nvPr>
        </p:nvSpPr>
        <p:spPr>
          <a:xfrm>
            <a:off x="9466839" y="5409336"/>
            <a:ext cx="1351666"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200" b="1" baseline="0">
                <a:solidFill>
                  <a:schemeClr val="accent3"/>
                </a:solidFill>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solidFill>
                  <a:srgbClr val="000000"/>
                </a:solidFill>
                <a:ea typeface="+mn-ea"/>
                <a:cs typeface="+mn-cs"/>
              </a:rPr>
              <a:t>Northern Africa</a:t>
            </a:r>
          </a:p>
        </p:txBody>
      </p:sp>
      <p:pic>
        <p:nvPicPr>
          <p:cNvPr id="529418" name="Picture 10" descr="East African Community">
            <a:extLst>
              <a:ext uri="{FF2B5EF4-FFF2-40B4-BE49-F238E27FC236}">
                <a16:creationId xmlns:a16="http://schemas.microsoft.com/office/drawing/2014/main" id="{9BB044CB-9391-49DE-B345-A1E10FEBAF16}"/>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8137891" y="4872317"/>
            <a:ext cx="513735" cy="362825"/>
          </a:xfrm>
          <a:prstGeom prst="rect">
            <a:avLst/>
          </a:prstGeom>
          <a:noFill/>
          <a:extLst>
            <a:ext uri="{909E8E84-426E-40DD-AFC4-6F175D3DCCD1}">
              <a14:hiddenFill xmlns:a14="http://schemas.microsoft.com/office/drawing/2010/main">
                <a:solidFill>
                  <a:srgbClr val="FFFFFF"/>
                </a:solidFill>
              </a14:hiddenFill>
            </a:ext>
          </a:extLst>
        </p:spPr>
      </p:pic>
      <p:pic>
        <p:nvPicPr>
          <p:cNvPr id="529420" name="Picture 12">
            <a:extLst>
              <a:ext uri="{FF2B5EF4-FFF2-40B4-BE49-F238E27FC236}">
                <a16:creationId xmlns:a16="http://schemas.microsoft.com/office/drawing/2014/main" id="{68EDD384-13B9-40F3-B692-74062B8AAF75}"/>
              </a:ext>
            </a:extLst>
          </p:cNvPr>
          <p:cNvPicPr>
            <a:picLocks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10923905" y="4898871"/>
            <a:ext cx="309716" cy="30971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10461464-6EAB-4C4B-A92C-021F66A8E1E5}"/>
              </a:ext>
            </a:extLst>
          </p:cNvPr>
          <p:cNvPicPr>
            <a:picLocks noChangeAspect="1"/>
          </p:cNvPicPr>
          <p:nvPr/>
        </p:nvPicPr>
        <p:blipFill>
          <a:blip r:embed="rId35"/>
          <a:stretch>
            <a:fillRect/>
          </a:stretch>
        </p:blipFill>
        <p:spPr>
          <a:xfrm>
            <a:off x="10869280" y="5494166"/>
            <a:ext cx="418965" cy="264831"/>
          </a:xfrm>
          <a:prstGeom prst="rect">
            <a:avLst/>
          </a:prstGeom>
        </p:spPr>
      </p:pic>
      <p:pic>
        <p:nvPicPr>
          <p:cNvPr id="35" name="Picture 34">
            <a:extLst>
              <a:ext uri="{FF2B5EF4-FFF2-40B4-BE49-F238E27FC236}">
                <a16:creationId xmlns:a16="http://schemas.microsoft.com/office/drawing/2014/main" id="{D346A533-F877-46D2-BF7B-6E7C4A3A3E5E}"/>
              </a:ext>
            </a:extLst>
          </p:cNvPr>
          <p:cNvPicPr>
            <a:picLocks noChangeAspect="1"/>
          </p:cNvPicPr>
          <p:nvPr/>
        </p:nvPicPr>
        <p:blipFill>
          <a:blip r:embed="rId36"/>
          <a:stretch>
            <a:fillRect/>
          </a:stretch>
        </p:blipFill>
        <p:spPr>
          <a:xfrm>
            <a:off x="8160032" y="5461812"/>
            <a:ext cx="402891" cy="362825"/>
          </a:xfrm>
          <a:prstGeom prst="rect">
            <a:avLst/>
          </a:prstGeom>
        </p:spPr>
      </p:pic>
      <p:pic>
        <p:nvPicPr>
          <p:cNvPr id="529423" name="Picture 15" descr="Economic Community of West African States - Wikipedia">
            <a:extLst>
              <a:ext uri="{FF2B5EF4-FFF2-40B4-BE49-F238E27FC236}">
                <a16:creationId xmlns:a16="http://schemas.microsoft.com/office/drawing/2014/main" id="{F458E690-F25A-4520-8253-387C49603C4F}"/>
              </a:ext>
            </a:extLst>
          </p:cNvPr>
          <p:cNvPicPr>
            <a:picLocks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8206619" y="6050174"/>
            <a:ext cx="309716" cy="309716"/>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Connector: Elbow 40">
            <a:extLst>
              <a:ext uri="{FF2B5EF4-FFF2-40B4-BE49-F238E27FC236}">
                <a16:creationId xmlns:a16="http://schemas.microsoft.com/office/drawing/2014/main" id="{A61E380E-FCDE-49E0-ABD5-07825A1BDC24}"/>
              </a:ext>
            </a:extLst>
          </p:cNvPr>
          <p:cNvCxnSpPr>
            <a:cxnSpLocks/>
            <a:stCxn id="9" idx="1"/>
            <a:endCxn id="19" idx="0"/>
          </p:cNvCxnSpPr>
          <p:nvPr/>
        </p:nvCxnSpPr>
        <p:spPr>
          <a:xfrm rot="10800000" flipV="1">
            <a:off x="3117451" y="2767208"/>
            <a:ext cx="1620440" cy="1365384"/>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3B1FC5D0-D4BB-4D27-8AE7-A44D00304689}"/>
              </a:ext>
            </a:extLst>
          </p:cNvPr>
          <p:cNvCxnSpPr/>
          <p:nvPr/>
        </p:nvCxnSpPr>
        <p:spPr>
          <a:xfrm rot="16200000" flipH="1">
            <a:off x="6438440" y="4856310"/>
            <a:ext cx="397426" cy="186250"/>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58088BCE-74E8-4CB0-9854-2BCA182AC65E}"/>
              </a:ext>
            </a:extLst>
          </p:cNvPr>
          <p:cNvCxnSpPr/>
          <p:nvPr/>
        </p:nvCxnSpPr>
        <p:spPr>
          <a:xfrm rot="16200000" flipH="1">
            <a:off x="6356351" y="5311240"/>
            <a:ext cx="561603" cy="186249"/>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102F6EC7-2510-4420-AE41-415FCEDA3598}"/>
              </a:ext>
            </a:extLst>
          </p:cNvPr>
          <p:cNvCxnSpPr/>
          <p:nvPr/>
        </p:nvCxnSpPr>
        <p:spPr>
          <a:xfrm rot="16200000" flipH="1">
            <a:off x="6376142" y="5868052"/>
            <a:ext cx="522020" cy="186249"/>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FB7BAED2-F45D-4E78-8FE6-EB60EEC284A9}"/>
              </a:ext>
            </a:extLst>
          </p:cNvPr>
          <p:cNvCxnSpPr/>
          <p:nvPr/>
        </p:nvCxnSpPr>
        <p:spPr>
          <a:xfrm rot="16200000" flipH="1">
            <a:off x="9179424" y="4861281"/>
            <a:ext cx="397426" cy="186250"/>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7370F3FB-F594-432C-9C62-284A778FD13D}"/>
              </a:ext>
            </a:extLst>
          </p:cNvPr>
          <p:cNvCxnSpPr/>
          <p:nvPr/>
        </p:nvCxnSpPr>
        <p:spPr>
          <a:xfrm rot="16200000" flipH="1">
            <a:off x="9097335" y="5316211"/>
            <a:ext cx="561603" cy="186249"/>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9F8B3254-7DF8-4D10-B0B3-FAD3025431A2}"/>
              </a:ext>
            </a:extLst>
          </p:cNvPr>
          <p:cNvSpPr txBox="1"/>
          <p:nvPr>
            <p:custDataLst>
              <p:tags r:id="rId12"/>
            </p:custDataLst>
          </p:nvPr>
        </p:nvSpPr>
        <p:spPr>
          <a:xfrm>
            <a:off x="820432" y="4867346"/>
            <a:ext cx="1704367"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Surveillance</a:t>
            </a:r>
          </a:p>
        </p:txBody>
      </p:sp>
      <p:sp>
        <p:nvSpPr>
          <p:cNvPr id="89" name="TextBox 88">
            <a:extLst>
              <a:ext uri="{FF2B5EF4-FFF2-40B4-BE49-F238E27FC236}">
                <a16:creationId xmlns:a16="http://schemas.microsoft.com/office/drawing/2014/main" id="{BA1ABEC6-6F3A-44C6-B091-397F266F3380}"/>
              </a:ext>
            </a:extLst>
          </p:cNvPr>
          <p:cNvSpPr txBox="1"/>
          <p:nvPr>
            <p:custDataLst>
              <p:tags r:id="rId13"/>
            </p:custDataLst>
          </p:nvPr>
        </p:nvSpPr>
        <p:spPr>
          <a:xfrm>
            <a:off x="820431" y="5404365"/>
            <a:ext cx="1704367"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Clinical Management</a:t>
            </a:r>
          </a:p>
        </p:txBody>
      </p:sp>
      <p:sp>
        <p:nvSpPr>
          <p:cNvPr id="96" name="TextBox 95">
            <a:extLst>
              <a:ext uri="{FF2B5EF4-FFF2-40B4-BE49-F238E27FC236}">
                <a16:creationId xmlns:a16="http://schemas.microsoft.com/office/drawing/2014/main" id="{5040694B-A6BE-41F6-A15A-5FC2FD754FA0}"/>
              </a:ext>
            </a:extLst>
          </p:cNvPr>
          <p:cNvSpPr txBox="1"/>
          <p:nvPr>
            <p:custDataLst>
              <p:tags r:id="rId14"/>
            </p:custDataLst>
          </p:nvPr>
        </p:nvSpPr>
        <p:spPr>
          <a:xfrm>
            <a:off x="820431" y="5941385"/>
            <a:ext cx="1704367"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Infection prevention &amp; control</a:t>
            </a:r>
          </a:p>
        </p:txBody>
      </p:sp>
      <p:sp>
        <p:nvSpPr>
          <p:cNvPr id="98" name="TextBox 97">
            <a:extLst>
              <a:ext uri="{FF2B5EF4-FFF2-40B4-BE49-F238E27FC236}">
                <a16:creationId xmlns:a16="http://schemas.microsoft.com/office/drawing/2014/main" id="{0F3F9811-8510-4C37-983E-7E1C78D08E4E}"/>
              </a:ext>
            </a:extLst>
          </p:cNvPr>
          <p:cNvSpPr txBox="1"/>
          <p:nvPr>
            <p:custDataLst>
              <p:tags r:id="rId15"/>
            </p:custDataLst>
          </p:nvPr>
        </p:nvSpPr>
        <p:spPr>
          <a:xfrm>
            <a:off x="2882013" y="4867345"/>
            <a:ext cx="1704367"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Supply chain and stockpiles</a:t>
            </a:r>
          </a:p>
        </p:txBody>
      </p:sp>
      <p:sp>
        <p:nvSpPr>
          <p:cNvPr id="99" name="TextBox 98">
            <a:extLst>
              <a:ext uri="{FF2B5EF4-FFF2-40B4-BE49-F238E27FC236}">
                <a16:creationId xmlns:a16="http://schemas.microsoft.com/office/drawing/2014/main" id="{4D1DD3D5-116B-4909-947B-B28DE9381606}"/>
              </a:ext>
            </a:extLst>
          </p:cNvPr>
          <p:cNvSpPr txBox="1">
            <a:spLocks/>
          </p:cNvSpPr>
          <p:nvPr>
            <p:custDataLst>
              <p:tags r:id="rId16"/>
            </p:custDataLst>
          </p:nvPr>
        </p:nvSpPr>
        <p:spPr>
          <a:xfrm>
            <a:off x="2882012" y="5402724"/>
            <a:ext cx="1704367"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Laboratory diagnosis &amp; subtyping</a:t>
            </a:r>
          </a:p>
        </p:txBody>
      </p:sp>
      <p:sp>
        <p:nvSpPr>
          <p:cNvPr id="100" name="TextBox 99">
            <a:extLst>
              <a:ext uri="{FF2B5EF4-FFF2-40B4-BE49-F238E27FC236}">
                <a16:creationId xmlns:a16="http://schemas.microsoft.com/office/drawing/2014/main" id="{0D91D55F-F89D-45A4-BFDB-C5EE08163901}"/>
              </a:ext>
            </a:extLst>
          </p:cNvPr>
          <p:cNvSpPr txBox="1"/>
          <p:nvPr>
            <p:custDataLst>
              <p:tags r:id="rId17"/>
            </p:custDataLst>
          </p:nvPr>
        </p:nvSpPr>
        <p:spPr>
          <a:xfrm>
            <a:off x="2882013" y="5941385"/>
            <a:ext cx="1704367" cy="447717"/>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Risk communi-cations</a:t>
            </a:r>
          </a:p>
        </p:txBody>
      </p:sp>
      <p:cxnSp>
        <p:nvCxnSpPr>
          <p:cNvPr id="110" name="Connector: Elbow 109">
            <a:extLst>
              <a:ext uri="{FF2B5EF4-FFF2-40B4-BE49-F238E27FC236}">
                <a16:creationId xmlns:a16="http://schemas.microsoft.com/office/drawing/2014/main" id="{4143A3BA-4E57-4ED6-91FD-482815C4F0D5}"/>
              </a:ext>
            </a:extLst>
          </p:cNvPr>
          <p:cNvCxnSpPr>
            <a:endCxn id="83" idx="1"/>
          </p:cNvCxnSpPr>
          <p:nvPr/>
        </p:nvCxnSpPr>
        <p:spPr>
          <a:xfrm rot="16200000" flipH="1">
            <a:off x="528594" y="4799367"/>
            <a:ext cx="397426" cy="186250"/>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DFE32EFF-F3EA-4642-8159-8F32D711AA2B}"/>
              </a:ext>
            </a:extLst>
          </p:cNvPr>
          <p:cNvCxnSpPr>
            <a:endCxn id="89" idx="1"/>
          </p:cNvCxnSpPr>
          <p:nvPr/>
        </p:nvCxnSpPr>
        <p:spPr>
          <a:xfrm rot="16200000" flipH="1">
            <a:off x="446505" y="5254297"/>
            <a:ext cx="561603" cy="186249"/>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A92990B-33F8-4177-9B3E-45BF390634B0}"/>
              </a:ext>
            </a:extLst>
          </p:cNvPr>
          <p:cNvCxnSpPr>
            <a:endCxn id="96" idx="1"/>
          </p:cNvCxnSpPr>
          <p:nvPr/>
        </p:nvCxnSpPr>
        <p:spPr>
          <a:xfrm rot="16200000" flipH="1">
            <a:off x="466296" y="5811109"/>
            <a:ext cx="522020" cy="186249"/>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10AD7953-6678-4F60-A0CD-E94C654A2742}"/>
              </a:ext>
            </a:extLst>
          </p:cNvPr>
          <p:cNvCxnSpPr/>
          <p:nvPr/>
        </p:nvCxnSpPr>
        <p:spPr>
          <a:xfrm rot="16200000" flipH="1">
            <a:off x="2596870" y="4814367"/>
            <a:ext cx="397426" cy="186250"/>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94A899F0-286B-439C-B55E-96CA216D793E}"/>
              </a:ext>
            </a:extLst>
          </p:cNvPr>
          <p:cNvCxnSpPr/>
          <p:nvPr/>
        </p:nvCxnSpPr>
        <p:spPr>
          <a:xfrm rot="16200000" flipH="1">
            <a:off x="2514781" y="5269297"/>
            <a:ext cx="561603" cy="186249"/>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5" name="Connector: Elbow 114">
            <a:extLst>
              <a:ext uri="{FF2B5EF4-FFF2-40B4-BE49-F238E27FC236}">
                <a16:creationId xmlns:a16="http://schemas.microsoft.com/office/drawing/2014/main" id="{99890B43-6A16-4866-B311-6C515E7D5620}"/>
              </a:ext>
            </a:extLst>
          </p:cNvPr>
          <p:cNvCxnSpPr/>
          <p:nvPr/>
        </p:nvCxnSpPr>
        <p:spPr>
          <a:xfrm rot="16200000" flipH="1">
            <a:off x="2534572" y="5826109"/>
            <a:ext cx="522020" cy="186249"/>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50ABEE84-D107-4BAD-AEDD-3FF6BAFBC762}"/>
              </a:ext>
            </a:extLst>
          </p:cNvPr>
          <p:cNvSpPr txBox="1"/>
          <p:nvPr>
            <p:custDataLst>
              <p:tags r:id="rId18"/>
            </p:custDataLst>
          </p:nvPr>
        </p:nvSpPr>
        <p:spPr>
          <a:xfrm>
            <a:off x="4781022" y="4867345"/>
            <a:ext cx="1122686" cy="1068343"/>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Research </a:t>
            </a:r>
          </a:p>
          <a:p>
            <a:pPr algn="ctr" fontAlgn="base">
              <a:spcBef>
                <a:spcPct val="0"/>
              </a:spcBef>
              <a:spcAft>
                <a:spcPct val="0"/>
              </a:spcAft>
              <a:buClr>
                <a:srgbClr val="303D24"/>
              </a:buClr>
              <a:buFontTx/>
              <a:buNone/>
            </a:pPr>
            <a:r>
              <a:rPr lang="en-US" sz="1200" i="1" kern="1200" dirty="0">
                <a:ea typeface="+mn-ea"/>
                <a:cs typeface="+mn-cs"/>
              </a:rPr>
              <a:t>,</a:t>
            </a:r>
            <a:r>
              <a:rPr lang="en-US" sz="1200" b="1" i="1" kern="1200" dirty="0">
                <a:ea typeface="+mn-ea"/>
                <a:cs typeface="+mn-cs"/>
              </a:rPr>
              <a:t>s</a:t>
            </a:r>
            <a:r>
              <a:rPr lang="en-US" sz="1200" b="1" kern="1200" dirty="0">
                <a:ea typeface="+mn-ea"/>
                <a:cs typeface="+mn-cs"/>
              </a:rPr>
              <a:t>tandards and regulations </a:t>
            </a:r>
          </a:p>
        </p:txBody>
      </p:sp>
      <p:cxnSp>
        <p:nvCxnSpPr>
          <p:cNvPr id="117" name="Connector: Elbow 116">
            <a:extLst>
              <a:ext uri="{FF2B5EF4-FFF2-40B4-BE49-F238E27FC236}">
                <a16:creationId xmlns:a16="http://schemas.microsoft.com/office/drawing/2014/main" id="{B904E841-6BF0-4988-B166-A8B83D173F0A}"/>
              </a:ext>
            </a:extLst>
          </p:cNvPr>
          <p:cNvCxnSpPr/>
          <p:nvPr/>
        </p:nvCxnSpPr>
        <p:spPr>
          <a:xfrm rot="16200000" flipH="1">
            <a:off x="4587390" y="4814367"/>
            <a:ext cx="397426" cy="186250"/>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65CBB9E-FE60-C844-B356-6FA5CDBE5038}"/>
              </a:ext>
            </a:extLst>
          </p:cNvPr>
          <p:cNvCxnSpPr>
            <a:cxnSpLocks/>
          </p:cNvCxnSpPr>
          <p:nvPr/>
        </p:nvCxnSpPr>
        <p:spPr>
          <a:xfrm>
            <a:off x="7162496" y="1408490"/>
            <a:ext cx="11788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65455CA-47AD-614D-819D-09109355B008}"/>
              </a:ext>
            </a:extLst>
          </p:cNvPr>
          <p:cNvCxnSpPr>
            <a:cxnSpLocks/>
          </p:cNvCxnSpPr>
          <p:nvPr/>
        </p:nvCxnSpPr>
        <p:spPr>
          <a:xfrm>
            <a:off x="6038065" y="1714340"/>
            <a:ext cx="0" cy="7463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D0BA2D8-1F50-E642-BCA5-EDC522523857}"/>
              </a:ext>
            </a:extLst>
          </p:cNvPr>
          <p:cNvCxnSpPr>
            <a:cxnSpLocks/>
          </p:cNvCxnSpPr>
          <p:nvPr/>
        </p:nvCxnSpPr>
        <p:spPr>
          <a:xfrm>
            <a:off x="6982726" y="2497791"/>
            <a:ext cx="1287085"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539C41E-DA49-3E45-B509-D1DB5297062F}"/>
              </a:ext>
            </a:extLst>
          </p:cNvPr>
          <p:cNvSpPr txBox="1"/>
          <p:nvPr/>
        </p:nvSpPr>
        <p:spPr>
          <a:xfrm>
            <a:off x="6350104" y="6496911"/>
            <a:ext cx="4425638" cy="253916"/>
          </a:xfrm>
          <a:prstGeom prst="rect">
            <a:avLst/>
          </a:prstGeom>
          <a:noFill/>
          <a:ln>
            <a:noFill/>
          </a:ln>
        </p:spPr>
        <p:txBody>
          <a:bodyPr wrap="square" rtlCol="0">
            <a:spAutoFit/>
          </a:bodyPr>
          <a:lstStyle/>
          <a:p>
            <a:pPr fontAlgn="base">
              <a:spcBef>
                <a:spcPct val="0"/>
              </a:spcBef>
              <a:spcAft>
                <a:spcPct val="0"/>
              </a:spcAft>
              <a:buClrTx/>
              <a:buFontTx/>
              <a:buNone/>
            </a:pPr>
            <a:r>
              <a:rPr lang="en-US" sz="1000" kern="1200" dirty="0">
                <a:latin typeface="Arial" charset="0"/>
                <a:ea typeface="+mn-ea"/>
                <a:cs typeface="+mn-cs"/>
              </a:rPr>
              <a:t>*The REC coordinating Committees will align with the AFTCOR TWGs </a:t>
            </a:r>
          </a:p>
        </p:txBody>
      </p:sp>
      <p:cxnSp>
        <p:nvCxnSpPr>
          <p:cNvPr id="121" name="Straight Connector 120">
            <a:extLst>
              <a:ext uri="{FF2B5EF4-FFF2-40B4-BE49-F238E27FC236}">
                <a16:creationId xmlns:a16="http://schemas.microsoft.com/office/drawing/2014/main" id="{6322D6C6-D31E-B64F-8547-B5F4624117E7}"/>
              </a:ext>
            </a:extLst>
          </p:cNvPr>
          <p:cNvCxnSpPr>
            <a:cxnSpLocks/>
          </p:cNvCxnSpPr>
          <p:nvPr/>
        </p:nvCxnSpPr>
        <p:spPr>
          <a:xfrm flipV="1">
            <a:off x="8652352" y="3619349"/>
            <a:ext cx="1" cy="51643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7DB638D-CFC2-4C91-8BE6-51DD5C602874}"/>
              </a:ext>
            </a:extLst>
          </p:cNvPr>
          <p:cNvGrpSpPr/>
          <p:nvPr/>
        </p:nvGrpSpPr>
        <p:grpSpPr>
          <a:xfrm>
            <a:off x="521378" y="4132592"/>
            <a:ext cx="11166451" cy="679941"/>
            <a:chOff x="521378" y="3984102"/>
            <a:chExt cx="11166451" cy="679941"/>
          </a:xfrm>
        </p:grpSpPr>
        <p:grpSp>
          <p:nvGrpSpPr>
            <p:cNvPr id="15" name="Group 14">
              <a:extLst>
                <a:ext uri="{FF2B5EF4-FFF2-40B4-BE49-F238E27FC236}">
                  <a16:creationId xmlns:a16="http://schemas.microsoft.com/office/drawing/2014/main" id="{F1B651F2-E767-4D9A-AC69-316476D91602}"/>
                </a:ext>
              </a:extLst>
            </p:cNvPr>
            <p:cNvGrpSpPr/>
            <p:nvPr/>
          </p:nvGrpSpPr>
          <p:grpSpPr>
            <a:xfrm>
              <a:off x="6376087" y="3996690"/>
              <a:ext cx="5311742" cy="624298"/>
              <a:chOff x="6376087" y="3996690"/>
              <a:chExt cx="5311742" cy="624298"/>
            </a:xfrm>
          </p:grpSpPr>
          <p:sp>
            <p:nvSpPr>
              <p:cNvPr id="75" name="TextBox 74">
                <a:extLst>
                  <a:ext uri="{FF2B5EF4-FFF2-40B4-BE49-F238E27FC236}">
                    <a16:creationId xmlns:a16="http://schemas.microsoft.com/office/drawing/2014/main" id="{EF35ACEA-0D5A-4C21-89E0-1220F907EED1}"/>
                  </a:ext>
                </a:extLst>
              </p:cNvPr>
              <p:cNvSpPr txBox="1">
                <a:spLocks/>
              </p:cNvSpPr>
              <p:nvPr>
                <p:custDataLst>
                  <p:tags r:id="rId28"/>
                </p:custDataLst>
              </p:nvPr>
            </p:nvSpPr>
            <p:spPr>
              <a:xfrm>
                <a:off x="6376087" y="4286383"/>
                <a:ext cx="5311742" cy="334605"/>
              </a:xfrm>
              <a:prstGeom prst="rect">
                <a:avLst/>
              </a:prstGeom>
              <a:solidFill>
                <a:schemeClr val="bg2">
                  <a:lumMod val="95000"/>
                </a:schemeClr>
              </a:soli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1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Regional Economic Committees, Africa CDC Regional Coordinating Committees</a:t>
                </a:r>
              </a:p>
            </p:txBody>
          </p:sp>
          <p:sp>
            <p:nvSpPr>
              <p:cNvPr id="71" name="TextBox 70">
                <a:extLst>
                  <a:ext uri="{FF2B5EF4-FFF2-40B4-BE49-F238E27FC236}">
                    <a16:creationId xmlns:a16="http://schemas.microsoft.com/office/drawing/2014/main" id="{7A06A2C6-473D-44FB-90CF-0BD0D4A3F6B5}"/>
                  </a:ext>
                </a:extLst>
              </p:cNvPr>
              <p:cNvSpPr txBox="1">
                <a:spLocks/>
              </p:cNvSpPr>
              <p:nvPr>
                <p:custDataLst>
                  <p:tags r:id="rId29"/>
                </p:custDataLst>
              </p:nvPr>
            </p:nvSpPr>
            <p:spPr>
              <a:xfrm>
                <a:off x="6376087" y="3996690"/>
                <a:ext cx="5311742" cy="350243"/>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FFFF"/>
                  </a:buClr>
                  <a:buFontTx/>
                  <a:buNone/>
                </a:pPr>
                <a:r>
                  <a:rPr lang="en-US" sz="1200" b="1" kern="1200" dirty="0">
                    <a:solidFill>
                      <a:srgbClr val="FFFFFF"/>
                    </a:solidFill>
                    <a:ea typeface="+mn-ea"/>
                    <a:cs typeface="+mn-cs"/>
                  </a:rPr>
                  <a:t>Regional Health Coordinating Committees*</a:t>
                </a:r>
              </a:p>
            </p:txBody>
          </p:sp>
        </p:grpSp>
        <p:grpSp>
          <p:nvGrpSpPr>
            <p:cNvPr id="16" name="Group 15">
              <a:extLst>
                <a:ext uri="{FF2B5EF4-FFF2-40B4-BE49-F238E27FC236}">
                  <a16:creationId xmlns:a16="http://schemas.microsoft.com/office/drawing/2014/main" id="{B3F73B13-810A-49A5-83AD-2CCF5DB8FD12}"/>
                </a:ext>
              </a:extLst>
            </p:cNvPr>
            <p:cNvGrpSpPr/>
            <p:nvPr/>
          </p:nvGrpSpPr>
          <p:grpSpPr>
            <a:xfrm>
              <a:off x="521378" y="3984102"/>
              <a:ext cx="5854709" cy="679941"/>
              <a:chOff x="521378" y="3984102"/>
              <a:chExt cx="5854709" cy="679941"/>
            </a:xfrm>
          </p:grpSpPr>
          <p:sp>
            <p:nvSpPr>
              <p:cNvPr id="109" name="TextBox 108">
                <a:extLst>
                  <a:ext uri="{FF2B5EF4-FFF2-40B4-BE49-F238E27FC236}">
                    <a16:creationId xmlns:a16="http://schemas.microsoft.com/office/drawing/2014/main" id="{8EF3EB7A-5290-4CA7-B1F1-C704C559012F}"/>
                  </a:ext>
                </a:extLst>
              </p:cNvPr>
              <p:cNvSpPr txBox="1">
                <a:spLocks/>
              </p:cNvSpPr>
              <p:nvPr>
                <p:custDataLst>
                  <p:tags r:id="rId26"/>
                </p:custDataLst>
              </p:nvPr>
            </p:nvSpPr>
            <p:spPr>
              <a:xfrm>
                <a:off x="521378" y="4346933"/>
                <a:ext cx="5192143" cy="317110"/>
              </a:xfrm>
              <a:prstGeom prst="rect">
                <a:avLst/>
              </a:prstGeom>
              <a:solidFill>
                <a:schemeClr val="bg2">
                  <a:lumMod val="95000"/>
                </a:schemeClr>
              </a:soli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1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The continent’s best technical experts and Africa CDC subject-matter experts</a:t>
                </a:r>
              </a:p>
            </p:txBody>
          </p:sp>
          <p:sp>
            <p:nvSpPr>
              <p:cNvPr id="19" name="TextBox 18">
                <a:extLst>
                  <a:ext uri="{FF2B5EF4-FFF2-40B4-BE49-F238E27FC236}">
                    <a16:creationId xmlns:a16="http://schemas.microsoft.com/office/drawing/2014/main" id="{386857F7-991F-477A-9489-B6FFB09059D6}"/>
                  </a:ext>
                </a:extLst>
              </p:cNvPr>
              <p:cNvSpPr txBox="1">
                <a:spLocks/>
              </p:cNvSpPr>
              <p:nvPr>
                <p:custDataLst>
                  <p:tags r:id="rId27"/>
                </p:custDataLst>
              </p:nvPr>
            </p:nvSpPr>
            <p:spPr>
              <a:xfrm>
                <a:off x="521379" y="3984102"/>
                <a:ext cx="5192143" cy="389080"/>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p:spPr>
            <p:txBody>
              <a:bodyPr vert="horz" wrap="square" lIns="76200" tIns="76200" rIns="76200" bIns="7620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FFFF"/>
                  </a:buClr>
                  <a:buFontTx/>
                  <a:buNone/>
                </a:pPr>
                <a:r>
                  <a:rPr lang="en-US" sz="1200" b="1" kern="1200" dirty="0">
                    <a:solidFill>
                      <a:srgbClr val="FFFFFF"/>
                    </a:solidFill>
                    <a:ea typeface="+mn-ea"/>
                    <a:cs typeface="+mn-cs"/>
                  </a:rPr>
                  <a:t>AFTCOR Technical Working Groups (TWGs)</a:t>
                </a:r>
              </a:p>
            </p:txBody>
          </p:sp>
          <p:cxnSp>
            <p:nvCxnSpPr>
              <p:cNvPr id="54" name="Straight Connector 53">
                <a:extLst>
                  <a:ext uri="{FF2B5EF4-FFF2-40B4-BE49-F238E27FC236}">
                    <a16:creationId xmlns:a16="http://schemas.microsoft.com/office/drawing/2014/main" id="{334964B2-D00F-4143-8B41-3A59CC7C17CD}"/>
                  </a:ext>
                </a:extLst>
              </p:cNvPr>
              <p:cNvCxnSpPr>
                <a:cxnSpLocks/>
                <a:stCxn id="71" idx="1"/>
              </p:cNvCxnSpPr>
              <p:nvPr/>
            </p:nvCxnSpPr>
            <p:spPr>
              <a:xfrm flipH="1">
                <a:off x="5747541" y="4171812"/>
                <a:ext cx="628546" cy="4347"/>
              </a:xfrm>
              <a:prstGeom prst="line">
                <a:avLst/>
              </a:pr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21" name="Group 20">
            <a:extLst>
              <a:ext uri="{FF2B5EF4-FFF2-40B4-BE49-F238E27FC236}">
                <a16:creationId xmlns:a16="http://schemas.microsoft.com/office/drawing/2014/main" id="{F2A0853F-2B42-4FBA-B923-17EC951BD9C4}"/>
              </a:ext>
            </a:extLst>
          </p:cNvPr>
          <p:cNvGrpSpPr/>
          <p:nvPr/>
        </p:nvGrpSpPr>
        <p:grpSpPr>
          <a:xfrm>
            <a:off x="7690899" y="969615"/>
            <a:ext cx="2031433" cy="992399"/>
            <a:chOff x="7690899" y="969615"/>
            <a:chExt cx="2031433" cy="992399"/>
          </a:xfrm>
        </p:grpSpPr>
        <p:sp>
          <p:nvSpPr>
            <p:cNvPr id="6" name="TextBox 5">
              <a:extLst>
                <a:ext uri="{FF2B5EF4-FFF2-40B4-BE49-F238E27FC236}">
                  <a16:creationId xmlns:a16="http://schemas.microsoft.com/office/drawing/2014/main" id="{F5DD94BA-E0A5-408D-B23A-D3D7D5F37702}"/>
                </a:ext>
              </a:extLst>
            </p:cNvPr>
            <p:cNvSpPr txBox="1">
              <a:spLocks/>
            </p:cNvSpPr>
            <p:nvPr>
              <p:custDataLst>
                <p:tags r:id="rId24"/>
              </p:custDataLst>
            </p:nvPr>
          </p:nvSpPr>
          <p:spPr>
            <a:xfrm>
              <a:off x="7690899" y="969615"/>
              <a:ext cx="2031433" cy="62459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12700">
              <a:solidFill>
                <a:schemeClr val="accent5"/>
              </a:solidFill>
              <a:prstDash val="dash"/>
            </a:ln>
          </p:spPr>
          <p:txBody>
            <a:bodyPr vert="horz" wrap="square" lIns="76200" tIns="76200" rIns="76200" bIns="76200" rtlCol="0" anchor="t">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Finance Coordinating Committee</a:t>
              </a:r>
            </a:p>
          </p:txBody>
        </p:sp>
        <p:sp>
          <p:nvSpPr>
            <p:cNvPr id="57" name="TextBox 56">
              <a:extLst>
                <a:ext uri="{FF2B5EF4-FFF2-40B4-BE49-F238E27FC236}">
                  <a16:creationId xmlns:a16="http://schemas.microsoft.com/office/drawing/2014/main" id="{5AE0E149-AF91-4114-8CF8-19672B96C02A}"/>
                </a:ext>
              </a:extLst>
            </p:cNvPr>
            <p:cNvSpPr txBox="1">
              <a:spLocks/>
            </p:cNvSpPr>
            <p:nvPr>
              <p:custDataLst>
                <p:tags r:id="rId25"/>
              </p:custDataLst>
            </p:nvPr>
          </p:nvSpPr>
          <p:spPr>
            <a:xfrm>
              <a:off x="7690899" y="1453003"/>
              <a:ext cx="2031433" cy="509011"/>
            </a:xfrm>
            <a:prstGeom prst="rect">
              <a:avLst/>
            </a:prstGeom>
            <a:solidFill>
              <a:schemeClr val="bg2">
                <a:lumMod val="95000"/>
              </a:schemeClr>
            </a:solidFill>
            <a:ln w="12700">
              <a:solidFill>
                <a:schemeClr val="accent5"/>
              </a:solidFill>
              <a:prstDash val="dash"/>
            </a:ln>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1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Chair: TBD</a:t>
              </a:r>
            </a:p>
            <a:p>
              <a:pPr fontAlgn="base">
                <a:spcBef>
                  <a:spcPct val="0"/>
                </a:spcBef>
                <a:spcAft>
                  <a:spcPct val="0"/>
                </a:spcAft>
                <a:buClr>
                  <a:srgbClr val="303D24"/>
                </a:buClr>
                <a:buFontTx/>
                <a:buNone/>
              </a:pPr>
              <a:r>
                <a:rPr lang="en-US" kern="1200" dirty="0">
                  <a:ea typeface="+mn-ea"/>
                  <a:cs typeface="+mn-cs"/>
                </a:rPr>
                <a:t>Co-Chair: Economic Affairs Commissioner?</a:t>
              </a:r>
            </a:p>
          </p:txBody>
        </p:sp>
      </p:grpSp>
      <p:grpSp>
        <p:nvGrpSpPr>
          <p:cNvPr id="20" name="Group 19">
            <a:extLst>
              <a:ext uri="{FF2B5EF4-FFF2-40B4-BE49-F238E27FC236}">
                <a16:creationId xmlns:a16="http://schemas.microsoft.com/office/drawing/2014/main" id="{D6E15AD8-430B-4098-8E75-7C64553058C7}"/>
              </a:ext>
            </a:extLst>
          </p:cNvPr>
          <p:cNvGrpSpPr/>
          <p:nvPr/>
        </p:nvGrpSpPr>
        <p:grpSpPr>
          <a:xfrm>
            <a:off x="7690899" y="2131112"/>
            <a:ext cx="2031434" cy="846387"/>
            <a:chOff x="7690899" y="2102507"/>
            <a:chExt cx="2031434" cy="846387"/>
          </a:xfrm>
        </p:grpSpPr>
        <p:sp>
          <p:nvSpPr>
            <p:cNvPr id="8" name="TextBox 7">
              <a:extLst>
                <a:ext uri="{FF2B5EF4-FFF2-40B4-BE49-F238E27FC236}">
                  <a16:creationId xmlns:a16="http://schemas.microsoft.com/office/drawing/2014/main" id="{1559BBEF-1BA1-44E9-B07D-9B371B57501E}"/>
                </a:ext>
              </a:extLst>
            </p:cNvPr>
            <p:cNvSpPr txBox="1">
              <a:spLocks/>
            </p:cNvSpPr>
            <p:nvPr>
              <p:custDataLst>
                <p:tags r:id="rId22"/>
              </p:custDataLst>
            </p:nvPr>
          </p:nvSpPr>
          <p:spPr>
            <a:xfrm>
              <a:off x="7690900" y="2102507"/>
              <a:ext cx="2031433" cy="62459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12700">
              <a:solidFill>
                <a:schemeClr val="accent5"/>
              </a:solidFill>
              <a:prstDash val="dash"/>
            </a:ln>
          </p:spPr>
          <p:txBody>
            <a:bodyPr vert="horz" wrap="square" lIns="76200" tIns="76200" rIns="76200" bIns="76200" rtlCol="0" anchor="t">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Transport and Logistics Coordinating Committee</a:t>
              </a:r>
            </a:p>
            <a:p>
              <a:pPr algn="ctr" fontAlgn="base">
                <a:spcBef>
                  <a:spcPct val="0"/>
                </a:spcBef>
                <a:spcAft>
                  <a:spcPct val="0"/>
                </a:spcAft>
                <a:buClr>
                  <a:srgbClr val="303D24"/>
                </a:buClr>
                <a:buFontTx/>
                <a:buNone/>
              </a:pPr>
              <a:endParaRPr lang="en-US" sz="1200" b="1" kern="1200" dirty="0">
                <a:ea typeface="+mn-ea"/>
                <a:cs typeface="+mn-cs"/>
              </a:endParaRPr>
            </a:p>
          </p:txBody>
        </p:sp>
        <p:sp>
          <p:nvSpPr>
            <p:cNvPr id="59" name="TextBox 58">
              <a:extLst>
                <a:ext uri="{FF2B5EF4-FFF2-40B4-BE49-F238E27FC236}">
                  <a16:creationId xmlns:a16="http://schemas.microsoft.com/office/drawing/2014/main" id="{00CEF3BD-848A-4CB9-9255-A2F5D68DA403}"/>
                </a:ext>
              </a:extLst>
            </p:cNvPr>
            <p:cNvSpPr txBox="1">
              <a:spLocks/>
            </p:cNvSpPr>
            <p:nvPr>
              <p:custDataLst>
                <p:tags r:id="rId23"/>
              </p:custDataLst>
            </p:nvPr>
          </p:nvSpPr>
          <p:spPr>
            <a:xfrm>
              <a:off x="7690899" y="2592559"/>
              <a:ext cx="2031433" cy="356335"/>
            </a:xfrm>
            <a:prstGeom prst="rect">
              <a:avLst/>
            </a:prstGeom>
            <a:solidFill>
              <a:schemeClr val="bg2">
                <a:lumMod val="95000"/>
              </a:schemeClr>
            </a:solidFill>
            <a:ln w="12700">
              <a:solidFill>
                <a:schemeClr val="accent5"/>
              </a:solidFill>
              <a:prstDash val="dash"/>
            </a:ln>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1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Chair: TBD</a:t>
              </a:r>
            </a:p>
            <a:p>
              <a:pPr fontAlgn="base">
                <a:spcBef>
                  <a:spcPct val="0"/>
                </a:spcBef>
                <a:spcAft>
                  <a:spcPct val="0"/>
                </a:spcAft>
                <a:buClr>
                  <a:srgbClr val="303D24"/>
                </a:buClr>
                <a:buFontTx/>
                <a:buNone/>
              </a:pPr>
              <a:r>
                <a:rPr lang="en-US" kern="1200" dirty="0">
                  <a:ea typeface="+mn-ea"/>
                  <a:cs typeface="+mn-cs"/>
                </a:rPr>
                <a:t>Co-Chair: TBD</a:t>
              </a:r>
            </a:p>
          </p:txBody>
        </p:sp>
      </p:grpSp>
      <p:sp>
        <p:nvSpPr>
          <p:cNvPr id="13" name="Title 12">
            <a:extLst>
              <a:ext uri="{FF2B5EF4-FFF2-40B4-BE49-F238E27FC236}">
                <a16:creationId xmlns:a16="http://schemas.microsoft.com/office/drawing/2014/main" id="{D021819A-0C78-456D-8B76-FBDD441ABE51}"/>
              </a:ext>
            </a:extLst>
          </p:cNvPr>
          <p:cNvSpPr>
            <a:spLocks noGrp="1"/>
          </p:cNvSpPr>
          <p:nvPr>
            <p:ph type="title"/>
          </p:nvPr>
        </p:nvSpPr>
        <p:spPr>
          <a:xfrm>
            <a:off x="199072" y="240559"/>
            <a:ext cx="11725484" cy="369332"/>
          </a:xfrm>
        </p:spPr>
        <p:txBody>
          <a:bodyPr/>
          <a:lstStyle/>
          <a:p>
            <a:r>
              <a:rPr lang="en-US" dirty="0"/>
              <a:t>Overview of the Africa Task Force for Coronavirus (AFTCOR)</a:t>
            </a:r>
          </a:p>
        </p:txBody>
      </p:sp>
      <p:grpSp>
        <p:nvGrpSpPr>
          <p:cNvPr id="18" name="Group 17">
            <a:extLst>
              <a:ext uri="{FF2B5EF4-FFF2-40B4-BE49-F238E27FC236}">
                <a16:creationId xmlns:a16="http://schemas.microsoft.com/office/drawing/2014/main" id="{74F3A489-7CC9-4DB3-8F1F-855609B26133}"/>
              </a:ext>
            </a:extLst>
          </p:cNvPr>
          <p:cNvGrpSpPr/>
          <p:nvPr/>
        </p:nvGrpSpPr>
        <p:grpSpPr>
          <a:xfrm>
            <a:off x="7690899" y="3146597"/>
            <a:ext cx="2031433" cy="844490"/>
            <a:chOff x="7690899" y="3146597"/>
            <a:chExt cx="2031433" cy="844490"/>
          </a:xfrm>
        </p:grpSpPr>
        <p:sp>
          <p:nvSpPr>
            <p:cNvPr id="7" name="TextBox 6">
              <a:extLst>
                <a:ext uri="{FF2B5EF4-FFF2-40B4-BE49-F238E27FC236}">
                  <a16:creationId xmlns:a16="http://schemas.microsoft.com/office/drawing/2014/main" id="{A17952F8-F139-441F-B8B1-1D5546FA4648}"/>
                </a:ext>
              </a:extLst>
            </p:cNvPr>
            <p:cNvSpPr txBox="1">
              <a:spLocks/>
            </p:cNvSpPr>
            <p:nvPr>
              <p:custDataLst>
                <p:tags r:id="rId20"/>
              </p:custDataLst>
            </p:nvPr>
          </p:nvSpPr>
          <p:spPr>
            <a:xfrm>
              <a:off x="7690899" y="3146597"/>
              <a:ext cx="2031433" cy="62459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p:spPr>
          <p:txBody>
            <a:bodyPr vert="horz" wrap="square" lIns="76200" tIns="76200" rIns="76200" bIns="76200" rtlCol="0" anchor="t">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ea typeface="+mn-ea"/>
                  <a:cs typeface="+mn-cs"/>
                </a:rPr>
                <a:t>Health Coordinating Committee</a:t>
              </a:r>
            </a:p>
            <a:p>
              <a:pPr algn="ctr" fontAlgn="base">
                <a:spcBef>
                  <a:spcPct val="0"/>
                </a:spcBef>
                <a:spcAft>
                  <a:spcPct val="0"/>
                </a:spcAft>
                <a:buClr>
                  <a:srgbClr val="303D24"/>
                </a:buClr>
                <a:buFontTx/>
                <a:buNone/>
              </a:pPr>
              <a:endParaRPr lang="en-US" sz="1200" b="1" kern="1200" dirty="0">
                <a:ea typeface="+mn-ea"/>
                <a:cs typeface="+mn-cs"/>
              </a:endParaRPr>
            </a:p>
          </p:txBody>
        </p:sp>
        <p:sp>
          <p:nvSpPr>
            <p:cNvPr id="63" name="TextBox 62">
              <a:extLst>
                <a:ext uri="{FF2B5EF4-FFF2-40B4-BE49-F238E27FC236}">
                  <a16:creationId xmlns:a16="http://schemas.microsoft.com/office/drawing/2014/main" id="{39E832FB-B156-4647-A0BE-4E998174EF05}"/>
                </a:ext>
              </a:extLst>
            </p:cNvPr>
            <p:cNvSpPr txBox="1">
              <a:spLocks/>
            </p:cNvSpPr>
            <p:nvPr>
              <p:custDataLst>
                <p:tags r:id="rId21"/>
              </p:custDataLst>
            </p:nvPr>
          </p:nvSpPr>
          <p:spPr>
            <a:xfrm>
              <a:off x="7690899" y="3634752"/>
              <a:ext cx="2031433" cy="356335"/>
            </a:xfrm>
            <a:prstGeom prst="rect">
              <a:avLst/>
            </a:prstGeom>
            <a:solidFill>
              <a:schemeClr val="bg2">
                <a:lumMod val="95000"/>
              </a:schemeClr>
            </a:solidFill>
          </p:spPr>
          <p:txBody>
            <a:bodyPr vert="horz" wrap="square" lIns="76200" tIns="76200" rIns="76200" bIns="76200" rtlCol="0" anchor="ctr">
              <a:noAutofit/>
            </a:bodyPr>
            <a:lstStyle>
              <a:defPPr>
                <a:defRPr lang="en-US"/>
              </a:defPPr>
              <a:lvl1pPr marL="0" lvl="0" indent="0" algn="ctr" defTabSz="913526" eaLnBrk="1" latinLnBrk="0" hangingPunct="1">
                <a:buClr>
                  <a:schemeClr val="tx2"/>
                </a:buClr>
                <a:buSzPct val="100000"/>
                <a:defRPr sz="11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Chair: South Africa</a:t>
              </a:r>
            </a:p>
            <a:p>
              <a:pPr fontAlgn="base">
                <a:spcBef>
                  <a:spcPct val="0"/>
                </a:spcBef>
                <a:spcAft>
                  <a:spcPct val="0"/>
                </a:spcAft>
                <a:buClr>
                  <a:srgbClr val="303D24"/>
                </a:buClr>
                <a:buFontTx/>
                <a:buNone/>
              </a:pPr>
              <a:r>
                <a:rPr lang="en-US" kern="1200" dirty="0">
                  <a:ea typeface="+mn-ea"/>
                  <a:cs typeface="+mn-cs"/>
                </a:rPr>
                <a:t>Co-Chair: DSA Commissioner</a:t>
              </a:r>
            </a:p>
          </p:txBody>
        </p:sp>
      </p:grpSp>
      <p:cxnSp>
        <p:nvCxnSpPr>
          <p:cNvPr id="72" name="Connector: Elbow 71">
            <a:extLst>
              <a:ext uri="{FF2B5EF4-FFF2-40B4-BE49-F238E27FC236}">
                <a16:creationId xmlns:a16="http://schemas.microsoft.com/office/drawing/2014/main" id="{90D4D279-37F2-48E8-9CD8-E9493BC4BDB6}"/>
              </a:ext>
            </a:extLst>
          </p:cNvPr>
          <p:cNvCxnSpPr>
            <a:cxnSpLocks/>
            <a:endCxn id="7" idx="1"/>
          </p:cNvCxnSpPr>
          <p:nvPr/>
        </p:nvCxnSpPr>
        <p:spPr>
          <a:xfrm rot="16200000" flipH="1">
            <a:off x="6454393" y="2222388"/>
            <a:ext cx="1752254" cy="720758"/>
          </a:xfrm>
          <a:prstGeom prst="bentConnector2">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73" name="ConnectorRectangle 19">
            <a:extLst>
              <a:ext uri="{FF2B5EF4-FFF2-40B4-BE49-F238E27FC236}">
                <a16:creationId xmlns:a16="http://schemas.microsoft.com/office/drawing/2014/main" id="{F3307B92-F4D3-405A-9CBE-7193CDE33258}"/>
              </a:ext>
            </a:extLst>
          </p:cNvPr>
          <p:cNvGrpSpPr>
            <a:grpSpLocks/>
          </p:cNvGrpSpPr>
          <p:nvPr>
            <p:custDataLst>
              <p:tags r:id="rId19"/>
            </p:custDataLst>
          </p:nvPr>
        </p:nvGrpSpPr>
        <p:grpSpPr>
          <a:xfrm>
            <a:off x="3210543" y="922312"/>
            <a:ext cx="1753370" cy="639910"/>
            <a:chOff x="254000" y="0"/>
            <a:chExt cx="1702138" cy="787400"/>
          </a:xfrm>
        </p:grpSpPr>
        <p:sp>
          <p:nvSpPr>
            <p:cNvPr id="74" name="TextBox 73">
              <a:extLst>
                <a:ext uri="{FF2B5EF4-FFF2-40B4-BE49-F238E27FC236}">
                  <a16:creationId xmlns:a16="http://schemas.microsoft.com/office/drawing/2014/main" id="{3ED380DF-9716-4ED6-A824-60AFA5C7069E}"/>
                </a:ext>
              </a:extLst>
            </p:cNvPr>
            <p:cNvSpPr txBox="1"/>
            <p:nvPr/>
          </p:nvSpPr>
          <p:spPr>
            <a:xfrm>
              <a:off x="254000" y="0"/>
              <a:ext cx="1462507" cy="787400"/>
            </a:xfrm>
            <a:prstGeom prst="rect">
              <a:avLst/>
            </a:prstGeom>
            <a:solidFill>
              <a:schemeClr val="bg1"/>
            </a:solidFill>
            <a:ln w="9525">
              <a:solidFill>
                <a:schemeClr val="accent5"/>
              </a:solidFill>
            </a:ln>
          </p:spPr>
          <p:txBody>
            <a:bodyPr vert="horz" wrap="square" lIns="76200" tIns="76200" rIns="76200" bIns="7620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100" kern="1200" dirty="0">
                  <a:ea typeface="+mn-ea"/>
                  <a:cs typeface="+mn-cs"/>
                </a:rPr>
                <a:t>Champion the Africa-wide overall COVID-19 strategy</a:t>
              </a:r>
            </a:p>
          </p:txBody>
        </p:sp>
        <p:cxnSp>
          <p:nvCxnSpPr>
            <p:cNvPr id="78" name="Straight Arrow Connector 77">
              <a:extLst>
                <a:ext uri="{FF2B5EF4-FFF2-40B4-BE49-F238E27FC236}">
                  <a16:creationId xmlns:a16="http://schemas.microsoft.com/office/drawing/2014/main" id="{34BC6A5A-18BE-49AA-867B-E951385FBF32}"/>
                </a:ext>
              </a:extLst>
            </p:cNvPr>
            <p:cNvCxnSpPr>
              <a:cxnSpLocks/>
            </p:cNvCxnSpPr>
            <p:nvPr/>
          </p:nvCxnSpPr>
          <p:spPr>
            <a:xfrm>
              <a:off x="1716507" y="239445"/>
              <a:ext cx="239631" cy="0"/>
            </a:xfrm>
            <a:prstGeom prst="straightConnector1">
              <a:avLst/>
            </a:prstGeom>
            <a:ln cmpd="sng">
              <a:solidFill>
                <a:schemeClr val="accent5"/>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766CF6A3-9348-4112-B97F-D1D62EE53105}"/>
              </a:ext>
            </a:extLst>
          </p:cNvPr>
          <p:cNvGrpSpPr/>
          <p:nvPr/>
        </p:nvGrpSpPr>
        <p:grpSpPr>
          <a:xfrm>
            <a:off x="9812913" y="998673"/>
            <a:ext cx="1925657" cy="2853729"/>
            <a:chOff x="9812913" y="998673"/>
            <a:chExt cx="1925657" cy="2853729"/>
          </a:xfrm>
        </p:grpSpPr>
        <p:grpSp>
          <p:nvGrpSpPr>
            <p:cNvPr id="80" name="Group 79">
              <a:extLst>
                <a:ext uri="{FF2B5EF4-FFF2-40B4-BE49-F238E27FC236}">
                  <a16:creationId xmlns:a16="http://schemas.microsoft.com/office/drawing/2014/main" id="{8A87119F-0F4D-444D-9E18-F898670B0784}"/>
                </a:ext>
              </a:extLst>
            </p:cNvPr>
            <p:cNvGrpSpPr/>
            <p:nvPr/>
          </p:nvGrpSpPr>
          <p:grpSpPr>
            <a:xfrm>
              <a:off x="9812913" y="2058996"/>
              <a:ext cx="1925657" cy="857844"/>
              <a:chOff x="10611494" y="1672382"/>
              <a:chExt cx="1327375" cy="1328195"/>
            </a:xfrm>
          </p:grpSpPr>
          <p:cxnSp>
            <p:nvCxnSpPr>
              <p:cNvPr id="94" name="Straight Arrow Connector 93">
                <a:extLst>
                  <a:ext uri="{FF2B5EF4-FFF2-40B4-BE49-F238E27FC236}">
                    <a16:creationId xmlns:a16="http://schemas.microsoft.com/office/drawing/2014/main" id="{951B86F1-C78B-4D19-B3BD-0901ABBBBF93}"/>
                  </a:ext>
                </a:extLst>
              </p:cNvPr>
              <p:cNvCxnSpPr>
                <a:cxnSpLocks/>
              </p:cNvCxnSpPr>
              <p:nvPr/>
            </p:nvCxnSpPr>
            <p:spPr>
              <a:xfrm flipH="1">
                <a:off x="10611494" y="2256227"/>
                <a:ext cx="257787" cy="8020"/>
              </a:xfrm>
              <a:prstGeom prst="straightConnector1">
                <a:avLst/>
              </a:prstGeom>
              <a:ln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2AEC8963-11CB-460B-8123-ABD03CCFC0C6}"/>
                  </a:ext>
                </a:extLst>
              </p:cNvPr>
              <p:cNvSpPr txBox="1"/>
              <p:nvPr/>
            </p:nvSpPr>
            <p:spPr>
              <a:xfrm>
                <a:off x="10776615" y="1672382"/>
                <a:ext cx="1162254" cy="1328195"/>
              </a:xfrm>
              <a:prstGeom prst="rect">
                <a:avLst/>
              </a:prstGeom>
              <a:solidFill>
                <a:schemeClr val="bg1"/>
              </a:solidFill>
              <a:ln w="9525">
                <a:solidFill>
                  <a:schemeClr val="accent1"/>
                </a:solidFill>
              </a:ln>
            </p:spPr>
            <p:txBody>
              <a:bodyPr vert="horz" wrap="square" lIns="76200" tIns="76200" rIns="76200" bIns="7620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100" kern="1200" dirty="0">
                    <a:ea typeface="+mn-ea"/>
                    <a:cs typeface="+mn-cs"/>
                  </a:rPr>
                  <a:t>Open up transportation and logistics channels for key supplies and rapid responders</a:t>
                </a:r>
              </a:p>
            </p:txBody>
          </p:sp>
        </p:grpSp>
        <p:grpSp>
          <p:nvGrpSpPr>
            <p:cNvPr id="103" name="Group 102">
              <a:extLst>
                <a:ext uri="{FF2B5EF4-FFF2-40B4-BE49-F238E27FC236}">
                  <a16:creationId xmlns:a16="http://schemas.microsoft.com/office/drawing/2014/main" id="{ECB00487-38BF-45D7-AE63-F5D54A9A92F1}"/>
                </a:ext>
              </a:extLst>
            </p:cNvPr>
            <p:cNvGrpSpPr/>
            <p:nvPr/>
          </p:nvGrpSpPr>
          <p:grpSpPr>
            <a:xfrm>
              <a:off x="9812913" y="3163052"/>
              <a:ext cx="1925657" cy="689350"/>
              <a:chOff x="10611494" y="1672382"/>
              <a:chExt cx="1327375" cy="1328195"/>
            </a:xfrm>
          </p:grpSpPr>
          <p:cxnSp>
            <p:nvCxnSpPr>
              <p:cNvPr id="118" name="Straight Arrow Connector 117">
                <a:extLst>
                  <a:ext uri="{FF2B5EF4-FFF2-40B4-BE49-F238E27FC236}">
                    <a16:creationId xmlns:a16="http://schemas.microsoft.com/office/drawing/2014/main" id="{5C98F370-F86E-4F99-A7D9-67CDC163D766}"/>
                  </a:ext>
                </a:extLst>
              </p:cNvPr>
              <p:cNvCxnSpPr>
                <a:cxnSpLocks/>
              </p:cNvCxnSpPr>
              <p:nvPr/>
            </p:nvCxnSpPr>
            <p:spPr>
              <a:xfrm flipH="1">
                <a:off x="10611494" y="2256227"/>
                <a:ext cx="257787" cy="8020"/>
              </a:xfrm>
              <a:prstGeom prst="straightConnector1">
                <a:avLst/>
              </a:prstGeom>
              <a:ln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7AA1A421-B9F1-4568-B064-5EB626268963}"/>
                  </a:ext>
                </a:extLst>
              </p:cNvPr>
              <p:cNvSpPr txBox="1"/>
              <p:nvPr/>
            </p:nvSpPr>
            <p:spPr>
              <a:xfrm>
                <a:off x="10776615" y="1672382"/>
                <a:ext cx="1162254" cy="1328195"/>
              </a:xfrm>
              <a:prstGeom prst="rect">
                <a:avLst/>
              </a:prstGeom>
              <a:solidFill>
                <a:schemeClr val="bg1"/>
              </a:solidFill>
              <a:ln w="9525">
                <a:solidFill>
                  <a:schemeClr val="accent1"/>
                </a:solidFill>
              </a:ln>
            </p:spPr>
            <p:txBody>
              <a:bodyPr vert="horz" wrap="square" lIns="76200" tIns="76200" rIns="76200" bIns="7620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100" kern="1200" dirty="0">
                    <a:ea typeface="+mn-ea"/>
                    <a:cs typeface="+mn-cs"/>
                  </a:rPr>
                  <a:t>Implement and promote adoption of the public health response strategy</a:t>
                </a:r>
              </a:p>
            </p:txBody>
          </p:sp>
        </p:grpSp>
        <p:grpSp>
          <p:nvGrpSpPr>
            <p:cNvPr id="122" name="Group 121">
              <a:extLst>
                <a:ext uri="{FF2B5EF4-FFF2-40B4-BE49-F238E27FC236}">
                  <a16:creationId xmlns:a16="http://schemas.microsoft.com/office/drawing/2014/main" id="{A761A958-A918-4F10-A050-620076B992F9}"/>
                </a:ext>
              </a:extLst>
            </p:cNvPr>
            <p:cNvGrpSpPr/>
            <p:nvPr/>
          </p:nvGrpSpPr>
          <p:grpSpPr>
            <a:xfrm>
              <a:off x="9812913" y="998673"/>
              <a:ext cx="1925657" cy="689350"/>
              <a:chOff x="10611494" y="1672382"/>
              <a:chExt cx="1327375" cy="1328195"/>
            </a:xfrm>
          </p:grpSpPr>
          <p:cxnSp>
            <p:nvCxnSpPr>
              <p:cNvPr id="123" name="Straight Arrow Connector 122">
                <a:extLst>
                  <a:ext uri="{FF2B5EF4-FFF2-40B4-BE49-F238E27FC236}">
                    <a16:creationId xmlns:a16="http://schemas.microsoft.com/office/drawing/2014/main" id="{1B6A6502-BB90-435C-B744-043CE77424D6}"/>
                  </a:ext>
                </a:extLst>
              </p:cNvPr>
              <p:cNvCxnSpPr>
                <a:cxnSpLocks/>
              </p:cNvCxnSpPr>
              <p:nvPr/>
            </p:nvCxnSpPr>
            <p:spPr>
              <a:xfrm flipH="1">
                <a:off x="10611494" y="2256227"/>
                <a:ext cx="257787" cy="8020"/>
              </a:xfrm>
              <a:prstGeom prst="straightConnector1">
                <a:avLst/>
              </a:prstGeom>
              <a:ln cmpd="sng">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52369FE2-8FCB-4CB1-BEBD-66B329B83BB4}"/>
                  </a:ext>
                </a:extLst>
              </p:cNvPr>
              <p:cNvSpPr txBox="1"/>
              <p:nvPr/>
            </p:nvSpPr>
            <p:spPr>
              <a:xfrm>
                <a:off x="10776615" y="1672382"/>
                <a:ext cx="1162254" cy="1328195"/>
              </a:xfrm>
              <a:prstGeom prst="rect">
                <a:avLst/>
              </a:prstGeom>
              <a:solidFill>
                <a:schemeClr val="bg1"/>
              </a:solidFill>
              <a:ln w="9525">
                <a:solidFill>
                  <a:schemeClr val="accent1"/>
                </a:solidFill>
              </a:ln>
            </p:spPr>
            <p:txBody>
              <a:bodyPr vert="horz" wrap="square" lIns="76200" tIns="76200" rIns="76200" bIns="7620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100" kern="1200" dirty="0">
                    <a:ea typeface="+mn-ea"/>
                    <a:cs typeface="+mn-cs"/>
                  </a:rPr>
                  <a:t>Ensure effective resource mobilization for COVID-19 response</a:t>
                </a:r>
              </a:p>
            </p:txBody>
          </p:sp>
        </p:grpSp>
      </p:grpSp>
      <p:grpSp>
        <p:nvGrpSpPr>
          <p:cNvPr id="125" name="Group 124">
            <a:extLst>
              <a:ext uri="{FF2B5EF4-FFF2-40B4-BE49-F238E27FC236}">
                <a16:creationId xmlns:a16="http://schemas.microsoft.com/office/drawing/2014/main" id="{00299C9F-BF20-4469-838E-ABF0002C6033}"/>
              </a:ext>
            </a:extLst>
          </p:cNvPr>
          <p:cNvGrpSpPr/>
          <p:nvPr/>
        </p:nvGrpSpPr>
        <p:grpSpPr>
          <a:xfrm>
            <a:off x="2882757" y="1812213"/>
            <a:ext cx="1810221" cy="806736"/>
            <a:chOff x="3193146" y="2914454"/>
            <a:chExt cx="1810221" cy="806736"/>
          </a:xfrm>
        </p:grpSpPr>
        <p:cxnSp>
          <p:nvCxnSpPr>
            <p:cNvPr id="126" name="Straight Arrow Connector 125">
              <a:extLst>
                <a:ext uri="{FF2B5EF4-FFF2-40B4-BE49-F238E27FC236}">
                  <a16:creationId xmlns:a16="http://schemas.microsoft.com/office/drawing/2014/main" id="{0E24F552-DF21-422C-B7D6-FF4B1122B709}"/>
                </a:ext>
              </a:extLst>
            </p:cNvPr>
            <p:cNvCxnSpPr>
              <a:cxnSpLocks/>
            </p:cNvCxnSpPr>
            <p:nvPr/>
          </p:nvCxnSpPr>
          <p:spPr>
            <a:xfrm>
              <a:off x="4770288" y="3606947"/>
              <a:ext cx="233079" cy="0"/>
            </a:xfrm>
            <a:prstGeom prst="straightConnector1">
              <a:avLst/>
            </a:prstGeom>
            <a:ln cmpd="sng">
              <a:solidFill>
                <a:schemeClr val="accent4"/>
              </a:solidFill>
              <a:tailEnd type="oval" w="med" len="med"/>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9A346500-7AC5-40D5-A2AE-7EE889AE4169}"/>
                </a:ext>
              </a:extLst>
            </p:cNvPr>
            <p:cNvSpPr txBox="1"/>
            <p:nvPr/>
          </p:nvSpPr>
          <p:spPr>
            <a:xfrm>
              <a:off x="3193146" y="2914454"/>
              <a:ext cx="1577142" cy="806736"/>
            </a:xfrm>
            <a:prstGeom prst="rect">
              <a:avLst/>
            </a:prstGeom>
            <a:solidFill>
              <a:schemeClr val="bg1"/>
            </a:solidFill>
            <a:ln w="9525">
              <a:solidFill>
                <a:schemeClr val="accent4"/>
              </a:solidFill>
            </a:ln>
          </p:spPr>
          <p:txBody>
            <a:bodyPr vert="horz" wrap="square" lIns="76200" tIns="76200" rIns="76200" bIns="7620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100" kern="1200" dirty="0">
                  <a:ea typeface="+mn-ea"/>
                  <a:cs typeface="+mn-cs"/>
                </a:rPr>
                <a:t>Develop a continent-wide public health response strategy to respond to COVID-19</a:t>
              </a:r>
            </a:p>
          </p:txBody>
        </p:sp>
      </p:grpSp>
      <p:grpSp>
        <p:nvGrpSpPr>
          <p:cNvPr id="128" name="Group 127">
            <a:extLst>
              <a:ext uri="{FF2B5EF4-FFF2-40B4-BE49-F238E27FC236}">
                <a16:creationId xmlns:a16="http://schemas.microsoft.com/office/drawing/2014/main" id="{6BE08880-43CD-4C58-948A-D26EEE908C25}"/>
              </a:ext>
            </a:extLst>
          </p:cNvPr>
          <p:cNvGrpSpPr/>
          <p:nvPr/>
        </p:nvGrpSpPr>
        <p:grpSpPr>
          <a:xfrm>
            <a:off x="521379" y="3228209"/>
            <a:ext cx="2022785" cy="859732"/>
            <a:chOff x="770583" y="3321782"/>
            <a:chExt cx="2022785" cy="859732"/>
          </a:xfrm>
        </p:grpSpPr>
        <p:cxnSp>
          <p:nvCxnSpPr>
            <p:cNvPr id="129" name="Straight Arrow Connector 128">
              <a:extLst>
                <a:ext uri="{FF2B5EF4-FFF2-40B4-BE49-F238E27FC236}">
                  <a16:creationId xmlns:a16="http://schemas.microsoft.com/office/drawing/2014/main" id="{D7628EC0-F52D-4A48-A957-79C413BC24D4}"/>
                </a:ext>
              </a:extLst>
            </p:cNvPr>
            <p:cNvCxnSpPr>
              <a:cxnSpLocks/>
            </p:cNvCxnSpPr>
            <p:nvPr/>
          </p:nvCxnSpPr>
          <p:spPr>
            <a:xfrm flipH="1">
              <a:off x="1781976" y="3684578"/>
              <a:ext cx="1" cy="496936"/>
            </a:xfrm>
            <a:prstGeom prst="straightConnector1">
              <a:avLst/>
            </a:prstGeom>
            <a:ln cmpd="sng">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E3677E48-BCDC-470C-A45E-9EFBC3590892}"/>
                </a:ext>
              </a:extLst>
            </p:cNvPr>
            <p:cNvSpPr txBox="1"/>
            <p:nvPr/>
          </p:nvSpPr>
          <p:spPr>
            <a:xfrm>
              <a:off x="770583" y="3321782"/>
              <a:ext cx="2022785" cy="631000"/>
            </a:xfrm>
            <a:prstGeom prst="rect">
              <a:avLst/>
            </a:prstGeom>
            <a:solidFill>
              <a:schemeClr val="bg1"/>
            </a:solidFill>
            <a:ln w="9525">
              <a:solidFill>
                <a:schemeClr val="accent3"/>
              </a:solidFill>
            </a:ln>
          </p:spPr>
          <p:txBody>
            <a:bodyPr vert="horz" wrap="square" lIns="76200" tIns="76200" rIns="76200" bIns="7620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100" kern="1200" dirty="0">
                  <a:ea typeface="+mn-ea"/>
                  <a:cs typeface="+mn-cs"/>
                </a:rPr>
                <a:t>Provide the though-leadership on key technical public health response areas</a:t>
              </a:r>
            </a:p>
          </p:txBody>
        </p:sp>
      </p:grpSp>
      <p:grpSp>
        <p:nvGrpSpPr>
          <p:cNvPr id="131" name="Group 130">
            <a:extLst>
              <a:ext uri="{FF2B5EF4-FFF2-40B4-BE49-F238E27FC236}">
                <a16:creationId xmlns:a16="http://schemas.microsoft.com/office/drawing/2014/main" id="{8DE2448E-3576-4824-B6A2-CBEA72B3D165}"/>
              </a:ext>
            </a:extLst>
          </p:cNvPr>
          <p:cNvGrpSpPr/>
          <p:nvPr/>
        </p:nvGrpSpPr>
        <p:grpSpPr>
          <a:xfrm>
            <a:off x="4843690" y="3119029"/>
            <a:ext cx="1992258" cy="981240"/>
            <a:chOff x="9241363" y="3122574"/>
            <a:chExt cx="1992258" cy="981240"/>
          </a:xfrm>
        </p:grpSpPr>
        <p:cxnSp>
          <p:nvCxnSpPr>
            <p:cNvPr id="132" name="Straight Arrow Connector 131">
              <a:extLst>
                <a:ext uri="{FF2B5EF4-FFF2-40B4-BE49-F238E27FC236}">
                  <a16:creationId xmlns:a16="http://schemas.microsoft.com/office/drawing/2014/main" id="{C5CAB296-C86F-405C-9FCD-DF9809BAD813}"/>
                </a:ext>
              </a:extLst>
            </p:cNvPr>
            <p:cNvCxnSpPr>
              <a:cxnSpLocks/>
            </p:cNvCxnSpPr>
            <p:nvPr/>
          </p:nvCxnSpPr>
          <p:spPr>
            <a:xfrm flipH="1">
              <a:off x="11113608" y="3606878"/>
              <a:ext cx="1" cy="496936"/>
            </a:xfrm>
            <a:prstGeom prst="straightConnector1">
              <a:avLst/>
            </a:prstGeom>
            <a:ln cmpd="sng">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DC0D44F5-5019-4C2E-A0CF-B4B2CBE4178C}"/>
                </a:ext>
              </a:extLst>
            </p:cNvPr>
            <p:cNvSpPr txBox="1"/>
            <p:nvPr/>
          </p:nvSpPr>
          <p:spPr>
            <a:xfrm>
              <a:off x="9241363" y="3122574"/>
              <a:ext cx="1992258" cy="814222"/>
            </a:xfrm>
            <a:prstGeom prst="rect">
              <a:avLst/>
            </a:prstGeom>
            <a:solidFill>
              <a:schemeClr val="bg1"/>
            </a:solidFill>
            <a:ln w="9525">
              <a:solidFill>
                <a:schemeClr val="accent3"/>
              </a:solidFill>
            </a:ln>
          </p:spPr>
          <p:txBody>
            <a:bodyPr vert="horz" wrap="square" lIns="76200" tIns="76200" rIns="76200" bIns="7620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100" kern="1200" dirty="0">
                  <a:ea typeface="+mn-ea"/>
                  <a:cs typeface="+mn-cs"/>
                </a:rPr>
                <a:t>Convene and coordinate implementation of public health strategies for countries at the regional level</a:t>
              </a:r>
            </a:p>
          </p:txBody>
        </p:sp>
      </p:grpSp>
    </p:spTree>
    <p:extLst>
      <p:ext uri="{BB962C8B-B14F-4D97-AF65-F5344CB8AC3E}">
        <p14:creationId xmlns:p14="http://schemas.microsoft.com/office/powerpoint/2010/main" val="1662559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5"/>
                                        </p:tgtEl>
                                        <p:attrNameLst>
                                          <p:attrName>style.visibility</p:attrName>
                                        </p:attrNameLst>
                                      </p:cBhvr>
                                      <p:to>
                                        <p:strVal val="visible"/>
                                      </p:to>
                                    </p:set>
                                    <p:animEffect transition="in" filter="fade">
                                      <p:cBhvr>
                                        <p:cTn id="17" dur="500"/>
                                        <p:tgtEl>
                                          <p:spTgt spid="12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8"/>
                                        </p:tgtEl>
                                        <p:attrNameLst>
                                          <p:attrName>style.visibility</p:attrName>
                                        </p:attrNameLst>
                                      </p:cBhvr>
                                      <p:to>
                                        <p:strVal val="visible"/>
                                      </p:to>
                                    </p:set>
                                    <p:animEffect transition="in" filter="fade">
                                      <p:cBhvr>
                                        <p:cTn id="22" dur="500"/>
                                        <p:tgtEl>
                                          <p:spTgt spid="12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1"/>
                                        </p:tgtEl>
                                        <p:attrNameLst>
                                          <p:attrName>style.visibility</p:attrName>
                                        </p:attrNameLst>
                                      </p:cBhvr>
                                      <p:to>
                                        <p:strVal val="visible"/>
                                      </p:to>
                                    </p:set>
                                    <p:animEffect transition="in" filter="fade">
                                      <p:cBhvr>
                                        <p:cTn id="2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06">
            <a:extLst>
              <a:ext uri="{FF2B5EF4-FFF2-40B4-BE49-F238E27FC236}">
                <a16:creationId xmlns:a16="http://schemas.microsoft.com/office/drawing/2014/main" id="{761540B3-4841-4FB3-ABF5-13EB9ED25D6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70499" y="1746120"/>
            <a:ext cx="3534216" cy="2356143"/>
          </a:xfrm>
          <a:prstGeom prst="rect">
            <a:avLst/>
          </a:prstGeom>
        </p:spPr>
      </p:pic>
      <p:graphicFrame>
        <p:nvGraphicFramePr>
          <p:cNvPr id="3" name="Object 2" hidden="1">
            <a:extLst>
              <a:ext uri="{FF2B5EF4-FFF2-40B4-BE49-F238E27FC236}">
                <a16:creationId xmlns:a16="http://schemas.microsoft.com/office/drawing/2014/main" id="{A26E4BD1-6DDD-42CE-9E79-2515151134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7" name="think-cell Slide" r:id="rId13" imgW="451" imgH="450" progId="TCLayout.ActiveDocument.1">
                  <p:embed/>
                </p:oleObj>
              </mc:Choice>
              <mc:Fallback>
                <p:oleObj name="think-cell Slide" r:id="rId13" imgW="451" imgH="450"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17D3BC-C387-4E33-BFF0-3AEF382FF662}"/>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err="1">
              <a:solidFill>
                <a:srgbClr val="000000"/>
              </a:solidFill>
              <a:sym typeface="Arial" panose="020B0604020202020204" pitchFamily="34" charset="0"/>
            </a:endParaRPr>
          </a:p>
        </p:txBody>
      </p:sp>
      <p:sp>
        <p:nvSpPr>
          <p:cNvPr id="2" name="Title 1">
            <a:extLst>
              <a:ext uri="{FF2B5EF4-FFF2-40B4-BE49-F238E27FC236}">
                <a16:creationId xmlns:a16="http://schemas.microsoft.com/office/drawing/2014/main" id="{9FA23DC8-F3A8-4771-8882-4CA263A26CB4}"/>
              </a:ext>
            </a:extLst>
          </p:cNvPr>
          <p:cNvSpPr>
            <a:spLocks noGrp="1"/>
          </p:cNvSpPr>
          <p:nvPr>
            <p:ph type="title"/>
          </p:nvPr>
        </p:nvSpPr>
        <p:spPr bwMode="auto">
          <a:xfrm>
            <a:off x="220559" y="135772"/>
            <a:ext cx="11725484"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nchorCtr="0">
            <a:spAutoFit/>
          </a:bodyPr>
          <a:lstStyle/>
          <a:p>
            <a:r>
              <a:rPr lang="en-US" b="1" dirty="0"/>
              <a:t>Surveillance in Feb. 2020:</a:t>
            </a:r>
            <a:r>
              <a:rPr lang="en-US" sz="2000" b="1" dirty="0"/>
              <a:t> </a:t>
            </a:r>
            <a:r>
              <a:rPr lang="en-US" sz="2000" dirty="0"/>
              <a:t>Africa CDC and partners have launched training targeting both enhanced surveillance at points of entry (POE) and event-based surveillance (EBS) in Africa</a:t>
            </a:r>
          </a:p>
        </p:txBody>
      </p:sp>
      <p:sp>
        <p:nvSpPr>
          <p:cNvPr id="33" name="TextBox 32">
            <a:extLst>
              <a:ext uri="{FF2B5EF4-FFF2-40B4-BE49-F238E27FC236}">
                <a16:creationId xmlns:a16="http://schemas.microsoft.com/office/drawing/2014/main" id="{57C55761-1D6C-4C1B-991E-0E2EF4AE97B1}"/>
              </a:ext>
            </a:extLst>
          </p:cNvPr>
          <p:cNvSpPr txBox="1"/>
          <p:nvPr/>
        </p:nvSpPr>
        <p:spPr>
          <a:xfrm>
            <a:off x="227230" y="1043272"/>
            <a:ext cx="4605296" cy="276999"/>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800" kern="1200" dirty="0">
                <a:ea typeface="+mn-ea"/>
                <a:cs typeface="+mn-cs"/>
              </a:rPr>
              <a:t>Bringing together key stakeholders…</a:t>
            </a:r>
          </a:p>
        </p:txBody>
      </p:sp>
      <p:sp>
        <p:nvSpPr>
          <p:cNvPr id="34" name="TextBox 33">
            <a:extLst>
              <a:ext uri="{FF2B5EF4-FFF2-40B4-BE49-F238E27FC236}">
                <a16:creationId xmlns:a16="http://schemas.microsoft.com/office/drawing/2014/main" id="{5E38D3AC-8D6D-4772-9449-11E4D4FFB702}"/>
              </a:ext>
            </a:extLst>
          </p:cNvPr>
          <p:cNvSpPr txBox="1"/>
          <p:nvPr/>
        </p:nvSpPr>
        <p:spPr>
          <a:xfrm>
            <a:off x="5068237" y="1043272"/>
            <a:ext cx="6949498" cy="55399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800" kern="1200" dirty="0">
                <a:ea typeface="+mn-ea"/>
                <a:cs typeface="+mn-cs"/>
              </a:rPr>
              <a:t>…To enhance surveillance across the continent using a train-the-trainer model </a:t>
            </a:r>
          </a:p>
        </p:txBody>
      </p:sp>
      <p:grpSp>
        <p:nvGrpSpPr>
          <p:cNvPr id="9" name="Group 8">
            <a:extLst>
              <a:ext uri="{FF2B5EF4-FFF2-40B4-BE49-F238E27FC236}">
                <a16:creationId xmlns:a16="http://schemas.microsoft.com/office/drawing/2014/main" id="{8C49B99D-5839-4453-9412-04E1DA97BBA0}"/>
              </a:ext>
            </a:extLst>
          </p:cNvPr>
          <p:cNvGrpSpPr/>
          <p:nvPr/>
        </p:nvGrpSpPr>
        <p:grpSpPr>
          <a:xfrm>
            <a:off x="4546720" y="1329660"/>
            <a:ext cx="726103" cy="4884338"/>
            <a:chOff x="5753998" y="1097663"/>
            <a:chExt cx="692196" cy="4656256"/>
          </a:xfrm>
        </p:grpSpPr>
        <p:cxnSp>
          <p:nvCxnSpPr>
            <p:cNvPr id="49" name="Straight Connector 48">
              <a:extLst>
                <a:ext uri="{FF2B5EF4-FFF2-40B4-BE49-F238E27FC236}">
                  <a16:creationId xmlns:a16="http://schemas.microsoft.com/office/drawing/2014/main" id="{64CBB09B-04CE-4057-8132-4FB2310E205B}"/>
                </a:ext>
              </a:extLst>
            </p:cNvPr>
            <p:cNvCxnSpPr>
              <a:cxnSpLocks/>
            </p:cNvCxnSpPr>
            <p:nvPr/>
          </p:nvCxnSpPr>
          <p:spPr>
            <a:xfrm flipV="1">
              <a:off x="6088441" y="1097663"/>
              <a:ext cx="0" cy="465625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F9A607CD-586E-463A-8EE1-A796085B8235}"/>
                </a:ext>
              </a:extLst>
            </p:cNvPr>
            <p:cNvGrpSpPr/>
            <p:nvPr/>
          </p:nvGrpSpPr>
          <p:grpSpPr>
            <a:xfrm>
              <a:off x="5753998" y="3048223"/>
              <a:ext cx="692196" cy="653763"/>
              <a:chOff x="4701222" y="3015665"/>
              <a:chExt cx="620078" cy="620078"/>
            </a:xfrm>
          </p:grpSpPr>
          <p:sp>
            <p:nvSpPr>
              <p:cNvPr id="45" name="Oval 44">
                <a:extLst>
                  <a:ext uri="{FF2B5EF4-FFF2-40B4-BE49-F238E27FC236}">
                    <a16:creationId xmlns:a16="http://schemas.microsoft.com/office/drawing/2014/main" id="{DB9A56B3-D995-4B0E-8585-8EC54490C4F7}"/>
                  </a:ext>
                </a:extLst>
              </p:cNvPr>
              <p:cNvSpPr/>
              <p:nvPr/>
            </p:nvSpPr>
            <p:spPr>
              <a:xfrm>
                <a:off x="4701222" y="3015665"/>
                <a:ext cx="620078" cy="620078"/>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grpSp>
            <p:nvGrpSpPr>
              <p:cNvPr id="46" name="DoubleChevron3 101">
                <a:extLst>
                  <a:ext uri="{FF2B5EF4-FFF2-40B4-BE49-F238E27FC236}">
                    <a16:creationId xmlns:a16="http://schemas.microsoft.com/office/drawing/2014/main" id="{4B02F417-C067-42AB-8B30-C4FDF0A95F0A}"/>
                  </a:ext>
                </a:extLst>
              </p:cNvPr>
              <p:cNvGrpSpPr/>
              <p:nvPr>
                <p:custDataLst>
                  <p:tags r:id="rId10"/>
                </p:custDataLst>
              </p:nvPr>
            </p:nvGrpSpPr>
            <p:grpSpPr>
              <a:xfrm>
                <a:off x="4815522" y="3105154"/>
                <a:ext cx="391478" cy="441100"/>
                <a:chOff x="1270000" y="1270000"/>
                <a:chExt cx="450850" cy="508000"/>
              </a:xfrm>
            </p:grpSpPr>
            <p:sp>
              <p:nvSpPr>
                <p:cNvPr id="47" name="Chevron1">
                  <a:extLst>
                    <a:ext uri="{FF2B5EF4-FFF2-40B4-BE49-F238E27FC236}">
                      <a16:creationId xmlns:a16="http://schemas.microsoft.com/office/drawing/2014/main" id="{2ED008A8-F079-4D80-AB54-B3CFB1197DB9}"/>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sp>
              <p:nvSpPr>
                <p:cNvPr id="48" name="Chevron2">
                  <a:extLst>
                    <a:ext uri="{FF2B5EF4-FFF2-40B4-BE49-F238E27FC236}">
                      <a16:creationId xmlns:a16="http://schemas.microsoft.com/office/drawing/2014/main" id="{2627AE64-3F19-48E1-BD30-0BC5405F62DF}"/>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grpSp>
        </p:grpSp>
      </p:grpSp>
      <p:grpSp>
        <p:nvGrpSpPr>
          <p:cNvPr id="13" name="Group 12">
            <a:extLst>
              <a:ext uri="{FF2B5EF4-FFF2-40B4-BE49-F238E27FC236}">
                <a16:creationId xmlns:a16="http://schemas.microsoft.com/office/drawing/2014/main" id="{D661872C-ADBB-424B-8313-94D488FBFCB6}"/>
              </a:ext>
            </a:extLst>
          </p:cNvPr>
          <p:cNvGrpSpPr/>
          <p:nvPr/>
        </p:nvGrpSpPr>
        <p:grpSpPr>
          <a:xfrm>
            <a:off x="5071196" y="1639564"/>
            <a:ext cx="4199197" cy="3716543"/>
            <a:chOff x="5668503" y="1705931"/>
            <a:chExt cx="4199197" cy="3716543"/>
          </a:xfrm>
        </p:grpSpPr>
        <p:sp>
          <p:nvSpPr>
            <p:cNvPr id="40" name="TextBox 39">
              <a:extLst>
                <a:ext uri="{FF2B5EF4-FFF2-40B4-BE49-F238E27FC236}">
                  <a16:creationId xmlns:a16="http://schemas.microsoft.com/office/drawing/2014/main" id="{664DDAFD-2B80-4A1C-B5FD-1C161231CD7B}"/>
                </a:ext>
              </a:extLst>
            </p:cNvPr>
            <p:cNvSpPr txBox="1"/>
            <p:nvPr/>
          </p:nvSpPr>
          <p:spPr>
            <a:xfrm>
              <a:off x="5892306" y="2402926"/>
              <a:ext cx="3048000" cy="246221"/>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countries</a:t>
              </a:r>
              <a:r>
                <a:rPr lang="en-US" kern="1200" baseline="30000" dirty="0">
                  <a:ea typeface="+mn-ea"/>
                  <a:cs typeface="+mn-cs"/>
                </a:rPr>
                <a:t>1</a:t>
              </a:r>
            </a:p>
          </p:txBody>
        </p:sp>
        <p:sp>
          <p:nvSpPr>
            <p:cNvPr id="41" name="TextBox 40">
              <a:extLst>
                <a:ext uri="{FF2B5EF4-FFF2-40B4-BE49-F238E27FC236}">
                  <a16:creationId xmlns:a16="http://schemas.microsoft.com/office/drawing/2014/main" id="{E81E7BD3-5691-4C4E-8CCA-11FF1D9558AB}"/>
                </a:ext>
              </a:extLst>
            </p:cNvPr>
            <p:cNvSpPr txBox="1"/>
            <p:nvPr/>
          </p:nvSpPr>
          <p:spPr>
            <a:xfrm>
              <a:off x="5892306" y="1705931"/>
              <a:ext cx="3048000" cy="738664"/>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4800" b="1" kern="1200" dirty="0">
                  <a:ea typeface="+mn-ea"/>
                  <a:cs typeface="+mn-cs"/>
                </a:rPr>
                <a:t>21+</a:t>
              </a:r>
            </a:p>
          </p:txBody>
        </p:sp>
        <p:grpSp>
          <p:nvGrpSpPr>
            <p:cNvPr id="14" name="Group 13">
              <a:extLst>
                <a:ext uri="{FF2B5EF4-FFF2-40B4-BE49-F238E27FC236}">
                  <a16:creationId xmlns:a16="http://schemas.microsoft.com/office/drawing/2014/main" id="{11D8B536-F805-49F8-9289-AA802A034A3C}"/>
                </a:ext>
              </a:extLst>
            </p:cNvPr>
            <p:cNvGrpSpPr/>
            <p:nvPr/>
          </p:nvGrpSpPr>
          <p:grpSpPr>
            <a:xfrm>
              <a:off x="5878216" y="2751514"/>
              <a:ext cx="2494591" cy="1038065"/>
              <a:chOff x="6570792" y="3770789"/>
              <a:chExt cx="3048000" cy="1364897"/>
            </a:xfrm>
          </p:grpSpPr>
          <p:sp>
            <p:nvSpPr>
              <p:cNvPr id="42" name="TextBox 41">
                <a:extLst>
                  <a:ext uri="{FF2B5EF4-FFF2-40B4-BE49-F238E27FC236}">
                    <a16:creationId xmlns:a16="http://schemas.microsoft.com/office/drawing/2014/main" id="{62E98DED-CF31-4743-88F3-57A570A04CDB}"/>
                  </a:ext>
                </a:extLst>
              </p:cNvPr>
              <p:cNvSpPr txBox="1"/>
              <p:nvPr/>
            </p:nvSpPr>
            <p:spPr>
              <a:xfrm>
                <a:off x="6594640" y="4643243"/>
                <a:ext cx="2864171" cy="49244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participants turned trainers</a:t>
                </a:r>
              </a:p>
            </p:txBody>
          </p:sp>
          <p:sp>
            <p:nvSpPr>
              <p:cNvPr id="43" name="TextBox 42">
                <a:extLst>
                  <a:ext uri="{FF2B5EF4-FFF2-40B4-BE49-F238E27FC236}">
                    <a16:creationId xmlns:a16="http://schemas.microsoft.com/office/drawing/2014/main" id="{D4E5FD3E-A14E-40B4-9631-4F95D8AF6B5A}"/>
                  </a:ext>
                </a:extLst>
              </p:cNvPr>
              <p:cNvSpPr txBox="1"/>
              <p:nvPr/>
            </p:nvSpPr>
            <p:spPr>
              <a:xfrm>
                <a:off x="6570792" y="3770789"/>
                <a:ext cx="3048000" cy="971230"/>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4800" b="1" kern="1200" dirty="0">
                    <a:ea typeface="+mn-ea"/>
                    <a:cs typeface="+mn-cs"/>
                  </a:rPr>
                  <a:t>~50</a:t>
                </a:r>
              </a:p>
            </p:txBody>
          </p:sp>
        </p:grpSp>
        <p:grpSp>
          <p:nvGrpSpPr>
            <p:cNvPr id="98" name="Group 97">
              <a:extLst>
                <a:ext uri="{FF2B5EF4-FFF2-40B4-BE49-F238E27FC236}">
                  <a16:creationId xmlns:a16="http://schemas.microsoft.com/office/drawing/2014/main" id="{0AD1FD02-7EEA-43AE-977A-5F60CD67D1D5}"/>
                </a:ext>
              </a:extLst>
            </p:cNvPr>
            <p:cNvGrpSpPr/>
            <p:nvPr/>
          </p:nvGrpSpPr>
          <p:grpSpPr>
            <a:xfrm>
              <a:off x="5924561" y="3992814"/>
              <a:ext cx="3048000" cy="890116"/>
              <a:chOff x="6570792" y="3770789"/>
              <a:chExt cx="3048000" cy="1206077"/>
            </a:xfrm>
          </p:grpSpPr>
          <p:sp>
            <p:nvSpPr>
              <p:cNvPr id="106" name="TextBox 105">
                <a:extLst>
                  <a:ext uri="{FF2B5EF4-FFF2-40B4-BE49-F238E27FC236}">
                    <a16:creationId xmlns:a16="http://schemas.microsoft.com/office/drawing/2014/main" id="{45EB020D-A868-4C79-ABB1-9B8FF4564C7A}"/>
                  </a:ext>
                </a:extLst>
              </p:cNvPr>
              <p:cNvSpPr txBox="1"/>
              <p:nvPr/>
            </p:nvSpPr>
            <p:spPr>
              <a:xfrm>
                <a:off x="6594641" y="4643245"/>
                <a:ext cx="1860200" cy="33362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of air traffic covered</a:t>
                </a:r>
                <a:r>
                  <a:rPr lang="en-US" kern="1200" baseline="30000" dirty="0">
                    <a:ea typeface="+mn-ea"/>
                    <a:cs typeface="+mn-cs"/>
                  </a:rPr>
                  <a:t>2</a:t>
                </a:r>
                <a:r>
                  <a:rPr lang="en-US" kern="1200" dirty="0">
                    <a:ea typeface="+mn-ea"/>
                    <a:cs typeface="+mn-cs"/>
                  </a:rPr>
                  <a:t> </a:t>
                </a:r>
              </a:p>
            </p:txBody>
          </p:sp>
          <p:sp>
            <p:nvSpPr>
              <p:cNvPr id="110" name="TextBox 109">
                <a:extLst>
                  <a:ext uri="{FF2B5EF4-FFF2-40B4-BE49-F238E27FC236}">
                    <a16:creationId xmlns:a16="http://schemas.microsoft.com/office/drawing/2014/main" id="{2AEF172C-CFCE-4E30-96F5-8518B794D0D8}"/>
                  </a:ext>
                </a:extLst>
              </p:cNvPr>
              <p:cNvSpPr txBox="1"/>
              <p:nvPr/>
            </p:nvSpPr>
            <p:spPr>
              <a:xfrm>
                <a:off x="6570792" y="3770789"/>
                <a:ext cx="3048000" cy="1000865"/>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4800" b="1" kern="1200" dirty="0">
                    <a:ea typeface="+mn-ea"/>
                    <a:cs typeface="+mn-cs"/>
                  </a:rPr>
                  <a:t>40%+</a:t>
                </a:r>
              </a:p>
            </p:txBody>
          </p:sp>
        </p:grpSp>
        <p:pic>
          <p:nvPicPr>
            <p:cNvPr id="99" name="Picture 21" descr="Image result for kenya airways logo">
              <a:extLst>
                <a:ext uri="{FF2B5EF4-FFF2-40B4-BE49-F238E27FC236}">
                  <a16:creationId xmlns:a16="http://schemas.microsoft.com/office/drawing/2014/main" id="{FCB79BCE-979C-4697-B79D-2F23DE9648E4}"/>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668503" y="4946459"/>
              <a:ext cx="1266482" cy="241898"/>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9" descr="Image result for ethiopian airlines logo">
              <a:extLst>
                <a:ext uri="{FF2B5EF4-FFF2-40B4-BE49-F238E27FC236}">
                  <a16:creationId xmlns:a16="http://schemas.microsoft.com/office/drawing/2014/main" id="{416BC2C2-4467-45F2-BB4D-0C9300049FF8}"/>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6360070" y="5103832"/>
              <a:ext cx="924227" cy="318642"/>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37" descr="Image result for south africa airways logo">
              <a:extLst>
                <a:ext uri="{FF2B5EF4-FFF2-40B4-BE49-F238E27FC236}">
                  <a16:creationId xmlns:a16="http://schemas.microsoft.com/office/drawing/2014/main" id="{7AE1F659-8051-4C27-B5BD-22204C274308}"/>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7373188" y="5026478"/>
              <a:ext cx="855852" cy="32522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FECF26FF-F117-4CD1-9E2C-A9F22AD8FF85}"/>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020819" y="4777616"/>
              <a:ext cx="598127" cy="485537"/>
            </a:xfrm>
            <a:prstGeom prst="rect">
              <a:avLst/>
            </a:prstGeom>
          </p:spPr>
        </p:pic>
        <p:pic>
          <p:nvPicPr>
            <p:cNvPr id="103" name="Picture 30" descr="Image result for burkina airways">
              <a:extLst>
                <a:ext uri="{FF2B5EF4-FFF2-40B4-BE49-F238E27FC236}">
                  <a16:creationId xmlns:a16="http://schemas.microsoft.com/office/drawing/2014/main" id="{A6463289-63FC-4CE5-B86F-0C09D015D351}"/>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8086225" y="4150516"/>
              <a:ext cx="669308" cy="42112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a:extLst>
                <a:ext uri="{FF2B5EF4-FFF2-40B4-BE49-F238E27FC236}">
                  <a16:creationId xmlns:a16="http://schemas.microsoft.com/office/drawing/2014/main" id="{4581F860-43DC-401E-8BD7-06BFD5FDE6A3}"/>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662313" y="4776266"/>
              <a:ext cx="813439" cy="179178"/>
            </a:xfrm>
            <a:prstGeom prst="rect">
              <a:avLst/>
            </a:prstGeom>
          </p:spPr>
        </p:pic>
        <p:pic>
          <p:nvPicPr>
            <p:cNvPr id="105" name="Picture 104">
              <a:extLst>
                <a:ext uri="{FF2B5EF4-FFF2-40B4-BE49-F238E27FC236}">
                  <a16:creationId xmlns:a16="http://schemas.microsoft.com/office/drawing/2014/main" id="{A44F77DF-6043-4BFD-B5B6-7602E264E7B8}"/>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777532" y="5136855"/>
              <a:ext cx="1090168" cy="265986"/>
            </a:xfrm>
            <a:prstGeom prst="rect">
              <a:avLst/>
            </a:prstGeom>
          </p:spPr>
        </p:pic>
      </p:grpSp>
      <p:sp>
        <p:nvSpPr>
          <p:cNvPr id="111" name="4. Footnote">
            <a:extLst>
              <a:ext uri="{FF2B5EF4-FFF2-40B4-BE49-F238E27FC236}">
                <a16:creationId xmlns:a16="http://schemas.microsoft.com/office/drawing/2014/main" id="{F9FC2BA0-BA3E-41AA-B7C5-89289B85F629}"/>
              </a:ext>
            </a:extLst>
          </p:cNvPr>
          <p:cNvSpPr txBox="1">
            <a:spLocks noChangeArrowheads="1"/>
          </p:cNvSpPr>
          <p:nvPr/>
        </p:nvSpPr>
        <p:spPr bwMode="auto">
          <a:xfrm>
            <a:off x="1415845" y="6382663"/>
            <a:ext cx="1054289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200" kern="1200" dirty="0">
                <a:solidFill>
                  <a:srgbClr val="000000"/>
                </a:solidFill>
                <a:latin typeface="Arial"/>
                <a:ea typeface="+mn-ea"/>
                <a:cs typeface="+mn-cs"/>
              </a:rPr>
              <a:t>1	 Goal is to have all countries on the continent trained by the end of April</a:t>
            </a:r>
          </a:p>
          <a:p>
            <a:pPr fontAlgn="base">
              <a:spcBef>
                <a:spcPct val="0"/>
              </a:spcBef>
              <a:spcAft>
                <a:spcPct val="0"/>
              </a:spcAft>
              <a:buClrTx/>
              <a:buFontTx/>
              <a:buNone/>
              <a:defRPr/>
            </a:pPr>
            <a:r>
              <a:rPr lang="en-US" sz="1200" kern="1200" dirty="0">
                <a:solidFill>
                  <a:srgbClr val="000000"/>
                </a:solidFill>
                <a:latin typeface="Arial"/>
                <a:ea typeface="+mn-ea"/>
                <a:cs typeface="+mn-cs"/>
              </a:rPr>
              <a:t>2 Training for Ethiopian Airlines still awaiting clearance from Ethiopian Airport Authority</a:t>
            </a:r>
          </a:p>
        </p:txBody>
      </p:sp>
      <p:pic>
        <p:nvPicPr>
          <p:cNvPr id="108" name="Picture 107">
            <a:extLst>
              <a:ext uri="{FF2B5EF4-FFF2-40B4-BE49-F238E27FC236}">
                <a16:creationId xmlns:a16="http://schemas.microsoft.com/office/drawing/2014/main" id="{42B0DB4C-4056-4259-B1FF-28AACB137BD6}"/>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705284" y="4211630"/>
            <a:ext cx="3484593" cy="1152456"/>
          </a:xfrm>
          <a:prstGeom prst="rect">
            <a:avLst/>
          </a:prstGeom>
        </p:spPr>
      </p:pic>
      <p:sp>
        <p:nvSpPr>
          <p:cNvPr id="175" name="Rectangle 2">
            <a:extLst>
              <a:ext uri="{FF2B5EF4-FFF2-40B4-BE49-F238E27FC236}">
                <a16:creationId xmlns:a16="http://schemas.microsoft.com/office/drawing/2014/main" id="{AA2AD3E4-A03B-4889-8AED-F7C80D7893BF}"/>
              </a:ext>
            </a:extLst>
          </p:cNvPr>
          <p:cNvSpPr txBox="1"/>
          <p:nvPr>
            <p:custDataLst>
              <p:tags r:id="rId4"/>
            </p:custDataLst>
          </p:nvPr>
        </p:nvSpPr>
        <p:spPr>
          <a:xfrm>
            <a:off x="1" y="5405428"/>
            <a:ext cx="4726855" cy="808570"/>
          </a:xfrm>
          <a:prstGeom prst="round1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9525">
            <a:noFill/>
            <a:miter lim="800000"/>
            <a:headEnd/>
            <a:tailEnd/>
          </a:ln>
          <a:effectLst/>
        </p:spPr>
        <p:txBody>
          <a:bodyPr wrap="square" anchor="ctr">
            <a:noAutofit/>
          </a:bodyPr>
          <a:lstStyle>
            <a:defPPr>
              <a:defRPr lang="en-US"/>
            </a:defPPr>
            <a:lvl1pPr marL="45720">
              <a:buClr>
                <a:schemeClr val="bg1"/>
              </a:buClr>
              <a:defRPr sz="1400" b="1">
                <a:solidFill>
                  <a:schemeClr val="bg1"/>
                </a:solidFill>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03D24"/>
              </a:buClr>
            </a:pPr>
            <a:endParaRPr lang="en-US" sz="1400" kern="1200" dirty="0">
              <a:ea typeface="+mn-ea"/>
              <a:cs typeface="+mn-cs"/>
            </a:endParaRPr>
          </a:p>
        </p:txBody>
      </p:sp>
      <p:sp>
        <p:nvSpPr>
          <p:cNvPr id="5" name="TextBox 4">
            <a:extLst>
              <a:ext uri="{FF2B5EF4-FFF2-40B4-BE49-F238E27FC236}">
                <a16:creationId xmlns:a16="http://schemas.microsoft.com/office/drawing/2014/main" id="{E7320B16-897F-4884-B828-D06AC825800C}"/>
              </a:ext>
            </a:extLst>
          </p:cNvPr>
          <p:cNvSpPr txBox="1"/>
          <p:nvPr/>
        </p:nvSpPr>
        <p:spPr>
          <a:xfrm>
            <a:off x="177974" y="5603636"/>
            <a:ext cx="822354" cy="37695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solidFill>
                  <a:srgbClr val="DED1B8"/>
                </a:solidFill>
                <a:ea typeface="+mn-ea"/>
                <a:cs typeface="+mn-cs"/>
              </a:rPr>
              <a:t>Airport authorities</a:t>
            </a:r>
          </a:p>
        </p:txBody>
      </p:sp>
      <p:sp>
        <p:nvSpPr>
          <p:cNvPr id="109" name="TextBox 108">
            <a:extLst>
              <a:ext uri="{FF2B5EF4-FFF2-40B4-BE49-F238E27FC236}">
                <a16:creationId xmlns:a16="http://schemas.microsoft.com/office/drawing/2014/main" id="{802E7902-5F9C-4C62-805B-96056E278C92}"/>
              </a:ext>
            </a:extLst>
          </p:cNvPr>
          <p:cNvSpPr txBox="1"/>
          <p:nvPr/>
        </p:nvSpPr>
        <p:spPr>
          <a:xfrm>
            <a:off x="1328447" y="5697875"/>
            <a:ext cx="822354" cy="188479"/>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solidFill>
                  <a:srgbClr val="DED1B8"/>
                </a:solidFill>
                <a:ea typeface="+mn-ea"/>
                <a:cs typeface="+mn-cs"/>
              </a:rPr>
              <a:t>Airlines</a:t>
            </a:r>
          </a:p>
        </p:txBody>
      </p:sp>
      <p:sp>
        <p:nvSpPr>
          <p:cNvPr id="113" name="TextBox 112">
            <a:extLst>
              <a:ext uri="{FF2B5EF4-FFF2-40B4-BE49-F238E27FC236}">
                <a16:creationId xmlns:a16="http://schemas.microsoft.com/office/drawing/2014/main" id="{1E142783-8501-457D-B3AC-ED49813BF51C}"/>
              </a:ext>
            </a:extLst>
          </p:cNvPr>
          <p:cNvSpPr txBox="1"/>
          <p:nvPr/>
        </p:nvSpPr>
        <p:spPr>
          <a:xfrm>
            <a:off x="2478921" y="5697875"/>
            <a:ext cx="822354" cy="188479"/>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solidFill>
                  <a:srgbClr val="DED1B8"/>
                </a:solidFill>
                <a:ea typeface="+mn-ea"/>
                <a:cs typeface="+mn-cs"/>
              </a:rPr>
              <a:t>Port health</a:t>
            </a:r>
          </a:p>
        </p:txBody>
      </p:sp>
      <p:sp>
        <p:nvSpPr>
          <p:cNvPr id="171" name="TextBox 170">
            <a:extLst>
              <a:ext uri="{FF2B5EF4-FFF2-40B4-BE49-F238E27FC236}">
                <a16:creationId xmlns:a16="http://schemas.microsoft.com/office/drawing/2014/main" id="{ECDE8E45-32EC-4EAC-9EC5-BDC8F0885B51}"/>
              </a:ext>
            </a:extLst>
          </p:cNvPr>
          <p:cNvSpPr txBox="1"/>
          <p:nvPr/>
        </p:nvSpPr>
        <p:spPr>
          <a:xfrm>
            <a:off x="3629393" y="5509397"/>
            <a:ext cx="950235" cy="565436"/>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200" b="1" kern="1200" dirty="0">
                <a:solidFill>
                  <a:srgbClr val="DED1B8"/>
                </a:solidFill>
                <a:ea typeface="+mn-ea"/>
                <a:cs typeface="+mn-cs"/>
              </a:rPr>
              <a:t>National surveillance units</a:t>
            </a:r>
          </a:p>
        </p:txBody>
      </p:sp>
      <p:sp>
        <p:nvSpPr>
          <p:cNvPr id="7" name="TrackerNum 9">
            <a:extLst>
              <a:ext uri="{FF2B5EF4-FFF2-40B4-BE49-F238E27FC236}">
                <a16:creationId xmlns:a16="http://schemas.microsoft.com/office/drawing/2014/main" id="{E913BBD8-3E8D-4398-873D-4A889098EA80}"/>
              </a:ext>
            </a:extLst>
          </p:cNvPr>
          <p:cNvSpPr/>
          <p:nvPr>
            <p:custDataLst>
              <p:tags r:id="rId5"/>
            </p:custDataLst>
          </p:nvPr>
        </p:nvSpPr>
        <p:spPr>
          <a:xfrm>
            <a:off x="1056939" y="5669925"/>
            <a:ext cx="244378" cy="244378"/>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buClrTx/>
              <a:buFontTx/>
              <a:buNone/>
            </a:pPr>
            <a:r>
              <a:rPr lang="en-US" sz="1800" b="1" kern="1200" dirty="0">
                <a:solidFill>
                  <a:srgbClr val="303D24"/>
                </a:solidFill>
              </a:rPr>
              <a:t>+</a:t>
            </a:r>
          </a:p>
        </p:txBody>
      </p:sp>
      <p:sp>
        <p:nvSpPr>
          <p:cNvPr id="172" name="TrackerNum 9">
            <a:extLst>
              <a:ext uri="{FF2B5EF4-FFF2-40B4-BE49-F238E27FC236}">
                <a16:creationId xmlns:a16="http://schemas.microsoft.com/office/drawing/2014/main" id="{EF0A1401-9E64-4315-B251-0DB5610F3F61}"/>
              </a:ext>
            </a:extLst>
          </p:cNvPr>
          <p:cNvSpPr/>
          <p:nvPr>
            <p:custDataLst>
              <p:tags r:id="rId6"/>
            </p:custDataLst>
          </p:nvPr>
        </p:nvSpPr>
        <p:spPr>
          <a:xfrm>
            <a:off x="2124346" y="5669925"/>
            <a:ext cx="244378" cy="244378"/>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buClrTx/>
              <a:buFontTx/>
              <a:buNone/>
            </a:pPr>
            <a:r>
              <a:rPr lang="en-US" sz="1800" b="1" kern="1200" dirty="0">
                <a:solidFill>
                  <a:srgbClr val="303D24"/>
                </a:solidFill>
              </a:rPr>
              <a:t>+</a:t>
            </a:r>
          </a:p>
        </p:txBody>
      </p:sp>
      <p:sp>
        <p:nvSpPr>
          <p:cNvPr id="173" name="TrackerNum 9">
            <a:extLst>
              <a:ext uri="{FF2B5EF4-FFF2-40B4-BE49-F238E27FC236}">
                <a16:creationId xmlns:a16="http://schemas.microsoft.com/office/drawing/2014/main" id="{88F0E904-1DF8-41FC-9C3E-D464A419F2A6}"/>
              </a:ext>
            </a:extLst>
          </p:cNvPr>
          <p:cNvSpPr/>
          <p:nvPr>
            <p:custDataLst>
              <p:tags r:id="rId7"/>
            </p:custDataLst>
          </p:nvPr>
        </p:nvSpPr>
        <p:spPr>
          <a:xfrm>
            <a:off x="3343144" y="5669925"/>
            <a:ext cx="244378" cy="244378"/>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buClrTx/>
              <a:buFontTx/>
              <a:buNone/>
            </a:pPr>
            <a:r>
              <a:rPr lang="en-US" sz="1800" b="1" kern="1200" dirty="0">
                <a:solidFill>
                  <a:srgbClr val="303D24"/>
                </a:solidFill>
              </a:rPr>
              <a:t>+</a:t>
            </a:r>
          </a:p>
        </p:txBody>
      </p:sp>
      <p:grpSp>
        <p:nvGrpSpPr>
          <p:cNvPr id="15" name="Group 14">
            <a:extLst>
              <a:ext uri="{FF2B5EF4-FFF2-40B4-BE49-F238E27FC236}">
                <a16:creationId xmlns:a16="http://schemas.microsoft.com/office/drawing/2014/main" id="{A5C4075F-14A5-4E19-9C71-8C195B9E055B}"/>
              </a:ext>
            </a:extLst>
          </p:cNvPr>
          <p:cNvGrpSpPr/>
          <p:nvPr/>
        </p:nvGrpSpPr>
        <p:grpSpPr>
          <a:xfrm>
            <a:off x="5138978" y="5421391"/>
            <a:ext cx="6975045" cy="774839"/>
            <a:chOff x="5138978" y="5369773"/>
            <a:chExt cx="6975045" cy="774839"/>
          </a:xfrm>
        </p:grpSpPr>
        <p:sp>
          <p:nvSpPr>
            <p:cNvPr id="176" name="Rectangle 2">
              <a:extLst>
                <a:ext uri="{FF2B5EF4-FFF2-40B4-BE49-F238E27FC236}">
                  <a16:creationId xmlns:a16="http://schemas.microsoft.com/office/drawing/2014/main" id="{C56F8AD8-455A-4496-B906-07AE90156D92}"/>
                </a:ext>
              </a:extLst>
            </p:cNvPr>
            <p:cNvSpPr txBox="1"/>
            <p:nvPr>
              <p:custDataLst>
                <p:tags r:id="rId8"/>
              </p:custDataLst>
            </p:nvPr>
          </p:nvSpPr>
          <p:spPr>
            <a:xfrm flipH="1">
              <a:off x="5138978" y="5369773"/>
              <a:ext cx="6975045" cy="774839"/>
            </a:xfrm>
            <a:prstGeom prst="round1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9525">
              <a:noFill/>
              <a:miter lim="800000"/>
              <a:headEnd/>
              <a:tailEnd/>
            </a:ln>
            <a:effectLst/>
          </p:spPr>
          <p:txBody>
            <a:bodyPr wrap="square" anchor="ctr">
              <a:noAutofit/>
            </a:bodyPr>
            <a:lstStyle>
              <a:defPPr>
                <a:defRPr lang="en-US"/>
              </a:defPPr>
              <a:lvl1pPr marL="45720">
                <a:buClr>
                  <a:schemeClr val="bg1"/>
                </a:buClr>
                <a:defRPr sz="1400" b="1">
                  <a:solidFill>
                    <a:schemeClr val="bg1"/>
                  </a:solidFill>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fontAlgn="base">
                <a:spcBef>
                  <a:spcPct val="0"/>
                </a:spcBef>
                <a:spcAft>
                  <a:spcPct val="0"/>
                </a:spcAft>
                <a:buClr>
                  <a:srgbClr val="303D24"/>
                </a:buClr>
                <a:buFont typeface="Arial" charset="0"/>
                <a:buNone/>
              </a:pPr>
              <a:endParaRPr lang="en-US" kern="1200" dirty="0">
                <a:ea typeface="+mn-ea"/>
                <a:cs typeface="+mn-cs"/>
              </a:endParaRPr>
            </a:p>
          </p:txBody>
        </p:sp>
        <p:sp>
          <p:nvSpPr>
            <p:cNvPr id="177" name="TextBox 176">
              <a:extLst>
                <a:ext uri="{FF2B5EF4-FFF2-40B4-BE49-F238E27FC236}">
                  <a16:creationId xmlns:a16="http://schemas.microsoft.com/office/drawing/2014/main" id="{3FC37A6A-6F47-4ADD-92F5-DDA6CADA536A}"/>
                </a:ext>
              </a:extLst>
            </p:cNvPr>
            <p:cNvSpPr txBox="1">
              <a:spLocks/>
            </p:cNvSpPr>
            <p:nvPr/>
          </p:nvSpPr>
          <p:spPr>
            <a:xfrm>
              <a:off x="7344164" y="5542444"/>
              <a:ext cx="2255124" cy="430887"/>
            </a:xfrm>
            <a:prstGeom prst="rect">
              <a:avLst/>
            </a:prstGeom>
          </p:spPr>
          <p:txBody>
            <a:bodyPr vert="horz" wrap="square" lIns="0" tIns="0" rIns="0" bIns="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FFFF"/>
                </a:buClr>
                <a:buFontTx/>
                <a:buNone/>
              </a:pPr>
              <a:r>
                <a:rPr lang="en-US" sz="1200" kern="1200" dirty="0">
                  <a:solidFill>
                    <a:srgbClr val="FFFFFF"/>
                  </a:solidFill>
                  <a:ea typeface="+mn-ea"/>
                  <a:cs typeface="+mn-cs"/>
                </a:rPr>
                <a:t>Daily epidemiological analysis and risk assessments</a:t>
              </a:r>
            </a:p>
          </p:txBody>
        </p:sp>
        <p:sp>
          <p:nvSpPr>
            <p:cNvPr id="178" name="TextBox 177">
              <a:extLst>
                <a:ext uri="{FF2B5EF4-FFF2-40B4-BE49-F238E27FC236}">
                  <a16:creationId xmlns:a16="http://schemas.microsoft.com/office/drawing/2014/main" id="{41F45235-F851-4B3C-A279-F619796B7645}"/>
                </a:ext>
              </a:extLst>
            </p:cNvPr>
            <p:cNvSpPr txBox="1">
              <a:spLocks/>
            </p:cNvSpPr>
            <p:nvPr/>
          </p:nvSpPr>
          <p:spPr>
            <a:xfrm>
              <a:off x="9786262" y="5527038"/>
              <a:ext cx="2067139" cy="430887"/>
            </a:xfrm>
            <a:prstGeom prst="rect">
              <a:avLst/>
            </a:prstGeom>
          </p:spPr>
          <p:txBody>
            <a:bodyPr vert="horz" wrap="square" lIns="0" tIns="0" rIns="0" bIns="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FFFF"/>
                </a:buClr>
                <a:buFontTx/>
                <a:buNone/>
              </a:pPr>
              <a:r>
                <a:rPr lang="en-US" sz="1200" kern="1200" dirty="0">
                  <a:solidFill>
                    <a:srgbClr val="FFFFFF"/>
                  </a:solidFill>
                  <a:ea typeface="+mn-ea"/>
                  <a:cs typeface="+mn-cs"/>
                </a:rPr>
                <a:t>Weekly surveillance technical working group meetings</a:t>
              </a:r>
            </a:p>
          </p:txBody>
        </p:sp>
        <p:sp>
          <p:nvSpPr>
            <p:cNvPr id="179" name="TextBox 178">
              <a:extLst>
                <a:ext uri="{FF2B5EF4-FFF2-40B4-BE49-F238E27FC236}">
                  <a16:creationId xmlns:a16="http://schemas.microsoft.com/office/drawing/2014/main" id="{71013021-67F0-4D4C-9046-2BA1256044FA}"/>
                </a:ext>
              </a:extLst>
            </p:cNvPr>
            <p:cNvSpPr txBox="1">
              <a:spLocks/>
            </p:cNvSpPr>
            <p:nvPr/>
          </p:nvSpPr>
          <p:spPr>
            <a:xfrm>
              <a:off x="5287297" y="5527038"/>
              <a:ext cx="1792039" cy="430887"/>
            </a:xfrm>
            <a:prstGeom prst="rect">
              <a:avLst/>
            </a:prstGeom>
          </p:spPr>
          <p:txBody>
            <a:bodyPr vert="horz" wrap="square" lIns="0" tIns="0" rIns="0" bIns="0" rtlCol="0" anchor="ctr">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FFFFFF"/>
                </a:buClr>
                <a:buFontTx/>
                <a:buNone/>
              </a:pPr>
              <a:r>
                <a:rPr lang="en-US" b="1" kern="1200" dirty="0">
                  <a:solidFill>
                    <a:srgbClr val="FFFFFF"/>
                  </a:solidFill>
                  <a:ea typeface="+mn-ea"/>
                  <a:cs typeface="+mn-cs"/>
                </a:rPr>
                <a:t>+ Continued coordination via</a:t>
              </a:r>
            </a:p>
          </p:txBody>
        </p:sp>
        <p:sp>
          <p:nvSpPr>
            <p:cNvPr id="180" name="Chevron2">
              <a:extLst>
                <a:ext uri="{FF2B5EF4-FFF2-40B4-BE49-F238E27FC236}">
                  <a16:creationId xmlns:a16="http://schemas.microsoft.com/office/drawing/2014/main" id="{813A13C4-9D8F-4F13-84E8-462E18811C05}"/>
                </a:ext>
              </a:extLst>
            </p:cNvPr>
            <p:cNvSpPr>
              <a:spLocks noChangeAspect="1"/>
            </p:cNvSpPr>
            <p:nvPr/>
          </p:nvSpPr>
          <p:spPr>
            <a:xfrm>
              <a:off x="6996157" y="5517475"/>
              <a:ext cx="303458" cy="487843"/>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bg1"/>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sp>
          <p:nvSpPr>
            <p:cNvPr id="181" name="TrackerNum 9">
              <a:extLst>
                <a:ext uri="{FF2B5EF4-FFF2-40B4-BE49-F238E27FC236}">
                  <a16:creationId xmlns:a16="http://schemas.microsoft.com/office/drawing/2014/main" id="{6B580E2C-C21E-4362-898A-05DF9305A60E}"/>
                </a:ext>
              </a:extLst>
            </p:cNvPr>
            <p:cNvSpPr/>
            <p:nvPr>
              <p:custDataLst>
                <p:tags r:id="rId9"/>
              </p:custDataLst>
            </p:nvPr>
          </p:nvSpPr>
          <p:spPr>
            <a:xfrm>
              <a:off x="9543534" y="5643802"/>
              <a:ext cx="244378" cy="244378"/>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fontAlgn="base">
                <a:spcBef>
                  <a:spcPct val="0"/>
                </a:spcBef>
                <a:spcAft>
                  <a:spcPct val="0"/>
                </a:spcAft>
                <a:buClr>
                  <a:srgbClr val="FFFFFF"/>
                </a:buClr>
                <a:buFontTx/>
                <a:buNone/>
              </a:pPr>
              <a:r>
                <a:rPr lang="en-US" sz="1800" b="1" kern="1200" dirty="0">
                  <a:solidFill>
                    <a:srgbClr val="FFFFFF"/>
                  </a:solidFill>
                </a:rPr>
                <a:t>+</a:t>
              </a:r>
            </a:p>
          </p:txBody>
        </p:sp>
      </p:grpSp>
      <p:grpSp>
        <p:nvGrpSpPr>
          <p:cNvPr id="6" name="Group 5">
            <a:extLst>
              <a:ext uri="{FF2B5EF4-FFF2-40B4-BE49-F238E27FC236}">
                <a16:creationId xmlns:a16="http://schemas.microsoft.com/office/drawing/2014/main" id="{5570405E-0C41-471D-A802-3EFDA1DDE1A9}"/>
              </a:ext>
            </a:extLst>
          </p:cNvPr>
          <p:cNvGrpSpPr/>
          <p:nvPr/>
        </p:nvGrpSpPr>
        <p:grpSpPr>
          <a:xfrm>
            <a:off x="7271923" y="1408276"/>
            <a:ext cx="4603089" cy="3778053"/>
            <a:chOff x="7271923" y="1408276"/>
            <a:chExt cx="4603089" cy="3778053"/>
          </a:xfrm>
        </p:grpSpPr>
        <p:grpSp>
          <p:nvGrpSpPr>
            <p:cNvPr id="184" name="Group 183">
              <a:extLst>
                <a:ext uri="{FF2B5EF4-FFF2-40B4-BE49-F238E27FC236}">
                  <a16:creationId xmlns:a16="http://schemas.microsoft.com/office/drawing/2014/main" id="{CF43A5CF-0365-448B-9DCF-8E367FB2125C}"/>
                </a:ext>
              </a:extLst>
            </p:cNvPr>
            <p:cNvGrpSpPr/>
            <p:nvPr/>
          </p:nvGrpSpPr>
          <p:grpSpPr>
            <a:xfrm>
              <a:off x="7271923" y="1408276"/>
              <a:ext cx="4537658" cy="3552949"/>
              <a:chOff x="7373297" y="1627324"/>
              <a:chExt cx="4537658" cy="3552949"/>
            </a:xfrm>
          </p:grpSpPr>
          <p:sp>
            <p:nvSpPr>
              <p:cNvPr id="185" name="Freeform 9">
                <a:extLst>
                  <a:ext uri="{FF2B5EF4-FFF2-40B4-BE49-F238E27FC236}">
                    <a16:creationId xmlns:a16="http://schemas.microsoft.com/office/drawing/2014/main" id="{3FBDF9E8-3C7D-4281-BF80-998FB83517B1}"/>
                  </a:ext>
                </a:extLst>
              </p:cNvPr>
              <p:cNvSpPr>
                <a:spLocks/>
              </p:cNvSpPr>
              <p:nvPr/>
            </p:nvSpPr>
            <p:spPr bwMode="gray">
              <a:xfrm>
                <a:off x="8235787" y="1675191"/>
                <a:ext cx="1068672" cy="938023"/>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86" name="Freeform 59">
                <a:extLst>
                  <a:ext uri="{FF2B5EF4-FFF2-40B4-BE49-F238E27FC236}">
                    <a16:creationId xmlns:a16="http://schemas.microsoft.com/office/drawing/2014/main" id="{EC956E72-4C7E-4275-92B7-59303CC26BD3}"/>
                  </a:ext>
                </a:extLst>
              </p:cNvPr>
              <p:cNvSpPr>
                <a:spLocks noEditPoints="1"/>
              </p:cNvSpPr>
              <p:nvPr/>
            </p:nvSpPr>
            <p:spPr bwMode="gray">
              <a:xfrm>
                <a:off x="9073782" y="1652736"/>
                <a:ext cx="209243" cy="376638"/>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87" name="Freeform 10">
                <a:extLst>
                  <a:ext uri="{FF2B5EF4-FFF2-40B4-BE49-F238E27FC236}">
                    <a16:creationId xmlns:a16="http://schemas.microsoft.com/office/drawing/2014/main" id="{6AB24E8B-C335-447D-8D26-2575088778B7}"/>
                  </a:ext>
                </a:extLst>
              </p:cNvPr>
              <p:cNvSpPr>
                <a:spLocks noEditPoints="1"/>
              </p:cNvSpPr>
              <p:nvPr/>
            </p:nvSpPr>
            <p:spPr bwMode="gray">
              <a:xfrm>
                <a:off x="9287109" y="3819681"/>
                <a:ext cx="642020" cy="706324"/>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88" name="Freeform 11">
                <a:extLst>
                  <a:ext uri="{FF2B5EF4-FFF2-40B4-BE49-F238E27FC236}">
                    <a16:creationId xmlns:a16="http://schemas.microsoft.com/office/drawing/2014/main" id="{60B40530-8944-40D0-9D2C-35F806FD6611}"/>
                  </a:ext>
                </a:extLst>
              </p:cNvPr>
              <p:cNvSpPr>
                <a:spLocks noEditPoints="1"/>
              </p:cNvSpPr>
              <p:nvPr/>
            </p:nvSpPr>
            <p:spPr bwMode="gray">
              <a:xfrm>
                <a:off x="7373297" y="2703036"/>
                <a:ext cx="138815" cy="125546"/>
              </a:xfrm>
              <a:custGeom>
                <a:avLst/>
                <a:gdLst>
                  <a:gd name="T0" fmla="*/ 85 w 136"/>
                  <a:gd name="T1" fmla="*/ 99 h 123"/>
                  <a:gd name="T2" fmla="*/ 91 w 136"/>
                  <a:gd name="T3" fmla="*/ 106 h 123"/>
                  <a:gd name="T4" fmla="*/ 97 w 136"/>
                  <a:gd name="T5" fmla="*/ 111 h 123"/>
                  <a:gd name="T6" fmla="*/ 95 w 136"/>
                  <a:gd name="T7" fmla="*/ 117 h 123"/>
                  <a:gd name="T8" fmla="*/ 83 w 136"/>
                  <a:gd name="T9" fmla="*/ 112 h 123"/>
                  <a:gd name="T10" fmla="*/ 80 w 136"/>
                  <a:gd name="T11" fmla="*/ 104 h 123"/>
                  <a:gd name="T12" fmla="*/ 81 w 136"/>
                  <a:gd name="T13" fmla="*/ 97 h 123"/>
                  <a:gd name="T14" fmla="*/ 17 w 136"/>
                  <a:gd name="T15" fmla="*/ 2 h 123"/>
                  <a:gd name="T16" fmla="*/ 18 w 136"/>
                  <a:gd name="T17" fmla="*/ 9 h 123"/>
                  <a:gd name="T18" fmla="*/ 8 w 136"/>
                  <a:gd name="T19" fmla="*/ 15 h 123"/>
                  <a:gd name="T20" fmla="*/ 1 w 136"/>
                  <a:gd name="T21" fmla="*/ 14 h 123"/>
                  <a:gd name="T22" fmla="*/ 1 w 136"/>
                  <a:gd name="T23" fmla="*/ 7 h 123"/>
                  <a:gd name="T24" fmla="*/ 13 w 136"/>
                  <a:gd name="T25" fmla="*/ 0 h 123"/>
                  <a:gd name="T26" fmla="*/ 129 w 136"/>
                  <a:gd name="T27" fmla="*/ 51 h 123"/>
                  <a:gd name="T28" fmla="*/ 136 w 136"/>
                  <a:gd name="T29" fmla="*/ 54 h 123"/>
                  <a:gd name="T30" fmla="*/ 131 w 136"/>
                  <a:gd name="T31" fmla="*/ 63 h 123"/>
                  <a:gd name="T32" fmla="*/ 120 w 136"/>
                  <a:gd name="T33" fmla="*/ 61 h 123"/>
                  <a:gd name="T34" fmla="*/ 124 w 136"/>
                  <a:gd name="T35" fmla="*/ 53 h 123"/>
                  <a:gd name="T36" fmla="*/ 52 w 136"/>
                  <a:gd name="T37" fmla="*/ 111 h 123"/>
                  <a:gd name="T38" fmla="*/ 52 w 136"/>
                  <a:gd name="T39" fmla="*/ 121 h 123"/>
                  <a:gd name="T40" fmla="*/ 42 w 136"/>
                  <a:gd name="T41" fmla="*/ 116 h 123"/>
                  <a:gd name="T42" fmla="*/ 52 w 136"/>
                  <a:gd name="T43" fmla="*/ 111 h 123"/>
                  <a:gd name="T44" fmla="*/ 61 w 136"/>
                  <a:gd name="T45" fmla="*/ 31 h 123"/>
                  <a:gd name="T46" fmla="*/ 68 w 136"/>
                  <a:gd name="T47" fmla="*/ 34 h 123"/>
                  <a:gd name="T48" fmla="*/ 57 w 136"/>
                  <a:gd name="T49" fmla="*/ 32 h 123"/>
                  <a:gd name="T50" fmla="*/ 51 w 136"/>
                  <a:gd name="T51" fmla="*/ 32 h 123"/>
                  <a:gd name="T52" fmla="*/ 51 w 136"/>
                  <a:gd name="T53" fmla="*/ 27 h 123"/>
                  <a:gd name="T54" fmla="*/ 112 w 136"/>
                  <a:gd name="T55" fmla="*/ 95 h 123"/>
                  <a:gd name="T56" fmla="*/ 115 w 136"/>
                  <a:gd name="T57" fmla="*/ 102 h 123"/>
                  <a:gd name="T58" fmla="*/ 108 w 136"/>
                  <a:gd name="T59" fmla="*/ 106 h 123"/>
                  <a:gd name="T60" fmla="*/ 107 w 136"/>
                  <a:gd name="T61" fmla="*/ 99 h 123"/>
                  <a:gd name="T62" fmla="*/ 110 w 136"/>
                  <a:gd name="T63" fmla="*/ 95 h 123"/>
                  <a:gd name="T64" fmla="*/ 22 w 136"/>
                  <a:gd name="T65" fmla="*/ 17 h 123"/>
                  <a:gd name="T66" fmla="*/ 18 w 136"/>
                  <a:gd name="T67" fmla="*/ 22 h 123"/>
                  <a:gd name="T68" fmla="*/ 18 w 136"/>
                  <a:gd name="T69" fmla="*/ 17 h 123"/>
                  <a:gd name="T70" fmla="*/ 22 w 136"/>
                  <a:gd name="T71" fmla="*/ 15 h 123"/>
                  <a:gd name="T72" fmla="*/ 125 w 136"/>
                  <a:gd name="T73" fmla="*/ 22 h 123"/>
                  <a:gd name="T74" fmla="*/ 124 w 136"/>
                  <a:gd name="T75" fmla="*/ 29 h 123"/>
                  <a:gd name="T76" fmla="*/ 124 w 136"/>
                  <a:gd name="T77" fmla="*/ 32 h 123"/>
                  <a:gd name="T78" fmla="*/ 120 w 136"/>
                  <a:gd name="T79" fmla="*/ 26 h 123"/>
                  <a:gd name="T80" fmla="*/ 120 w 136"/>
                  <a:gd name="T81" fmla="*/ 20 h 123"/>
                  <a:gd name="T82" fmla="*/ 35 w 136"/>
                  <a:gd name="T83" fmla="*/ 121 h 123"/>
                  <a:gd name="T84" fmla="*/ 30 w 136"/>
                  <a:gd name="T85" fmla="*/ 119 h 123"/>
                  <a:gd name="T86" fmla="*/ 34 w 136"/>
                  <a:gd name="T87" fmla="*/ 117 h 123"/>
                  <a:gd name="T88" fmla="*/ 32 w 136"/>
                  <a:gd name="T89" fmla="*/ 24 h 123"/>
                  <a:gd name="T90" fmla="*/ 29 w 136"/>
                  <a:gd name="T91" fmla="*/ 22 h 123"/>
                  <a:gd name="T92" fmla="*/ 37 w 136"/>
                  <a:gd name="T93" fmla="*/ 31 h 123"/>
                  <a:gd name="T94" fmla="*/ 34 w 136"/>
                  <a:gd name="T95" fmla="*/ 27 h 123"/>
                  <a:gd name="T96" fmla="*/ 34 w 136"/>
                  <a:gd name="T97" fmla="*/ 29 h 123"/>
                  <a:gd name="T98" fmla="*/ 124 w 136"/>
                  <a:gd name="T99" fmla="*/ 53 h 123"/>
                  <a:gd name="T100" fmla="*/ 37 w 136"/>
                  <a:gd name="T10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23">
                    <a:moveTo>
                      <a:pt x="85" y="95"/>
                    </a:moveTo>
                    <a:lnTo>
                      <a:pt x="85" y="97"/>
                    </a:lnTo>
                    <a:lnTo>
                      <a:pt x="85" y="99"/>
                    </a:lnTo>
                    <a:lnTo>
                      <a:pt x="88" y="100"/>
                    </a:lnTo>
                    <a:lnTo>
                      <a:pt x="90" y="104"/>
                    </a:lnTo>
                    <a:lnTo>
                      <a:pt x="91" y="106"/>
                    </a:lnTo>
                    <a:lnTo>
                      <a:pt x="93" y="106"/>
                    </a:lnTo>
                    <a:lnTo>
                      <a:pt x="95" y="109"/>
                    </a:lnTo>
                    <a:lnTo>
                      <a:pt x="97" y="111"/>
                    </a:lnTo>
                    <a:lnTo>
                      <a:pt x="97" y="112"/>
                    </a:lnTo>
                    <a:lnTo>
                      <a:pt x="97" y="114"/>
                    </a:lnTo>
                    <a:lnTo>
                      <a:pt x="95" y="117"/>
                    </a:lnTo>
                    <a:lnTo>
                      <a:pt x="93" y="117"/>
                    </a:lnTo>
                    <a:lnTo>
                      <a:pt x="88" y="117"/>
                    </a:lnTo>
                    <a:lnTo>
                      <a:pt x="83" y="112"/>
                    </a:lnTo>
                    <a:lnTo>
                      <a:pt x="80" y="109"/>
                    </a:lnTo>
                    <a:lnTo>
                      <a:pt x="81" y="106"/>
                    </a:lnTo>
                    <a:lnTo>
                      <a:pt x="80" y="104"/>
                    </a:lnTo>
                    <a:lnTo>
                      <a:pt x="81" y="100"/>
                    </a:lnTo>
                    <a:lnTo>
                      <a:pt x="80" y="97"/>
                    </a:lnTo>
                    <a:lnTo>
                      <a:pt x="81" y="97"/>
                    </a:lnTo>
                    <a:lnTo>
                      <a:pt x="81" y="95"/>
                    </a:lnTo>
                    <a:lnTo>
                      <a:pt x="85" y="95"/>
                    </a:lnTo>
                    <a:close/>
                    <a:moveTo>
                      <a:pt x="17" y="2"/>
                    </a:moveTo>
                    <a:lnTo>
                      <a:pt x="18" y="5"/>
                    </a:lnTo>
                    <a:lnTo>
                      <a:pt x="20" y="5"/>
                    </a:lnTo>
                    <a:lnTo>
                      <a:pt x="18" y="9"/>
                    </a:lnTo>
                    <a:lnTo>
                      <a:pt x="15" y="10"/>
                    </a:lnTo>
                    <a:lnTo>
                      <a:pt x="13" y="10"/>
                    </a:lnTo>
                    <a:lnTo>
                      <a:pt x="8" y="15"/>
                    </a:lnTo>
                    <a:lnTo>
                      <a:pt x="5" y="15"/>
                    </a:lnTo>
                    <a:lnTo>
                      <a:pt x="3" y="15"/>
                    </a:lnTo>
                    <a:lnTo>
                      <a:pt x="1" y="14"/>
                    </a:lnTo>
                    <a:lnTo>
                      <a:pt x="1" y="10"/>
                    </a:lnTo>
                    <a:lnTo>
                      <a:pt x="0" y="9"/>
                    </a:lnTo>
                    <a:lnTo>
                      <a:pt x="1" y="7"/>
                    </a:lnTo>
                    <a:lnTo>
                      <a:pt x="5" y="5"/>
                    </a:lnTo>
                    <a:lnTo>
                      <a:pt x="8" y="3"/>
                    </a:lnTo>
                    <a:lnTo>
                      <a:pt x="13" y="0"/>
                    </a:lnTo>
                    <a:lnTo>
                      <a:pt x="17" y="2"/>
                    </a:lnTo>
                    <a:close/>
                    <a:moveTo>
                      <a:pt x="125" y="51"/>
                    </a:moveTo>
                    <a:lnTo>
                      <a:pt x="129" y="51"/>
                    </a:lnTo>
                    <a:lnTo>
                      <a:pt x="131" y="49"/>
                    </a:lnTo>
                    <a:lnTo>
                      <a:pt x="134" y="51"/>
                    </a:lnTo>
                    <a:lnTo>
                      <a:pt x="136" y="54"/>
                    </a:lnTo>
                    <a:lnTo>
                      <a:pt x="136" y="58"/>
                    </a:lnTo>
                    <a:lnTo>
                      <a:pt x="136" y="60"/>
                    </a:lnTo>
                    <a:lnTo>
                      <a:pt x="131" y="63"/>
                    </a:lnTo>
                    <a:lnTo>
                      <a:pt x="129" y="63"/>
                    </a:lnTo>
                    <a:lnTo>
                      <a:pt x="125" y="63"/>
                    </a:lnTo>
                    <a:lnTo>
                      <a:pt x="120" y="61"/>
                    </a:lnTo>
                    <a:lnTo>
                      <a:pt x="122" y="58"/>
                    </a:lnTo>
                    <a:lnTo>
                      <a:pt x="124" y="56"/>
                    </a:lnTo>
                    <a:lnTo>
                      <a:pt x="124" y="53"/>
                    </a:lnTo>
                    <a:lnTo>
                      <a:pt x="124" y="49"/>
                    </a:lnTo>
                    <a:lnTo>
                      <a:pt x="125" y="51"/>
                    </a:lnTo>
                    <a:close/>
                    <a:moveTo>
                      <a:pt x="52" y="111"/>
                    </a:moveTo>
                    <a:lnTo>
                      <a:pt x="54" y="112"/>
                    </a:lnTo>
                    <a:lnTo>
                      <a:pt x="54" y="119"/>
                    </a:lnTo>
                    <a:lnTo>
                      <a:pt x="52" y="121"/>
                    </a:lnTo>
                    <a:lnTo>
                      <a:pt x="49" y="123"/>
                    </a:lnTo>
                    <a:lnTo>
                      <a:pt x="44" y="119"/>
                    </a:lnTo>
                    <a:lnTo>
                      <a:pt x="42" y="116"/>
                    </a:lnTo>
                    <a:lnTo>
                      <a:pt x="44" y="112"/>
                    </a:lnTo>
                    <a:lnTo>
                      <a:pt x="49" y="111"/>
                    </a:lnTo>
                    <a:lnTo>
                      <a:pt x="52" y="111"/>
                    </a:lnTo>
                    <a:close/>
                    <a:moveTo>
                      <a:pt x="54" y="29"/>
                    </a:moveTo>
                    <a:lnTo>
                      <a:pt x="57" y="29"/>
                    </a:lnTo>
                    <a:lnTo>
                      <a:pt x="61" y="31"/>
                    </a:lnTo>
                    <a:lnTo>
                      <a:pt x="66" y="31"/>
                    </a:lnTo>
                    <a:lnTo>
                      <a:pt x="68" y="32"/>
                    </a:lnTo>
                    <a:lnTo>
                      <a:pt x="68" y="34"/>
                    </a:lnTo>
                    <a:lnTo>
                      <a:pt x="63" y="34"/>
                    </a:lnTo>
                    <a:lnTo>
                      <a:pt x="59" y="32"/>
                    </a:lnTo>
                    <a:lnTo>
                      <a:pt x="57" y="32"/>
                    </a:lnTo>
                    <a:lnTo>
                      <a:pt x="54" y="34"/>
                    </a:lnTo>
                    <a:lnTo>
                      <a:pt x="52" y="37"/>
                    </a:lnTo>
                    <a:lnTo>
                      <a:pt x="51" y="32"/>
                    </a:lnTo>
                    <a:lnTo>
                      <a:pt x="47" y="31"/>
                    </a:lnTo>
                    <a:lnTo>
                      <a:pt x="47" y="29"/>
                    </a:lnTo>
                    <a:lnTo>
                      <a:pt x="51" y="27"/>
                    </a:lnTo>
                    <a:lnTo>
                      <a:pt x="54" y="29"/>
                    </a:lnTo>
                    <a:close/>
                    <a:moveTo>
                      <a:pt x="110" y="95"/>
                    </a:moveTo>
                    <a:lnTo>
                      <a:pt x="112" y="95"/>
                    </a:lnTo>
                    <a:lnTo>
                      <a:pt x="112" y="97"/>
                    </a:lnTo>
                    <a:lnTo>
                      <a:pt x="114" y="97"/>
                    </a:lnTo>
                    <a:lnTo>
                      <a:pt x="115" y="102"/>
                    </a:lnTo>
                    <a:lnTo>
                      <a:pt x="115" y="104"/>
                    </a:lnTo>
                    <a:lnTo>
                      <a:pt x="112" y="107"/>
                    </a:lnTo>
                    <a:lnTo>
                      <a:pt x="108" y="106"/>
                    </a:lnTo>
                    <a:lnTo>
                      <a:pt x="107" y="104"/>
                    </a:lnTo>
                    <a:lnTo>
                      <a:pt x="108" y="100"/>
                    </a:lnTo>
                    <a:lnTo>
                      <a:pt x="107" y="99"/>
                    </a:lnTo>
                    <a:lnTo>
                      <a:pt x="108" y="97"/>
                    </a:lnTo>
                    <a:lnTo>
                      <a:pt x="110" y="97"/>
                    </a:lnTo>
                    <a:lnTo>
                      <a:pt x="110" y="95"/>
                    </a:lnTo>
                    <a:close/>
                    <a:moveTo>
                      <a:pt x="22" y="15"/>
                    </a:moveTo>
                    <a:lnTo>
                      <a:pt x="23" y="15"/>
                    </a:lnTo>
                    <a:lnTo>
                      <a:pt x="22" y="17"/>
                    </a:lnTo>
                    <a:lnTo>
                      <a:pt x="25" y="19"/>
                    </a:lnTo>
                    <a:lnTo>
                      <a:pt x="25" y="20"/>
                    </a:lnTo>
                    <a:lnTo>
                      <a:pt x="18" y="22"/>
                    </a:lnTo>
                    <a:lnTo>
                      <a:pt x="13" y="20"/>
                    </a:lnTo>
                    <a:lnTo>
                      <a:pt x="15" y="17"/>
                    </a:lnTo>
                    <a:lnTo>
                      <a:pt x="18" y="17"/>
                    </a:lnTo>
                    <a:lnTo>
                      <a:pt x="18" y="15"/>
                    </a:lnTo>
                    <a:lnTo>
                      <a:pt x="20" y="15"/>
                    </a:lnTo>
                    <a:lnTo>
                      <a:pt x="22" y="15"/>
                    </a:lnTo>
                    <a:close/>
                    <a:moveTo>
                      <a:pt x="125" y="19"/>
                    </a:moveTo>
                    <a:lnTo>
                      <a:pt x="124" y="20"/>
                    </a:lnTo>
                    <a:lnTo>
                      <a:pt x="125" y="22"/>
                    </a:lnTo>
                    <a:lnTo>
                      <a:pt x="124" y="24"/>
                    </a:lnTo>
                    <a:lnTo>
                      <a:pt x="125" y="27"/>
                    </a:lnTo>
                    <a:lnTo>
                      <a:pt x="124" y="29"/>
                    </a:lnTo>
                    <a:lnTo>
                      <a:pt x="125" y="32"/>
                    </a:lnTo>
                    <a:lnTo>
                      <a:pt x="124" y="31"/>
                    </a:lnTo>
                    <a:lnTo>
                      <a:pt x="124" y="32"/>
                    </a:lnTo>
                    <a:lnTo>
                      <a:pt x="122" y="29"/>
                    </a:lnTo>
                    <a:lnTo>
                      <a:pt x="122" y="27"/>
                    </a:lnTo>
                    <a:lnTo>
                      <a:pt x="120" y="26"/>
                    </a:lnTo>
                    <a:lnTo>
                      <a:pt x="120" y="24"/>
                    </a:lnTo>
                    <a:lnTo>
                      <a:pt x="119" y="22"/>
                    </a:lnTo>
                    <a:lnTo>
                      <a:pt x="120" y="20"/>
                    </a:lnTo>
                    <a:lnTo>
                      <a:pt x="124" y="19"/>
                    </a:lnTo>
                    <a:lnTo>
                      <a:pt x="125" y="19"/>
                    </a:lnTo>
                    <a:close/>
                    <a:moveTo>
                      <a:pt x="35" y="121"/>
                    </a:moveTo>
                    <a:lnTo>
                      <a:pt x="34" y="123"/>
                    </a:lnTo>
                    <a:lnTo>
                      <a:pt x="30" y="121"/>
                    </a:lnTo>
                    <a:lnTo>
                      <a:pt x="30" y="119"/>
                    </a:lnTo>
                    <a:lnTo>
                      <a:pt x="32" y="119"/>
                    </a:lnTo>
                    <a:lnTo>
                      <a:pt x="32" y="117"/>
                    </a:lnTo>
                    <a:lnTo>
                      <a:pt x="34" y="117"/>
                    </a:lnTo>
                    <a:lnTo>
                      <a:pt x="35" y="121"/>
                    </a:lnTo>
                    <a:close/>
                    <a:moveTo>
                      <a:pt x="30" y="22"/>
                    </a:moveTo>
                    <a:lnTo>
                      <a:pt x="32" y="24"/>
                    </a:lnTo>
                    <a:lnTo>
                      <a:pt x="34" y="24"/>
                    </a:lnTo>
                    <a:lnTo>
                      <a:pt x="30" y="24"/>
                    </a:lnTo>
                    <a:lnTo>
                      <a:pt x="29" y="22"/>
                    </a:lnTo>
                    <a:lnTo>
                      <a:pt x="29" y="20"/>
                    </a:lnTo>
                    <a:lnTo>
                      <a:pt x="30" y="22"/>
                    </a:lnTo>
                    <a:close/>
                    <a:moveTo>
                      <a:pt x="37" y="31"/>
                    </a:moveTo>
                    <a:lnTo>
                      <a:pt x="39" y="31"/>
                    </a:lnTo>
                    <a:lnTo>
                      <a:pt x="37" y="31"/>
                    </a:lnTo>
                    <a:close/>
                    <a:moveTo>
                      <a:pt x="34" y="27"/>
                    </a:moveTo>
                    <a:lnTo>
                      <a:pt x="35" y="27"/>
                    </a:lnTo>
                    <a:lnTo>
                      <a:pt x="35" y="29"/>
                    </a:lnTo>
                    <a:lnTo>
                      <a:pt x="34" y="29"/>
                    </a:lnTo>
                    <a:lnTo>
                      <a:pt x="34" y="27"/>
                    </a:lnTo>
                    <a:close/>
                    <a:moveTo>
                      <a:pt x="122" y="53"/>
                    </a:moveTo>
                    <a:lnTo>
                      <a:pt x="124" y="53"/>
                    </a:lnTo>
                    <a:lnTo>
                      <a:pt x="122" y="53"/>
                    </a:lnTo>
                    <a:close/>
                    <a:moveTo>
                      <a:pt x="35" y="114"/>
                    </a:moveTo>
                    <a:lnTo>
                      <a:pt x="37" y="114"/>
                    </a:lnTo>
                    <a:lnTo>
                      <a:pt x="35" y="1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89" name="Freeform 12">
                <a:extLst>
                  <a:ext uri="{FF2B5EF4-FFF2-40B4-BE49-F238E27FC236}">
                    <a16:creationId xmlns:a16="http://schemas.microsoft.com/office/drawing/2014/main" id="{9530B208-0BDA-4B0E-BDDC-C2C7B3C52540}"/>
                  </a:ext>
                </a:extLst>
              </p:cNvPr>
              <p:cNvSpPr>
                <a:spLocks/>
              </p:cNvSpPr>
              <p:nvPr/>
            </p:nvSpPr>
            <p:spPr bwMode="gray">
              <a:xfrm>
                <a:off x="8724703" y="2951066"/>
                <a:ext cx="158208" cy="319479"/>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0" name="Freeform 13">
                <a:extLst>
                  <a:ext uri="{FF2B5EF4-FFF2-40B4-BE49-F238E27FC236}">
                    <a16:creationId xmlns:a16="http://schemas.microsoft.com/office/drawing/2014/main" id="{AED3940E-88FB-47F7-A935-2271D2D49B09}"/>
                  </a:ext>
                </a:extLst>
              </p:cNvPr>
              <p:cNvSpPr>
                <a:spLocks/>
              </p:cNvSpPr>
              <p:nvPr/>
            </p:nvSpPr>
            <p:spPr bwMode="gray">
              <a:xfrm>
                <a:off x="9716823" y="4513757"/>
                <a:ext cx="484832" cy="470542"/>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1" name="Freeform 14">
                <a:extLst>
                  <a:ext uri="{FF2B5EF4-FFF2-40B4-BE49-F238E27FC236}">
                    <a16:creationId xmlns:a16="http://schemas.microsoft.com/office/drawing/2014/main" id="{935064EF-F3AC-41CB-AC1C-52FCD2B1C65C}"/>
                  </a:ext>
                </a:extLst>
              </p:cNvPr>
              <p:cNvSpPr>
                <a:spLocks/>
              </p:cNvSpPr>
              <p:nvPr/>
            </p:nvSpPr>
            <p:spPr bwMode="gray">
              <a:xfrm>
                <a:off x="8398079" y="2814292"/>
                <a:ext cx="410321" cy="292941"/>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2" name="Freeform 15">
                <a:extLst>
                  <a:ext uri="{FF2B5EF4-FFF2-40B4-BE49-F238E27FC236}">
                    <a16:creationId xmlns:a16="http://schemas.microsoft.com/office/drawing/2014/main" id="{573159E8-A9EC-4881-A242-0C57200C5987}"/>
                  </a:ext>
                </a:extLst>
              </p:cNvPr>
              <p:cNvSpPr>
                <a:spLocks/>
              </p:cNvSpPr>
              <p:nvPr/>
            </p:nvSpPr>
            <p:spPr bwMode="gray">
              <a:xfrm>
                <a:off x="10182262" y="3713529"/>
                <a:ext cx="94925" cy="111256"/>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3" name="Freeform 16">
                <a:extLst>
                  <a:ext uri="{FF2B5EF4-FFF2-40B4-BE49-F238E27FC236}">
                    <a16:creationId xmlns:a16="http://schemas.microsoft.com/office/drawing/2014/main" id="{1C748666-91C7-4A08-B83E-3BD9A417E777}"/>
                  </a:ext>
                </a:extLst>
              </p:cNvPr>
              <p:cNvSpPr>
                <a:spLocks noEditPoints="1"/>
              </p:cNvSpPr>
              <p:nvPr/>
            </p:nvSpPr>
            <p:spPr bwMode="gray">
              <a:xfrm>
                <a:off x="9128900" y="2916362"/>
                <a:ext cx="391949" cy="592006"/>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4" name="Freeform 17">
                <a:extLst>
                  <a:ext uri="{FF2B5EF4-FFF2-40B4-BE49-F238E27FC236}">
                    <a16:creationId xmlns:a16="http://schemas.microsoft.com/office/drawing/2014/main" id="{21729FD1-C856-4BFA-960E-91A5078C836A}"/>
                  </a:ext>
                </a:extLst>
              </p:cNvPr>
              <p:cNvSpPr>
                <a:spLocks noEditPoints="1"/>
              </p:cNvSpPr>
              <p:nvPr/>
            </p:nvSpPr>
            <p:spPr bwMode="gray">
              <a:xfrm>
                <a:off x="9123796" y="3344035"/>
                <a:ext cx="10207" cy="17352"/>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5" name="Freeform 18">
                <a:extLst>
                  <a:ext uri="{FF2B5EF4-FFF2-40B4-BE49-F238E27FC236}">
                    <a16:creationId xmlns:a16="http://schemas.microsoft.com/office/drawing/2014/main" id="{7E444544-9C8B-4B59-B0B6-36CBF34ACB84}"/>
                  </a:ext>
                </a:extLst>
              </p:cNvPr>
              <p:cNvSpPr>
                <a:spLocks/>
              </p:cNvSpPr>
              <p:nvPr/>
            </p:nvSpPr>
            <p:spPr bwMode="gray">
              <a:xfrm>
                <a:off x="9428986" y="3024556"/>
                <a:ext cx="673661" cy="454212"/>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6" name="Freeform 19">
                <a:extLst>
                  <a:ext uri="{FF2B5EF4-FFF2-40B4-BE49-F238E27FC236}">
                    <a16:creationId xmlns:a16="http://schemas.microsoft.com/office/drawing/2014/main" id="{094C77BF-8731-4C18-8B5A-1970818EC6D6}"/>
                  </a:ext>
                </a:extLst>
              </p:cNvPr>
              <p:cNvSpPr>
                <a:spLocks/>
              </p:cNvSpPr>
              <p:nvPr/>
            </p:nvSpPr>
            <p:spPr bwMode="gray">
              <a:xfrm>
                <a:off x="9379992" y="2380495"/>
                <a:ext cx="544032" cy="827787"/>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7" name="Freeform 20">
                <a:extLst>
                  <a:ext uri="{FF2B5EF4-FFF2-40B4-BE49-F238E27FC236}">
                    <a16:creationId xmlns:a16="http://schemas.microsoft.com/office/drawing/2014/main" id="{3952C0BA-5AF6-446A-A12B-5F841DD52BE9}"/>
                  </a:ext>
                </a:extLst>
              </p:cNvPr>
              <p:cNvSpPr>
                <a:spLocks noEditPoints="1"/>
              </p:cNvSpPr>
              <p:nvPr/>
            </p:nvSpPr>
            <p:spPr bwMode="gray">
              <a:xfrm>
                <a:off x="10918186" y="4181009"/>
                <a:ext cx="67366" cy="55117"/>
              </a:xfrm>
              <a:custGeom>
                <a:avLst/>
                <a:gdLst>
                  <a:gd name="T0" fmla="*/ 8 w 66"/>
                  <a:gd name="T1" fmla="*/ 1 h 54"/>
                  <a:gd name="T2" fmla="*/ 10 w 66"/>
                  <a:gd name="T3" fmla="*/ 3 h 54"/>
                  <a:gd name="T4" fmla="*/ 8 w 66"/>
                  <a:gd name="T5" fmla="*/ 15 h 54"/>
                  <a:gd name="T6" fmla="*/ 12 w 66"/>
                  <a:gd name="T7" fmla="*/ 20 h 54"/>
                  <a:gd name="T8" fmla="*/ 12 w 66"/>
                  <a:gd name="T9" fmla="*/ 23 h 54"/>
                  <a:gd name="T10" fmla="*/ 15 w 66"/>
                  <a:gd name="T11" fmla="*/ 27 h 54"/>
                  <a:gd name="T12" fmla="*/ 13 w 66"/>
                  <a:gd name="T13" fmla="*/ 29 h 54"/>
                  <a:gd name="T14" fmla="*/ 12 w 66"/>
                  <a:gd name="T15" fmla="*/ 30 h 54"/>
                  <a:gd name="T16" fmla="*/ 10 w 66"/>
                  <a:gd name="T17" fmla="*/ 29 h 54"/>
                  <a:gd name="T18" fmla="*/ 8 w 66"/>
                  <a:gd name="T19" fmla="*/ 25 h 54"/>
                  <a:gd name="T20" fmla="*/ 3 w 66"/>
                  <a:gd name="T21" fmla="*/ 25 h 54"/>
                  <a:gd name="T22" fmla="*/ 0 w 66"/>
                  <a:gd name="T23" fmla="*/ 20 h 54"/>
                  <a:gd name="T24" fmla="*/ 0 w 66"/>
                  <a:gd name="T25" fmla="*/ 18 h 54"/>
                  <a:gd name="T26" fmla="*/ 1 w 66"/>
                  <a:gd name="T27" fmla="*/ 17 h 54"/>
                  <a:gd name="T28" fmla="*/ 1 w 66"/>
                  <a:gd name="T29" fmla="*/ 3 h 54"/>
                  <a:gd name="T30" fmla="*/ 3 w 66"/>
                  <a:gd name="T31" fmla="*/ 1 h 54"/>
                  <a:gd name="T32" fmla="*/ 6 w 66"/>
                  <a:gd name="T33" fmla="*/ 0 h 54"/>
                  <a:gd name="T34" fmla="*/ 8 w 66"/>
                  <a:gd name="T35" fmla="*/ 1 h 54"/>
                  <a:gd name="T36" fmla="*/ 66 w 66"/>
                  <a:gd name="T37" fmla="*/ 46 h 54"/>
                  <a:gd name="T38" fmla="*/ 66 w 66"/>
                  <a:gd name="T39" fmla="*/ 47 h 54"/>
                  <a:gd name="T40" fmla="*/ 66 w 66"/>
                  <a:gd name="T41" fmla="*/ 51 h 54"/>
                  <a:gd name="T42" fmla="*/ 66 w 66"/>
                  <a:gd name="T43" fmla="*/ 52 h 54"/>
                  <a:gd name="T44" fmla="*/ 64 w 66"/>
                  <a:gd name="T45" fmla="*/ 52 h 54"/>
                  <a:gd name="T46" fmla="*/ 64 w 66"/>
                  <a:gd name="T47" fmla="*/ 51 h 54"/>
                  <a:gd name="T48" fmla="*/ 59 w 66"/>
                  <a:gd name="T49" fmla="*/ 47 h 54"/>
                  <a:gd name="T50" fmla="*/ 59 w 66"/>
                  <a:gd name="T51" fmla="*/ 46 h 54"/>
                  <a:gd name="T52" fmla="*/ 56 w 66"/>
                  <a:gd name="T53" fmla="*/ 46 h 54"/>
                  <a:gd name="T54" fmla="*/ 49 w 66"/>
                  <a:gd name="T55" fmla="*/ 40 h 54"/>
                  <a:gd name="T56" fmla="*/ 54 w 66"/>
                  <a:gd name="T57" fmla="*/ 42 h 54"/>
                  <a:gd name="T58" fmla="*/ 57 w 66"/>
                  <a:gd name="T59" fmla="*/ 42 h 54"/>
                  <a:gd name="T60" fmla="*/ 61 w 66"/>
                  <a:gd name="T61" fmla="*/ 40 h 54"/>
                  <a:gd name="T62" fmla="*/ 61 w 66"/>
                  <a:gd name="T63" fmla="*/ 39 h 54"/>
                  <a:gd name="T64" fmla="*/ 61 w 66"/>
                  <a:gd name="T65" fmla="*/ 37 h 54"/>
                  <a:gd name="T66" fmla="*/ 63 w 66"/>
                  <a:gd name="T67" fmla="*/ 35 h 54"/>
                  <a:gd name="T68" fmla="*/ 64 w 66"/>
                  <a:gd name="T69" fmla="*/ 37 h 54"/>
                  <a:gd name="T70" fmla="*/ 64 w 66"/>
                  <a:gd name="T71" fmla="*/ 39 h 54"/>
                  <a:gd name="T72" fmla="*/ 66 w 66"/>
                  <a:gd name="T73" fmla="*/ 46 h 54"/>
                  <a:gd name="T74" fmla="*/ 25 w 66"/>
                  <a:gd name="T75" fmla="*/ 46 h 54"/>
                  <a:gd name="T76" fmla="*/ 32 w 66"/>
                  <a:gd name="T77" fmla="*/ 51 h 54"/>
                  <a:gd name="T78" fmla="*/ 32 w 66"/>
                  <a:gd name="T79" fmla="*/ 52 h 54"/>
                  <a:gd name="T80" fmla="*/ 29 w 66"/>
                  <a:gd name="T81" fmla="*/ 51 h 54"/>
                  <a:gd name="T82" fmla="*/ 27 w 66"/>
                  <a:gd name="T83" fmla="*/ 52 h 54"/>
                  <a:gd name="T84" fmla="*/ 27 w 66"/>
                  <a:gd name="T85" fmla="*/ 51 h 54"/>
                  <a:gd name="T86" fmla="*/ 22 w 66"/>
                  <a:gd name="T87" fmla="*/ 51 h 54"/>
                  <a:gd name="T88" fmla="*/ 22 w 66"/>
                  <a:gd name="T89" fmla="*/ 49 h 54"/>
                  <a:gd name="T90" fmla="*/ 20 w 66"/>
                  <a:gd name="T91" fmla="*/ 49 h 54"/>
                  <a:gd name="T92" fmla="*/ 20 w 66"/>
                  <a:gd name="T93" fmla="*/ 46 h 54"/>
                  <a:gd name="T94" fmla="*/ 22 w 66"/>
                  <a:gd name="T95" fmla="*/ 46 h 54"/>
                  <a:gd name="T96" fmla="*/ 25 w 66"/>
                  <a:gd name="T97" fmla="*/ 46 h 54"/>
                  <a:gd name="T98" fmla="*/ 22 w 66"/>
                  <a:gd name="T99" fmla="*/ 52 h 54"/>
                  <a:gd name="T100" fmla="*/ 22 w 66"/>
                  <a:gd name="T101" fmla="*/ 54 h 54"/>
                  <a:gd name="T102" fmla="*/ 22 w 66"/>
                  <a:gd name="T103" fmla="*/ 52 h 54"/>
                  <a:gd name="T104" fmla="*/ 23 w 66"/>
                  <a:gd name="T105" fmla="*/ 52 h 54"/>
                  <a:gd name="T106" fmla="*/ 25 w 66"/>
                  <a:gd name="T107" fmla="*/ 52 h 54"/>
                  <a:gd name="T108" fmla="*/ 25 w 66"/>
                  <a:gd name="T109" fmla="*/ 54 h 54"/>
                  <a:gd name="T110" fmla="*/ 23 w 66"/>
                  <a:gd name="T111" fmla="*/ 54 h 54"/>
                  <a:gd name="T112" fmla="*/ 23 w 66"/>
                  <a:gd name="T113" fmla="*/ 52 h 54"/>
                  <a:gd name="T114" fmla="*/ 25 w 66"/>
                  <a:gd name="T115" fmla="*/ 52 h 54"/>
                  <a:gd name="T116" fmla="*/ 25 w 66"/>
                  <a:gd name="T117" fmla="*/ 54 h 54"/>
                  <a:gd name="T118" fmla="*/ 25 w 66"/>
                  <a:gd name="T11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54">
                    <a:moveTo>
                      <a:pt x="8" y="1"/>
                    </a:moveTo>
                    <a:lnTo>
                      <a:pt x="10" y="3"/>
                    </a:lnTo>
                    <a:lnTo>
                      <a:pt x="8" y="15"/>
                    </a:lnTo>
                    <a:lnTo>
                      <a:pt x="12" y="20"/>
                    </a:lnTo>
                    <a:lnTo>
                      <a:pt x="12" y="23"/>
                    </a:lnTo>
                    <a:lnTo>
                      <a:pt x="15" y="27"/>
                    </a:lnTo>
                    <a:lnTo>
                      <a:pt x="13" y="29"/>
                    </a:lnTo>
                    <a:lnTo>
                      <a:pt x="12" y="30"/>
                    </a:lnTo>
                    <a:lnTo>
                      <a:pt x="10" y="29"/>
                    </a:lnTo>
                    <a:lnTo>
                      <a:pt x="8" y="25"/>
                    </a:lnTo>
                    <a:lnTo>
                      <a:pt x="3" y="25"/>
                    </a:lnTo>
                    <a:lnTo>
                      <a:pt x="0" y="20"/>
                    </a:lnTo>
                    <a:lnTo>
                      <a:pt x="0" y="18"/>
                    </a:lnTo>
                    <a:lnTo>
                      <a:pt x="1" y="17"/>
                    </a:lnTo>
                    <a:lnTo>
                      <a:pt x="1" y="3"/>
                    </a:lnTo>
                    <a:lnTo>
                      <a:pt x="3" y="1"/>
                    </a:lnTo>
                    <a:lnTo>
                      <a:pt x="6" y="0"/>
                    </a:lnTo>
                    <a:lnTo>
                      <a:pt x="8" y="1"/>
                    </a:lnTo>
                    <a:close/>
                    <a:moveTo>
                      <a:pt x="66" y="46"/>
                    </a:moveTo>
                    <a:lnTo>
                      <a:pt x="66" y="47"/>
                    </a:lnTo>
                    <a:lnTo>
                      <a:pt x="66" y="51"/>
                    </a:lnTo>
                    <a:lnTo>
                      <a:pt x="66" y="52"/>
                    </a:lnTo>
                    <a:lnTo>
                      <a:pt x="64" y="52"/>
                    </a:lnTo>
                    <a:lnTo>
                      <a:pt x="64" y="51"/>
                    </a:lnTo>
                    <a:lnTo>
                      <a:pt x="59" y="47"/>
                    </a:lnTo>
                    <a:lnTo>
                      <a:pt x="59" y="46"/>
                    </a:lnTo>
                    <a:lnTo>
                      <a:pt x="56" y="46"/>
                    </a:lnTo>
                    <a:lnTo>
                      <a:pt x="49" y="40"/>
                    </a:lnTo>
                    <a:lnTo>
                      <a:pt x="54" y="42"/>
                    </a:lnTo>
                    <a:lnTo>
                      <a:pt x="57" y="42"/>
                    </a:lnTo>
                    <a:lnTo>
                      <a:pt x="61" y="40"/>
                    </a:lnTo>
                    <a:lnTo>
                      <a:pt x="61" y="39"/>
                    </a:lnTo>
                    <a:lnTo>
                      <a:pt x="61" y="37"/>
                    </a:lnTo>
                    <a:lnTo>
                      <a:pt x="63" y="35"/>
                    </a:lnTo>
                    <a:lnTo>
                      <a:pt x="64" y="37"/>
                    </a:lnTo>
                    <a:lnTo>
                      <a:pt x="64" y="39"/>
                    </a:lnTo>
                    <a:lnTo>
                      <a:pt x="66" y="46"/>
                    </a:lnTo>
                    <a:close/>
                    <a:moveTo>
                      <a:pt x="25" y="46"/>
                    </a:moveTo>
                    <a:lnTo>
                      <a:pt x="32" y="51"/>
                    </a:lnTo>
                    <a:lnTo>
                      <a:pt x="32" y="52"/>
                    </a:lnTo>
                    <a:lnTo>
                      <a:pt x="29" y="51"/>
                    </a:lnTo>
                    <a:lnTo>
                      <a:pt x="27" y="52"/>
                    </a:lnTo>
                    <a:lnTo>
                      <a:pt x="27" y="51"/>
                    </a:lnTo>
                    <a:lnTo>
                      <a:pt x="22" y="51"/>
                    </a:lnTo>
                    <a:lnTo>
                      <a:pt x="22" y="49"/>
                    </a:lnTo>
                    <a:lnTo>
                      <a:pt x="20" y="49"/>
                    </a:lnTo>
                    <a:lnTo>
                      <a:pt x="20" y="46"/>
                    </a:lnTo>
                    <a:lnTo>
                      <a:pt x="22" y="46"/>
                    </a:lnTo>
                    <a:lnTo>
                      <a:pt x="25" y="46"/>
                    </a:lnTo>
                    <a:close/>
                    <a:moveTo>
                      <a:pt x="22" y="52"/>
                    </a:moveTo>
                    <a:lnTo>
                      <a:pt x="22" y="54"/>
                    </a:lnTo>
                    <a:lnTo>
                      <a:pt x="22" y="52"/>
                    </a:lnTo>
                    <a:close/>
                    <a:moveTo>
                      <a:pt x="23" y="52"/>
                    </a:moveTo>
                    <a:lnTo>
                      <a:pt x="25" y="52"/>
                    </a:lnTo>
                    <a:lnTo>
                      <a:pt x="25" y="54"/>
                    </a:lnTo>
                    <a:lnTo>
                      <a:pt x="23" y="54"/>
                    </a:lnTo>
                    <a:lnTo>
                      <a:pt x="23" y="52"/>
                    </a:lnTo>
                    <a:close/>
                    <a:moveTo>
                      <a:pt x="25" y="52"/>
                    </a:moveTo>
                    <a:lnTo>
                      <a:pt x="25" y="54"/>
                    </a:lnTo>
                    <a:lnTo>
                      <a:pt x="25" y="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8" name="Freeform 21">
                <a:extLst>
                  <a:ext uri="{FF2B5EF4-FFF2-40B4-BE49-F238E27FC236}">
                    <a16:creationId xmlns:a16="http://schemas.microsoft.com/office/drawing/2014/main" id="{3A006040-1EA4-43F3-B3CC-E4E49D8D14F6}"/>
                  </a:ext>
                </a:extLst>
              </p:cNvPr>
              <p:cNvSpPr>
                <a:spLocks/>
              </p:cNvSpPr>
              <p:nvPr/>
            </p:nvSpPr>
            <p:spPr bwMode="gray">
              <a:xfrm>
                <a:off x="9258528" y="3401195"/>
                <a:ext cx="388886" cy="453190"/>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199" name="Freeform 22">
                <a:extLst>
                  <a:ext uri="{FF2B5EF4-FFF2-40B4-BE49-F238E27FC236}">
                    <a16:creationId xmlns:a16="http://schemas.microsoft.com/office/drawing/2014/main" id="{2DBD3846-98BB-4915-AC06-173803349555}"/>
                  </a:ext>
                </a:extLst>
              </p:cNvPr>
              <p:cNvSpPr>
                <a:spLocks noEditPoints="1"/>
              </p:cNvSpPr>
              <p:nvPr/>
            </p:nvSpPr>
            <p:spPr bwMode="gray">
              <a:xfrm>
                <a:off x="9314667" y="3314434"/>
                <a:ext cx="989057" cy="975789"/>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0" name="Freeform 23">
                <a:extLst>
                  <a:ext uri="{FF2B5EF4-FFF2-40B4-BE49-F238E27FC236}">
                    <a16:creationId xmlns:a16="http://schemas.microsoft.com/office/drawing/2014/main" id="{26295BA6-C3DC-4B37-8E81-7C0F602B9831}"/>
                  </a:ext>
                </a:extLst>
              </p:cNvPr>
              <p:cNvSpPr>
                <a:spLocks noEditPoints="1"/>
              </p:cNvSpPr>
              <p:nvPr/>
            </p:nvSpPr>
            <p:spPr bwMode="gray">
              <a:xfrm>
                <a:off x="10843676" y="2935756"/>
                <a:ext cx="84717" cy="93904"/>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1" name="Freeform 24">
                <a:extLst>
                  <a:ext uri="{FF2B5EF4-FFF2-40B4-BE49-F238E27FC236}">
                    <a16:creationId xmlns:a16="http://schemas.microsoft.com/office/drawing/2014/main" id="{D43A5BAF-8D36-4E03-BE4F-363ED6377EFA}"/>
                  </a:ext>
                </a:extLst>
              </p:cNvPr>
              <p:cNvSpPr>
                <a:spLocks noEditPoints="1"/>
              </p:cNvSpPr>
              <p:nvPr/>
            </p:nvSpPr>
            <p:spPr bwMode="gray">
              <a:xfrm>
                <a:off x="9959750" y="1954864"/>
                <a:ext cx="629771" cy="502184"/>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2" name="Freeform 25">
                <a:extLst>
                  <a:ext uri="{FF2B5EF4-FFF2-40B4-BE49-F238E27FC236}">
                    <a16:creationId xmlns:a16="http://schemas.microsoft.com/office/drawing/2014/main" id="{61D8CFEF-FE95-4CCE-8B37-5AB4062E7AC2}"/>
                  </a:ext>
                </a:extLst>
              </p:cNvPr>
              <p:cNvSpPr>
                <a:spLocks noEditPoints="1"/>
              </p:cNvSpPr>
              <p:nvPr/>
            </p:nvSpPr>
            <p:spPr bwMode="gray">
              <a:xfrm>
                <a:off x="8972733" y="3397111"/>
                <a:ext cx="298044" cy="273547"/>
              </a:xfrm>
              <a:custGeom>
                <a:avLst/>
                <a:gdLst>
                  <a:gd name="T0" fmla="*/ 216 w 292"/>
                  <a:gd name="T1" fmla="*/ 79 h 268"/>
                  <a:gd name="T2" fmla="*/ 218 w 292"/>
                  <a:gd name="T3" fmla="*/ 80 h 268"/>
                  <a:gd name="T4" fmla="*/ 224 w 292"/>
                  <a:gd name="T5" fmla="*/ 82 h 268"/>
                  <a:gd name="T6" fmla="*/ 229 w 292"/>
                  <a:gd name="T7" fmla="*/ 84 h 268"/>
                  <a:gd name="T8" fmla="*/ 233 w 292"/>
                  <a:gd name="T9" fmla="*/ 84 h 268"/>
                  <a:gd name="T10" fmla="*/ 243 w 292"/>
                  <a:gd name="T11" fmla="*/ 82 h 268"/>
                  <a:gd name="T12" fmla="*/ 292 w 292"/>
                  <a:gd name="T13" fmla="*/ 82 h 268"/>
                  <a:gd name="T14" fmla="*/ 291 w 292"/>
                  <a:gd name="T15" fmla="*/ 104 h 268"/>
                  <a:gd name="T16" fmla="*/ 291 w 292"/>
                  <a:gd name="T17" fmla="*/ 142 h 268"/>
                  <a:gd name="T18" fmla="*/ 262 w 292"/>
                  <a:gd name="T19" fmla="*/ 142 h 268"/>
                  <a:gd name="T20" fmla="*/ 223 w 292"/>
                  <a:gd name="T21" fmla="*/ 142 h 268"/>
                  <a:gd name="T22" fmla="*/ 223 w 292"/>
                  <a:gd name="T23" fmla="*/ 145 h 268"/>
                  <a:gd name="T24" fmla="*/ 218 w 292"/>
                  <a:gd name="T25" fmla="*/ 145 h 268"/>
                  <a:gd name="T26" fmla="*/ 216 w 292"/>
                  <a:gd name="T27" fmla="*/ 142 h 268"/>
                  <a:gd name="T28" fmla="*/ 212 w 292"/>
                  <a:gd name="T29" fmla="*/ 138 h 268"/>
                  <a:gd name="T30" fmla="*/ 211 w 292"/>
                  <a:gd name="T31" fmla="*/ 137 h 268"/>
                  <a:gd name="T32" fmla="*/ 207 w 292"/>
                  <a:gd name="T33" fmla="*/ 135 h 268"/>
                  <a:gd name="T34" fmla="*/ 207 w 292"/>
                  <a:gd name="T35" fmla="*/ 137 h 268"/>
                  <a:gd name="T36" fmla="*/ 202 w 292"/>
                  <a:gd name="T37" fmla="*/ 140 h 268"/>
                  <a:gd name="T38" fmla="*/ 197 w 292"/>
                  <a:gd name="T39" fmla="*/ 135 h 268"/>
                  <a:gd name="T40" fmla="*/ 192 w 292"/>
                  <a:gd name="T41" fmla="*/ 137 h 268"/>
                  <a:gd name="T42" fmla="*/ 192 w 292"/>
                  <a:gd name="T43" fmla="*/ 133 h 268"/>
                  <a:gd name="T44" fmla="*/ 194 w 292"/>
                  <a:gd name="T45" fmla="*/ 128 h 268"/>
                  <a:gd name="T46" fmla="*/ 196 w 292"/>
                  <a:gd name="T47" fmla="*/ 121 h 268"/>
                  <a:gd name="T48" fmla="*/ 202 w 292"/>
                  <a:gd name="T49" fmla="*/ 113 h 268"/>
                  <a:gd name="T50" fmla="*/ 204 w 292"/>
                  <a:gd name="T51" fmla="*/ 111 h 268"/>
                  <a:gd name="T52" fmla="*/ 209 w 292"/>
                  <a:gd name="T53" fmla="*/ 103 h 268"/>
                  <a:gd name="T54" fmla="*/ 214 w 292"/>
                  <a:gd name="T55" fmla="*/ 96 h 268"/>
                  <a:gd name="T56" fmla="*/ 211 w 292"/>
                  <a:gd name="T57" fmla="*/ 87 h 268"/>
                  <a:gd name="T58" fmla="*/ 212 w 292"/>
                  <a:gd name="T59" fmla="*/ 75 h 268"/>
                  <a:gd name="T60" fmla="*/ 158 w 292"/>
                  <a:gd name="T61" fmla="*/ 0 h 268"/>
                  <a:gd name="T62" fmla="*/ 165 w 292"/>
                  <a:gd name="T63" fmla="*/ 2 h 268"/>
                  <a:gd name="T64" fmla="*/ 168 w 292"/>
                  <a:gd name="T65" fmla="*/ 2 h 268"/>
                  <a:gd name="T66" fmla="*/ 168 w 292"/>
                  <a:gd name="T67" fmla="*/ 9 h 268"/>
                  <a:gd name="T68" fmla="*/ 163 w 292"/>
                  <a:gd name="T69" fmla="*/ 17 h 268"/>
                  <a:gd name="T70" fmla="*/ 162 w 292"/>
                  <a:gd name="T71" fmla="*/ 21 h 268"/>
                  <a:gd name="T72" fmla="*/ 156 w 292"/>
                  <a:gd name="T73" fmla="*/ 29 h 268"/>
                  <a:gd name="T74" fmla="*/ 150 w 292"/>
                  <a:gd name="T75" fmla="*/ 28 h 268"/>
                  <a:gd name="T76" fmla="*/ 143 w 292"/>
                  <a:gd name="T77" fmla="*/ 23 h 268"/>
                  <a:gd name="T78" fmla="*/ 146 w 292"/>
                  <a:gd name="T79" fmla="*/ 16 h 268"/>
                  <a:gd name="T80" fmla="*/ 151 w 292"/>
                  <a:gd name="T81" fmla="*/ 16 h 268"/>
                  <a:gd name="T82" fmla="*/ 153 w 292"/>
                  <a:gd name="T83" fmla="*/ 12 h 268"/>
                  <a:gd name="T84" fmla="*/ 156 w 292"/>
                  <a:gd name="T85" fmla="*/ 0 h 268"/>
                  <a:gd name="T86" fmla="*/ 0 w 292"/>
                  <a:gd name="T87" fmla="*/ 264 h 268"/>
                  <a:gd name="T88" fmla="*/ 3 w 292"/>
                  <a:gd name="T89" fmla="*/ 268 h 268"/>
                  <a:gd name="T90" fmla="*/ 0 w 292"/>
                  <a:gd name="T91" fmla="*/ 264 h 268"/>
                  <a:gd name="T92" fmla="*/ 190 w 292"/>
                  <a:gd name="T93" fmla="*/ 145 h 268"/>
                  <a:gd name="T94" fmla="*/ 189 w 292"/>
                  <a:gd name="T95" fmla="*/ 147 h 268"/>
                  <a:gd name="T96" fmla="*/ 211 w 292"/>
                  <a:gd name="T97" fmla="*/ 138 h 268"/>
                  <a:gd name="T98" fmla="*/ 212 w 292"/>
                  <a:gd name="T99" fmla="*/ 140 h 268"/>
                  <a:gd name="T100" fmla="*/ 211 w 292"/>
                  <a:gd name="T101" fmla="*/ 138 h 268"/>
                  <a:gd name="T102" fmla="*/ 199 w 292"/>
                  <a:gd name="T103" fmla="*/ 142 h 268"/>
                  <a:gd name="T104" fmla="*/ 197 w 292"/>
                  <a:gd name="T105"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68">
                    <a:moveTo>
                      <a:pt x="214" y="74"/>
                    </a:moveTo>
                    <a:lnTo>
                      <a:pt x="216" y="79"/>
                    </a:lnTo>
                    <a:lnTo>
                      <a:pt x="218" y="79"/>
                    </a:lnTo>
                    <a:lnTo>
                      <a:pt x="218" y="80"/>
                    </a:lnTo>
                    <a:lnTo>
                      <a:pt x="219" y="80"/>
                    </a:lnTo>
                    <a:lnTo>
                      <a:pt x="224" y="82"/>
                    </a:lnTo>
                    <a:lnTo>
                      <a:pt x="226" y="82"/>
                    </a:lnTo>
                    <a:lnTo>
                      <a:pt x="229" y="84"/>
                    </a:lnTo>
                    <a:lnTo>
                      <a:pt x="231" y="82"/>
                    </a:lnTo>
                    <a:lnTo>
                      <a:pt x="233" y="84"/>
                    </a:lnTo>
                    <a:lnTo>
                      <a:pt x="233" y="82"/>
                    </a:lnTo>
                    <a:lnTo>
                      <a:pt x="243" y="82"/>
                    </a:lnTo>
                    <a:lnTo>
                      <a:pt x="282" y="82"/>
                    </a:lnTo>
                    <a:lnTo>
                      <a:pt x="292" y="82"/>
                    </a:lnTo>
                    <a:lnTo>
                      <a:pt x="291" y="86"/>
                    </a:lnTo>
                    <a:lnTo>
                      <a:pt x="291" y="104"/>
                    </a:lnTo>
                    <a:lnTo>
                      <a:pt x="291" y="118"/>
                    </a:lnTo>
                    <a:lnTo>
                      <a:pt x="291" y="142"/>
                    </a:lnTo>
                    <a:lnTo>
                      <a:pt x="272" y="142"/>
                    </a:lnTo>
                    <a:lnTo>
                      <a:pt x="262" y="142"/>
                    </a:lnTo>
                    <a:lnTo>
                      <a:pt x="245" y="142"/>
                    </a:lnTo>
                    <a:lnTo>
                      <a:pt x="223" y="142"/>
                    </a:lnTo>
                    <a:lnTo>
                      <a:pt x="223" y="143"/>
                    </a:lnTo>
                    <a:lnTo>
                      <a:pt x="223" y="145"/>
                    </a:lnTo>
                    <a:lnTo>
                      <a:pt x="221" y="145"/>
                    </a:lnTo>
                    <a:lnTo>
                      <a:pt x="218" y="145"/>
                    </a:lnTo>
                    <a:lnTo>
                      <a:pt x="218" y="142"/>
                    </a:lnTo>
                    <a:lnTo>
                      <a:pt x="216" y="142"/>
                    </a:lnTo>
                    <a:lnTo>
                      <a:pt x="212" y="142"/>
                    </a:lnTo>
                    <a:lnTo>
                      <a:pt x="212" y="138"/>
                    </a:lnTo>
                    <a:lnTo>
                      <a:pt x="214" y="138"/>
                    </a:lnTo>
                    <a:lnTo>
                      <a:pt x="211" y="137"/>
                    </a:lnTo>
                    <a:lnTo>
                      <a:pt x="207" y="138"/>
                    </a:lnTo>
                    <a:lnTo>
                      <a:pt x="207" y="135"/>
                    </a:lnTo>
                    <a:lnTo>
                      <a:pt x="209" y="135"/>
                    </a:lnTo>
                    <a:lnTo>
                      <a:pt x="207" y="137"/>
                    </a:lnTo>
                    <a:lnTo>
                      <a:pt x="206" y="138"/>
                    </a:lnTo>
                    <a:lnTo>
                      <a:pt x="202" y="140"/>
                    </a:lnTo>
                    <a:lnTo>
                      <a:pt x="199" y="135"/>
                    </a:lnTo>
                    <a:lnTo>
                      <a:pt x="197" y="135"/>
                    </a:lnTo>
                    <a:lnTo>
                      <a:pt x="194" y="137"/>
                    </a:lnTo>
                    <a:lnTo>
                      <a:pt x="192" y="137"/>
                    </a:lnTo>
                    <a:lnTo>
                      <a:pt x="190" y="133"/>
                    </a:lnTo>
                    <a:lnTo>
                      <a:pt x="192" y="133"/>
                    </a:lnTo>
                    <a:lnTo>
                      <a:pt x="192" y="128"/>
                    </a:lnTo>
                    <a:lnTo>
                      <a:pt x="194" y="128"/>
                    </a:lnTo>
                    <a:lnTo>
                      <a:pt x="196" y="125"/>
                    </a:lnTo>
                    <a:lnTo>
                      <a:pt x="196" y="121"/>
                    </a:lnTo>
                    <a:lnTo>
                      <a:pt x="201" y="118"/>
                    </a:lnTo>
                    <a:lnTo>
                      <a:pt x="202" y="113"/>
                    </a:lnTo>
                    <a:lnTo>
                      <a:pt x="204" y="113"/>
                    </a:lnTo>
                    <a:lnTo>
                      <a:pt x="204" y="111"/>
                    </a:lnTo>
                    <a:lnTo>
                      <a:pt x="204" y="108"/>
                    </a:lnTo>
                    <a:lnTo>
                      <a:pt x="209" y="103"/>
                    </a:lnTo>
                    <a:lnTo>
                      <a:pt x="211" y="99"/>
                    </a:lnTo>
                    <a:lnTo>
                      <a:pt x="214" y="96"/>
                    </a:lnTo>
                    <a:lnTo>
                      <a:pt x="214" y="94"/>
                    </a:lnTo>
                    <a:lnTo>
                      <a:pt x="211" y="87"/>
                    </a:lnTo>
                    <a:lnTo>
                      <a:pt x="212" y="82"/>
                    </a:lnTo>
                    <a:lnTo>
                      <a:pt x="212" y="75"/>
                    </a:lnTo>
                    <a:lnTo>
                      <a:pt x="214" y="74"/>
                    </a:lnTo>
                    <a:close/>
                    <a:moveTo>
                      <a:pt x="158" y="0"/>
                    </a:moveTo>
                    <a:lnTo>
                      <a:pt x="160" y="2"/>
                    </a:lnTo>
                    <a:lnTo>
                      <a:pt x="165" y="2"/>
                    </a:lnTo>
                    <a:lnTo>
                      <a:pt x="167" y="2"/>
                    </a:lnTo>
                    <a:lnTo>
                      <a:pt x="168" y="2"/>
                    </a:lnTo>
                    <a:lnTo>
                      <a:pt x="170" y="4"/>
                    </a:lnTo>
                    <a:lnTo>
                      <a:pt x="168" y="9"/>
                    </a:lnTo>
                    <a:lnTo>
                      <a:pt x="165" y="12"/>
                    </a:lnTo>
                    <a:lnTo>
                      <a:pt x="163" y="17"/>
                    </a:lnTo>
                    <a:lnTo>
                      <a:pt x="163" y="19"/>
                    </a:lnTo>
                    <a:lnTo>
                      <a:pt x="162" y="21"/>
                    </a:lnTo>
                    <a:lnTo>
                      <a:pt x="162" y="24"/>
                    </a:lnTo>
                    <a:lnTo>
                      <a:pt x="156" y="29"/>
                    </a:lnTo>
                    <a:lnTo>
                      <a:pt x="151" y="28"/>
                    </a:lnTo>
                    <a:lnTo>
                      <a:pt x="150" y="28"/>
                    </a:lnTo>
                    <a:lnTo>
                      <a:pt x="145" y="26"/>
                    </a:lnTo>
                    <a:lnTo>
                      <a:pt x="143" y="23"/>
                    </a:lnTo>
                    <a:lnTo>
                      <a:pt x="145" y="19"/>
                    </a:lnTo>
                    <a:lnTo>
                      <a:pt x="146" y="16"/>
                    </a:lnTo>
                    <a:lnTo>
                      <a:pt x="151" y="17"/>
                    </a:lnTo>
                    <a:lnTo>
                      <a:pt x="151" y="16"/>
                    </a:lnTo>
                    <a:lnTo>
                      <a:pt x="151" y="14"/>
                    </a:lnTo>
                    <a:lnTo>
                      <a:pt x="153" y="12"/>
                    </a:lnTo>
                    <a:lnTo>
                      <a:pt x="153" y="7"/>
                    </a:lnTo>
                    <a:lnTo>
                      <a:pt x="156" y="0"/>
                    </a:lnTo>
                    <a:lnTo>
                      <a:pt x="158" y="0"/>
                    </a:lnTo>
                    <a:close/>
                    <a:moveTo>
                      <a:pt x="0" y="264"/>
                    </a:moveTo>
                    <a:lnTo>
                      <a:pt x="3" y="264"/>
                    </a:lnTo>
                    <a:lnTo>
                      <a:pt x="3" y="268"/>
                    </a:lnTo>
                    <a:lnTo>
                      <a:pt x="0" y="268"/>
                    </a:lnTo>
                    <a:lnTo>
                      <a:pt x="0" y="264"/>
                    </a:lnTo>
                    <a:close/>
                    <a:moveTo>
                      <a:pt x="189" y="145"/>
                    </a:moveTo>
                    <a:lnTo>
                      <a:pt x="190" y="145"/>
                    </a:lnTo>
                    <a:lnTo>
                      <a:pt x="190" y="147"/>
                    </a:lnTo>
                    <a:lnTo>
                      <a:pt x="189" y="147"/>
                    </a:lnTo>
                    <a:lnTo>
                      <a:pt x="189" y="145"/>
                    </a:lnTo>
                    <a:close/>
                    <a:moveTo>
                      <a:pt x="211" y="138"/>
                    </a:moveTo>
                    <a:lnTo>
                      <a:pt x="212" y="138"/>
                    </a:lnTo>
                    <a:lnTo>
                      <a:pt x="212" y="140"/>
                    </a:lnTo>
                    <a:lnTo>
                      <a:pt x="211" y="140"/>
                    </a:lnTo>
                    <a:lnTo>
                      <a:pt x="211" y="138"/>
                    </a:lnTo>
                    <a:close/>
                    <a:moveTo>
                      <a:pt x="197" y="142"/>
                    </a:moveTo>
                    <a:lnTo>
                      <a:pt x="199" y="142"/>
                    </a:lnTo>
                    <a:lnTo>
                      <a:pt x="199" y="143"/>
                    </a:lnTo>
                    <a:lnTo>
                      <a:pt x="197" y="143"/>
                    </a:lnTo>
                    <a:lnTo>
                      <a:pt x="197" y="1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3" name="Freeform 26">
                <a:extLst>
                  <a:ext uri="{FF2B5EF4-FFF2-40B4-BE49-F238E27FC236}">
                    <a16:creationId xmlns:a16="http://schemas.microsoft.com/office/drawing/2014/main" id="{6450F802-E1D9-4355-B114-C371DB6A995C}"/>
                  </a:ext>
                </a:extLst>
              </p:cNvPr>
              <p:cNvSpPr>
                <a:spLocks noEditPoints="1"/>
              </p:cNvSpPr>
              <p:nvPr/>
            </p:nvSpPr>
            <p:spPr bwMode="gray">
              <a:xfrm>
                <a:off x="10567066" y="2663228"/>
                <a:ext cx="346017" cy="291920"/>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4" name="Freeform 27">
                <a:extLst>
                  <a:ext uri="{FF2B5EF4-FFF2-40B4-BE49-F238E27FC236}">
                    <a16:creationId xmlns:a16="http://schemas.microsoft.com/office/drawing/2014/main" id="{F0E06641-8A11-466F-8620-C2E392CC49AD}"/>
                  </a:ext>
                </a:extLst>
              </p:cNvPr>
              <p:cNvSpPr>
                <a:spLocks/>
              </p:cNvSpPr>
              <p:nvPr/>
            </p:nvSpPr>
            <p:spPr bwMode="gray">
              <a:xfrm>
                <a:off x="10388444" y="2822457"/>
                <a:ext cx="775732" cy="596089"/>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5" name="Freeform 28">
                <a:extLst>
                  <a:ext uri="{FF2B5EF4-FFF2-40B4-BE49-F238E27FC236}">
                    <a16:creationId xmlns:a16="http://schemas.microsoft.com/office/drawing/2014/main" id="{D55FBC43-74D1-4EC6-9C5F-C7F668126FC9}"/>
                  </a:ext>
                </a:extLst>
              </p:cNvPr>
              <p:cNvSpPr>
                <a:spLocks noEditPoints="1"/>
              </p:cNvSpPr>
              <p:nvPr/>
            </p:nvSpPr>
            <p:spPr bwMode="gray">
              <a:xfrm>
                <a:off x="9134004" y="3473664"/>
                <a:ext cx="300085" cy="324583"/>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6" name="Freeform 29">
                <a:extLst>
                  <a:ext uri="{FF2B5EF4-FFF2-40B4-BE49-F238E27FC236}">
                    <a16:creationId xmlns:a16="http://schemas.microsoft.com/office/drawing/2014/main" id="{BECDA98F-AB13-4295-BD15-C83828DC1C97}"/>
                  </a:ext>
                </a:extLst>
              </p:cNvPr>
              <p:cNvSpPr>
                <a:spLocks/>
              </p:cNvSpPr>
              <p:nvPr/>
            </p:nvSpPr>
            <p:spPr bwMode="gray">
              <a:xfrm>
                <a:off x="7815260" y="2878596"/>
                <a:ext cx="156167" cy="39807"/>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7" name="Freeform 30">
                <a:extLst>
                  <a:ext uri="{FF2B5EF4-FFF2-40B4-BE49-F238E27FC236}">
                    <a16:creationId xmlns:a16="http://schemas.microsoft.com/office/drawing/2014/main" id="{AFF1614C-8FD2-40A8-A595-37E6A5B364B0}"/>
                  </a:ext>
                </a:extLst>
              </p:cNvPr>
              <p:cNvSpPr>
                <a:spLocks/>
              </p:cNvSpPr>
              <p:nvPr/>
            </p:nvSpPr>
            <p:spPr bwMode="gray">
              <a:xfrm>
                <a:off x="8514439" y="3015370"/>
                <a:ext cx="230678" cy="333769"/>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8" name="Freeform 31">
                <a:extLst>
                  <a:ext uri="{FF2B5EF4-FFF2-40B4-BE49-F238E27FC236}">
                    <a16:creationId xmlns:a16="http://schemas.microsoft.com/office/drawing/2014/main" id="{43F8FD41-991A-43EE-86F8-3354D539653E}"/>
                  </a:ext>
                </a:extLst>
              </p:cNvPr>
              <p:cNvSpPr>
                <a:spLocks noEditPoints="1"/>
              </p:cNvSpPr>
              <p:nvPr/>
            </p:nvSpPr>
            <p:spPr bwMode="gray">
              <a:xfrm>
                <a:off x="7904061" y="2937797"/>
                <a:ext cx="384803" cy="284775"/>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09" name="Freeform 32">
                <a:extLst>
                  <a:ext uri="{FF2B5EF4-FFF2-40B4-BE49-F238E27FC236}">
                    <a16:creationId xmlns:a16="http://schemas.microsoft.com/office/drawing/2014/main" id="{6EDC4D7A-B06C-422D-99CA-06C4558547C8}"/>
                  </a:ext>
                </a:extLst>
              </p:cNvPr>
              <p:cNvSpPr>
                <a:spLocks noEditPoints="1"/>
              </p:cNvSpPr>
              <p:nvPr/>
            </p:nvSpPr>
            <p:spPr bwMode="gray">
              <a:xfrm>
                <a:off x="7819343" y="2937797"/>
                <a:ext cx="159229" cy="91863"/>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0" name="Freeform 33">
                <a:extLst>
                  <a:ext uri="{FF2B5EF4-FFF2-40B4-BE49-F238E27FC236}">
                    <a16:creationId xmlns:a16="http://schemas.microsoft.com/office/drawing/2014/main" id="{873FA385-E442-4BCC-916D-F20818B2BC5F}"/>
                  </a:ext>
                </a:extLst>
              </p:cNvPr>
              <p:cNvSpPr>
                <a:spLocks/>
              </p:cNvSpPr>
              <p:nvPr/>
            </p:nvSpPr>
            <p:spPr bwMode="gray">
              <a:xfrm>
                <a:off x="8238850" y="3037825"/>
                <a:ext cx="315396" cy="330707"/>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1" name="Freeform 34">
                <a:extLst>
                  <a:ext uri="{FF2B5EF4-FFF2-40B4-BE49-F238E27FC236}">
                    <a16:creationId xmlns:a16="http://schemas.microsoft.com/office/drawing/2014/main" id="{67899215-D87D-43E8-9FE4-4AE0C255599D}"/>
                  </a:ext>
                </a:extLst>
              </p:cNvPr>
              <p:cNvSpPr>
                <a:spLocks noEditPoints="1"/>
              </p:cNvSpPr>
              <p:nvPr/>
            </p:nvSpPr>
            <p:spPr bwMode="gray">
              <a:xfrm>
                <a:off x="10437437" y="3309332"/>
                <a:ext cx="412363" cy="525661"/>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2" name="Freeform 35">
                <a:extLst>
                  <a:ext uri="{FF2B5EF4-FFF2-40B4-BE49-F238E27FC236}">
                    <a16:creationId xmlns:a16="http://schemas.microsoft.com/office/drawing/2014/main" id="{E933F9F6-B658-44DE-8379-206187ACD577}"/>
                  </a:ext>
                </a:extLst>
              </p:cNvPr>
              <p:cNvSpPr>
                <a:spLocks/>
              </p:cNvSpPr>
              <p:nvPr/>
            </p:nvSpPr>
            <p:spPr bwMode="gray">
              <a:xfrm>
                <a:off x="10080193" y="5071058"/>
                <a:ext cx="126567" cy="109215"/>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3" name="Freeform 36">
                <a:extLst>
                  <a:ext uri="{FF2B5EF4-FFF2-40B4-BE49-F238E27FC236}">
                    <a16:creationId xmlns:a16="http://schemas.microsoft.com/office/drawing/2014/main" id="{D4C68882-B142-4912-9B08-6FF3D7891899}"/>
                  </a:ext>
                </a:extLst>
              </p:cNvPr>
              <p:cNvSpPr>
                <a:spLocks/>
              </p:cNvSpPr>
              <p:nvPr/>
            </p:nvSpPr>
            <p:spPr bwMode="gray">
              <a:xfrm>
                <a:off x="8089828" y="3151123"/>
                <a:ext cx="213326" cy="217409"/>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4" name="Freeform 37">
                <a:extLst>
                  <a:ext uri="{FF2B5EF4-FFF2-40B4-BE49-F238E27FC236}">
                    <a16:creationId xmlns:a16="http://schemas.microsoft.com/office/drawing/2014/main" id="{25A3A326-FE95-4F39-8155-4241076C0F4D}"/>
                  </a:ext>
                </a:extLst>
              </p:cNvPr>
              <p:cNvSpPr>
                <a:spLocks/>
              </p:cNvSpPr>
              <p:nvPr/>
            </p:nvSpPr>
            <p:spPr bwMode="gray">
              <a:xfrm>
                <a:off x="9168707" y="1878311"/>
                <a:ext cx="813497" cy="706324"/>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5" name="Freeform 38">
                <a:extLst>
                  <a:ext uri="{FF2B5EF4-FFF2-40B4-BE49-F238E27FC236}">
                    <a16:creationId xmlns:a16="http://schemas.microsoft.com/office/drawing/2014/main" id="{ADF3362D-DFA4-49BA-BFF3-BF0F62EC981B}"/>
                  </a:ext>
                </a:extLst>
              </p:cNvPr>
              <p:cNvSpPr>
                <a:spLocks noEditPoints="1"/>
              </p:cNvSpPr>
              <p:nvPr/>
            </p:nvSpPr>
            <p:spPr bwMode="gray">
              <a:xfrm>
                <a:off x="10918186" y="4211630"/>
                <a:ext cx="374596" cy="707345"/>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6" name="Freeform 39">
                <a:extLst>
                  <a:ext uri="{FF2B5EF4-FFF2-40B4-BE49-F238E27FC236}">
                    <a16:creationId xmlns:a16="http://schemas.microsoft.com/office/drawing/2014/main" id="{D07C66D1-0C28-442F-B533-1CC84E17D33B}"/>
                  </a:ext>
                </a:extLst>
              </p:cNvPr>
              <p:cNvSpPr>
                <a:spLocks noEditPoints="1"/>
              </p:cNvSpPr>
              <p:nvPr/>
            </p:nvSpPr>
            <p:spPr bwMode="gray">
              <a:xfrm>
                <a:off x="10373133" y="4077918"/>
                <a:ext cx="166374" cy="401135"/>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7" name="Freeform 40">
                <a:extLst>
                  <a:ext uri="{FF2B5EF4-FFF2-40B4-BE49-F238E27FC236}">
                    <a16:creationId xmlns:a16="http://schemas.microsoft.com/office/drawing/2014/main" id="{A669155C-CC33-440F-8985-26E7E3FF5DA4}"/>
                  </a:ext>
                </a:extLst>
              </p:cNvPr>
              <p:cNvSpPr>
                <a:spLocks/>
              </p:cNvSpPr>
              <p:nvPr/>
            </p:nvSpPr>
            <p:spPr bwMode="gray">
              <a:xfrm>
                <a:off x="8051041" y="2299860"/>
                <a:ext cx="852284" cy="767566"/>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8" name="Freeform 41">
                <a:extLst>
                  <a:ext uri="{FF2B5EF4-FFF2-40B4-BE49-F238E27FC236}">
                    <a16:creationId xmlns:a16="http://schemas.microsoft.com/office/drawing/2014/main" id="{6EAB709D-3F29-42C8-821E-4C160BFE4053}"/>
                  </a:ext>
                </a:extLst>
              </p:cNvPr>
              <p:cNvSpPr>
                <a:spLocks noEditPoints="1"/>
              </p:cNvSpPr>
              <p:nvPr/>
            </p:nvSpPr>
            <p:spPr bwMode="gray">
              <a:xfrm>
                <a:off x="7801991" y="2180438"/>
                <a:ext cx="632833" cy="651206"/>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9" name="Freeform 42">
                <a:extLst>
                  <a:ext uri="{FF2B5EF4-FFF2-40B4-BE49-F238E27FC236}">
                    <a16:creationId xmlns:a16="http://schemas.microsoft.com/office/drawing/2014/main" id="{0A7FA6FE-417D-4542-9E78-9145D515B964}"/>
                  </a:ext>
                </a:extLst>
              </p:cNvPr>
              <p:cNvSpPr>
                <a:spLocks/>
              </p:cNvSpPr>
              <p:nvPr/>
            </p:nvSpPr>
            <p:spPr bwMode="gray">
              <a:xfrm>
                <a:off x="8003068" y="1736434"/>
                <a:ext cx="627730" cy="426652"/>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0" name="Freeform 43">
                <a:extLst>
                  <a:ext uri="{FF2B5EF4-FFF2-40B4-BE49-F238E27FC236}">
                    <a16:creationId xmlns:a16="http://schemas.microsoft.com/office/drawing/2014/main" id="{858A3605-D96B-46A6-9278-0C9150BE7998}"/>
                  </a:ext>
                </a:extLst>
              </p:cNvPr>
              <p:cNvSpPr>
                <a:spLocks noEditPoints="1"/>
              </p:cNvSpPr>
              <p:nvPr/>
            </p:nvSpPr>
            <p:spPr bwMode="gray">
              <a:xfrm>
                <a:off x="10246566" y="4135077"/>
                <a:ext cx="548115" cy="848201"/>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1" name="Freeform 44">
                <a:extLst>
                  <a:ext uri="{FF2B5EF4-FFF2-40B4-BE49-F238E27FC236}">
                    <a16:creationId xmlns:a16="http://schemas.microsoft.com/office/drawing/2014/main" id="{E1AE4413-E9C4-43F9-B101-9FE56F3D383C}"/>
                  </a:ext>
                </a:extLst>
              </p:cNvPr>
              <p:cNvSpPr>
                <a:spLocks noEditPoints="1"/>
              </p:cNvSpPr>
              <p:nvPr/>
            </p:nvSpPr>
            <p:spPr bwMode="gray">
              <a:xfrm>
                <a:off x="9290171" y="4470888"/>
                <a:ext cx="699179" cy="621606"/>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solidFill>
                <a:schemeClr val="accent5"/>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2" name="Freeform 45">
                <a:extLst>
                  <a:ext uri="{FF2B5EF4-FFF2-40B4-BE49-F238E27FC236}">
                    <a16:creationId xmlns:a16="http://schemas.microsoft.com/office/drawing/2014/main" id="{1A8AC1F9-BE07-4F47-B5A8-EFA494C22B1B}"/>
                  </a:ext>
                </a:extLst>
              </p:cNvPr>
              <p:cNvSpPr>
                <a:spLocks/>
              </p:cNvSpPr>
              <p:nvPr/>
            </p:nvSpPr>
            <p:spPr bwMode="gray">
              <a:xfrm>
                <a:off x="8692041" y="2376413"/>
                <a:ext cx="818601" cy="611399"/>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3" name="Freeform 46">
                <a:extLst>
                  <a:ext uri="{FF2B5EF4-FFF2-40B4-BE49-F238E27FC236}">
                    <a16:creationId xmlns:a16="http://schemas.microsoft.com/office/drawing/2014/main" id="{6A735D14-EFFC-47E0-BF52-6038C761E3CB}"/>
                  </a:ext>
                </a:extLst>
              </p:cNvPr>
              <p:cNvSpPr>
                <a:spLocks noEditPoints="1"/>
              </p:cNvSpPr>
              <p:nvPr/>
            </p:nvSpPr>
            <p:spPr bwMode="gray">
              <a:xfrm>
                <a:off x="8821670" y="2876555"/>
                <a:ext cx="621606" cy="497081"/>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4" name="Freeform 47">
                <a:extLst>
                  <a:ext uri="{FF2B5EF4-FFF2-40B4-BE49-F238E27FC236}">
                    <a16:creationId xmlns:a16="http://schemas.microsoft.com/office/drawing/2014/main" id="{B9C63BE7-4633-47D8-B325-986C5164FA9B}"/>
                  </a:ext>
                </a:extLst>
              </p:cNvPr>
              <p:cNvSpPr>
                <a:spLocks/>
              </p:cNvSpPr>
              <p:nvPr/>
            </p:nvSpPr>
            <p:spPr bwMode="gray">
              <a:xfrm>
                <a:off x="10175117" y="3647183"/>
                <a:ext cx="106153" cy="92884"/>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5" name="Freeform 48">
                <a:extLst>
                  <a:ext uri="{FF2B5EF4-FFF2-40B4-BE49-F238E27FC236}">
                    <a16:creationId xmlns:a16="http://schemas.microsoft.com/office/drawing/2014/main" id="{A853842C-88D7-4B7A-AC69-0F246FE93FD6}"/>
                  </a:ext>
                </a:extLst>
              </p:cNvPr>
              <p:cNvSpPr>
                <a:spLocks noEditPoints="1"/>
              </p:cNvSpPr>
              <p:nvPr/>
            </p:nvSpPr>
            <p:spPr bwMode="gray">
              <a:xfrm>
                <a:off x="11010049" y="4246334"/>
                <a:ext cx="15310" cy="19393"/>
              </a:xfrm>
              <a:custGeom>
                <a:avLst/>
                <a:gdLst>
                  <a:gd name="T0" fmla="*/ 5 w 15"/>
                  <a:gd name="T1" fmla="*/ 2 h 19"/>
                  <a:gd name="T2" fmla="*/ 7 w 15"/>
                  <a:gd name="T3" fmla="*/ 4 h 19"/>
                  <a:gd name="T4" fmla="*/ 7 w 15"/>
                  <a:gd name="T5" fmla="*/ 5 h 19"/>
                  <a:gd name="T6" fmla="*/ 8 w 15"/>
                  <a:gd name="T7" fmla="*/ 5 h 19"/>
                  <a:gd name="T8" fmla="*/ 10 w 15"/>
                  <a:gd name="T9" fmla="*/ 5 h 19"/>
                  <a:gd name="T10" fmla="*/ 12 w 15"/>
                  <a:gd name="T11" fmla="*/ 7 h 19"/>
                  <a:gd name="T12" fmla="*/ 12 w 15"/>
                  <a:gd name="T13" fmla="*/ 9 h 19"/>
                  <a:gd name="T14" fmla="*/ 10 w 15"/>
                  <a:gd name="T15" fmla="*/ 11 h 19"/>
                  <a:gd name="T16" fmla="*/ 10 w 15"/>
                  <a:gd name="T17" fmla="*/ 12 h 19"/>
                  <a:gd name="T18" fmla="*/ 12 w 15"/>
                  <a:gd name="T19" fmla="*/ 12 h 19"/>
                  <a:gd name="T20" fmla="*/ 10 w 15"/>
                  <a:gd name="T21" fmla="*/ 14 h 19"/>
                  <a:gd name="T22" fmla="*/ 10 w 15"/>
                  <a:gd name="T23" fmla="*/ 16 h 19"/>
                  <a:gd name="T24" fmla="*/ 8 w 15"/>
                  <a:gd name="T25" fmla="*/ 16 h 19"/>
                  <a:gd name="T26" fmla="*/ 8 w 15"/>
                  <a:gd name="T27" fmla="*/ 17 h 19"/>
                  <a:gd name="T28" fmla="*/ 10 w 15"/>
                  <a:gd name="T29" fmla="*/ 17 h 19"/>
                  <a:gd name="T30" fmla="*/ 8 w 15"/>
                  <a:gd name="T31" fmla="*/ 19 h 19"/>
                  <a:gd name="T32" fmla="*/ 8 w 15"/>
                  <a:gd name="T33" fmla="*/ 17 h 19"/>
                  <a:gd name="T34" fmla="*/ 7 w 15"/>
                  <a:gd name="T35" fmla="*/ 19 h 19"/>
                  <a:gd name="T36" fmla="*/ 5 w 15"/>
                  <a:gd name="T37" fmla="*/ 19 h 19"/>
                  <a:gd name="T38" fmla="*/ 5 w 15"/>
                  <a:gd name="T39" fmla="*/ 17 h 19"/>
                  <a:gd name="T40" fmla="*/ 3 w 15"/>
                  <a:gd name="T41" fmla="*/ 17 h 19"/>
                  <a:gd name="T42" fmla="*/ 5 w 15"/>
                  <a:gd name="T43" fmla="*/ 16 h 19"/>
                  <a:gd name="T44" fmla="*/ 3 w 15"/>
                  <a:gd name="T45" fmla="*/ 14 h 19"/>
                  <a:gd name="T46" fmla="*/ 5 w 15"/>
                  <a:gd name="T47" fmla="*/ 14 h 19"/>
                  <a:gd name="T48" fmla="*/ 5 w 15"/>
                  <a:gd name="T49" fmla="*/ 16 h 19"/>
                  <a:gd name="T50" fmla="*/ 7 w 15"/>
                  <a:gd name="T51" fmla="*/ 16 h 19"/>
                  <a:gd name="T52" fmla="*/ 7 w 15"/>
                  <a:gd name="T53" fmla="*/ 14 h 19"/>
                  <a:gd name="T54" fmla="*/ 5 w 15"/>
                  <a:gd name="T55" fmla="*/ 12 h 19"/>
                  <a:gd name="T56" fmla="*/ 5 w 15"/>
                  <a:gd name="T57" fmla="*/ 11 h 19"/>
                  <a:gd name="T58" fmla="*/ 5 w 15"/>
                  <a:gd name="T59" fmla="*/ 7 h 19"/>
                  <a:gd name="T60" fmla="*/ 1 w 15"/>
                  <a:gd name="T61" fmla="*/ 7 h 19"/>
                  <a:gd name="T62" fmla="*/ 3 w 15"/>
                  <a:gd name="T63" fmla="*/ 5 h 19"/>
                  <a:gd name="T64" fmla="*/ 1 w 15"/>
                  <a:gd name="T65" fmla="*/ 5 h 19"/>
                  <a:gd name="T66" fmla="*/ 1 w 15"/>
                  <a:gd name="T67" fmla="*/ 4 h 19"/>
                  <a:gd name="T68" fmla="*/ 3 w 15"/>
                  <a:gd name="T69" fmla="*/ 4 h 19"/>
                  <a:gd name="T70" fmla="*/ 5 w 15"/>
                  <a:gd name="T71" fmla="*/ 2 h 19"/>
                  <a:gd name="T72" fmla="*/ 12 w 15"/>
                  <a:gd name="T73" fmla="*/ 7 h 19"/>
                  <a:gd name="T74" fmla="*/ 15 w 15"/>
                  <a:gd name="T75" fmla="*/ 7 h 19"/>
                  <a:gd name="T76" fmla="*/ 15 w 15"/>
                  <a:gd name="T77" fmla="*/ 11 h 19"/>
                  <a:gd name="T78" fmla="*/ 12 w 15"/>
                  <a:gd name="T79" fmla="*/ 11 h 19"/>
                  <a:gd name="T80" fmla="*/ 12 w 15"/>
                  <a:gd name="T81" fmla="*/ 7 h 19"/>
                  <a:gd name="T82" fmla="*/ 0 w 15"/>
                  <a:gd name="T83" fmla="*/ 0 h 19"/>
                  <a:gd name="T84" fmla="*/ 1 w 15"/>
                  <a:gd name="T85" fmla="*/ 0 h 19"/>
                  <a:gd name="T86" fmla="*/ 1 w 15"/>
                  <a:gd name="T87" fmla="*/ 2 h 19"/>
                  <a:gd name="T88" fmla="*/ 0 w 15"/>
                  <a:gd name="T89" fmla="*/ 2 h 19"/>
                  <a:gd name="T90" fmla="*/ 0 w 15"/>
                  <a:gd name="T9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19">
                    <a:moveTo>
                      <a:pt x="5" y="2"/>
                    </a:moveTo>
                    <a:lnTo>
                      <a:pt x="7" y="4"/>
                    </a:lnTo>
                    <a:lnTo>
                      <a:pt x="7" y="5"/>
                    </a:lnTo>
                    <a:lnTo>
                      <a:pt x="8" y="5"/>
                    </a:lnTo>
                    <a:lnTo>
                      <a:pt x="10" y="5"/>
                    </a:lnTo>
                    <a:lnTo>
                      <a:pt x="12" y="7"/>
                    </a:lnTo>
                    <a:lnTo>
                      <a:pt x="12" y="9"/>
                    </a:lnTo>
                    <a:lnTo>
                      <a:pt x="10" y="11"/>
                    </a:lnTo>
                    <a:lnTo>
                      <a:pt x="10" y="12"/>
                    </a:lnTo>
                    <a:lnTo>
                      <a:pt x="12" y="12"/>
                    </a:lnTo>
                    <a:lnTo>
                      <a:pt x="10" y="14"/>
                    </a:lnTo>
                    <a:lnTo>
                      <a:pt x="10" y="16"/>
                    </a:lnTo>
                    <a:lnTo>
                      <a:pt x="8" y="16"/>
                    </a:lnTo>
                    <a:lnTo>
                      <a:pt x="8" y="17"/>
                    </a:lnTo>
                    <a:lnTo>
                      <a:pt x="10" y="17"/>
                    </a:lnTo>
                    <a:lnTo>
                      <a:pt x="8" y="19"/>
                    </a:lnTo>
                    <a:lnTo>
                      <a:pt x="8" y="17"/>
                    </a:lnTo>
                    <a:lnTo>
                      <a:pt x="7" y="19"/>
                    </a:lnTo>
                    <a:lnTo>
                      <a:pt x="5" y="19"/>
                    </a:lnTo>
                    <a:lnTo>
                      <a:pt x="5" y="17"/>
                    </a:lnTo>
                    <a:lnTo>
                      <a:pt x="3" y="17"/>
                    </a:lnTo>
                    <a:lnTo>
                      <a:pt x="5" y="16"/>
                    </a:lnTo>
                    <a:lnTo>
                      <a:pt x="3" y="14"/>
                    </a:lnTo>
                    <a:lnTo>
                      <a:pt x="5" y="14"/>
                    </a:lnTo>
                    <a:lnTo>
                      <a:pt x="5" y="16"/>
                    </a:lnTo>
                    <a:lnTo>
                      <a:pt x="7" y="16"/>
                    </a:lnTo>
                    <a:lnTo>
                      <a:pt x="7" y="14"/>
                    </a:lnTo>
                    <a:lnTo>
                      <a:pt x="5" y="12"/>
                    </a:lnTo>
                    <a:lnTo>
                      <a:pt x="5" y="11"/>
                    </a:lnTo>
                    <a:lnTo>
                      <a:pt x="5" y="7"/>
                    </a:lnTo>
                    <a:lnTo>
                      <a:pt x="1" y="7"/>
                    </a:lnTo>
                    <a:lnTo>
                      <a:pt x="3" y="5"/>
                    </a:lnTo>
                    <a:lnTo>
                      <a:pt x="1" y="5"/>
                    </a:lnTo>
                    <a:lnTo>
                      <a:pt x="1" y="4"/>
                    </a:lnTo>
                    <a:lnTo>
                      <a:pt x="3" y="4"/>
                    </a:lnTo>
                    <a:lnTo>
                      <a:pt x="5" y="2"/>
                    </a:lnTo>
                    <a:close/>
                    <a:moveTo>
                      <a:pt x="12" y="7"/>
                    </a:moveTo>
                    <a:lnTo>
                      <a:pt x="15" y="7"/>
                    </a:lnTo>
                    <a:lnTo>
                      <a:pt x="15" y="11"/>
                    </a:lnTo>
                    <a:lnTo>
                      <a:pt x="12" y="11"/>
                    </a:lnTo>
                    <a:lnTo>
                      <a:pt x="12" y="7"/>
                    </a:lnTo>
                    <a:close/>
                    <a:moveTo>
                      <a:pt x="0" y="0"/>
                    </a:moveTo>
                    <a:lnTo>
                      <a:pt x="1" y="0"/>
                    </a:lnTo>
                    <a:lnTo>
                      <a:pt x="1" y="2"/>
                    </a:lnTo>
                    <a:lnTo>
                      <a:pt x="0" y="2"/>
                    </a:lnTo>
                    <a:lnTo>
                      <a:pt x="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6" name="Freeform 49">
                <a:extLst>
                  <a:ext uri="{FF2B5EF4-FFF2-40B4-BE49-F238E27FC236}">
                    <a16:creationId xmlns:a16="http://schemas.microsoft.com/office/drawing/2014/main" id="{DD54416C-E46C-42B6-8F96-FA2FBEDF6700}"/>
                  </a:ext>
                </a:extLst>
              </p:cNvPr>
              <p:cNvSpPr>
                <a:spLocks noEditPoints="1"/>
              </p:cNvSpPr>
              <p:nvPr/>
            </p:nvSpPr>
            <p:spPr bwMode="gray">
              <a:xfrm>
                <a:off x="9017644" y="3505306"/>
                <a:ext cx="52055" cy="88801"/>
              </a:xfrm>
              <a:custGeom>
                <a:avLst/>
                <a:gdLst>
                  <a:gd name="T0" fmla="*/ 12 w 51"/>
                  <a:gd name="T1" fmla="*/ 66 h 87"/>
                  <a:gd name="T2" fmla="*/ 14 w 51"/>
                  <a:gd name="T3" fmla="*/ 68 h 87"/>
                  <a:gd name="T4" fmla="*/ 12 w 51"/>
                  <a:gd name="T5" fmla="*/ 68 h 87"/>
                  <a:gd name="T6" fmla="*/ 14 w 51"/>
                  <a:gd name="T7" fmla="*/ 70 h 87"/>
                  <a:gd name="T8" fmla="*/ 16 w 51"/>
                  <a:gd name="T9" fmla="*/ 71 h 87"/>
                  <a:gd name="T10" fmla="*/ 14 w 51"/>
                  <a:gd name="T11" fmla="*/ 73 h 87"/>
                  <a:gd name="T12" fmla="*/ 14 w 51"/>
                  <a:gd name="T13" fmla="*/ 75 h 87"/>
                  <a:gd name="T14" fmla="*/ 9 w 51"/>
                  <a:gd name="T15" fmla="*/ 80 h 87"/>
                  <a:gd name="T16" fmla="*/ 10 w 51"/>
                  <a:gd name="T17" fmla="*/ 82 h 87"/>
                  <a:gd name="T18" fmla="*/ 7 w 51"/>
                  <a:gd name="T19" fmla="*/ 83 h 87"/>
                  <a:gd name="T20" fmla="*/ 5 w 51"/>
                  <a:gd name="T21" fmla="*/ 82 h 87"/>
                  <a:gd name="T22" fmla="*/ 5 w 51"/>
                  <a:gd name="T23" fmla="*/ 85 h 87"/>
                  <a:gd name="T24" fmla="*/ 4 w 51"/>
                  <a:gd name="T25" fmla="*/ 83 h 87"/>
                  <a:gd name="T26" fmla="*/ 4 w 51"/>
                  <a:gd name="T27" fmla="*/ 85 h 87"/>
                  <a:gd name="T28" fmla="*/ 2 w 51"/>
                  <a:gd name="T29" fmla="*/ 83 h 87"/>
                  <a:gd name="T30" fmla="*/ 4 w 51"/>
                  <a:gd name="T31" fmla="*/ 82 h 87"/>
                  <a:gd name="T32" fmla="*/ 2 w 51"/>
                  <a:gd name="T33" fmla="*/ 82 h 87"/>
                  <a:gd name="T34" fmla="*/ 0 w 51"/>
                  <a:gd name="T35" fmla="*/ 76 h 87"/>
                  <a:gd name="T36" fmla="*/ 0 w 51"/>
                  <a:gd name="T37" fmla="*/ 73 h 87"/>
                  <a:gd name="T38" fmla="*/ 2 w 51"/>
                  <a:gd name="T39" fmla="*/ 70 h 87"/>
                  <a:gd name="T40" fmla="*/ 4 w 51"/>
                  <a:gd name="T41" fmla="*/ 68 h 87"/>
                  <a:gd name="T42" fmla="*/ 5 w 51"/>
                  <a:gd name="T43" fmla="*/ 68 h 87"/>
                  <a:gd name="T44" fmla="*/ 7 w 51"/>
                  <a:gd name="T45" fmla="*/ 66 h 87"/>
                  <a:gd name="T46" fmla="*/ 12 w 51"/>
                  <a:gd name="T47" fmla="*/ 66 h 87"/>
                  <a:gd name="T48" fmla="*/ 51 w 51"/>
                  <a:gd name="T49" fmla="*/ 2 h 87"/>
                  <a:gd name="T50" fmla="*/ 50 w 51"/>
                  <a:gd name="T51" fmla="*/ 3 h 87"/>
                  <a:gd name="T52" fmla="*/ 51 w 51"/>
                  <a:gd name="T53" fmla="*/ 5 h 87"/>
                  <a:gd name="T54" fmla="*/ 50 w 51"/>
                  <a:gd name="T55" fmla="*/ 5 h 87"/>
                  <a:gd name="T56" fmla="*/ 50 w 51"/>
                  <a:gd name="T57" fmla="*/ 8 h 87"/>
                  <a:gd name="T58" fmla="*/ 48 w 51"/>
                  <a:gd name="T59" fmla="*/ 8 h 87"/>
                  <a:gd name="T60" fmla="*/ 46 w 51"/>
                  <a:gd name="T61" fmla="*/ 7 h 87"/>
                  <a:gd name="T62" fmla="*/ 44 w 51"/>
                  <a:gd name="T63" fmla="*/ 8 h 87"/>
                  <a:gd name="T64" fmla="*/ 44 w 51"/>
                  <a:gd name="T65" fmla="*/ 5 h 87"/>
                  <a:gd name="T66" fmla="*/ 46 w 51"/>
                  <a:gd name="T67" fmla="*/ 5 h 87"/>
                  <a:gd name="T68" fmla="*/ 46 w 51"/>
                  <a:gd name="T69" fmla="*/ 2 h 87"/>
                  <a:gd name="T70" fmla="*/ 48 w 51"/>
                  <a:gd name="T71" fmla="*/ 0 h 87"/>
                  <a:gd name="T72" fmla="*/ 51 w 51"/>
                  <a:gd name="T73" fmla="*/ 2 h 87"/>
                  <a:gd name="T74" fmla="*/ 2 w 51"/>
                  <a:gd name="T75" fmla="*/ 87 h 87"/>
                  <a:gd name="T76" fmla="*/ 4 w 51"/>
                  <a:gd name="T77" fmla="*/ 87 h 87"/>
                  <a:gd name="T78" fmla="*/ 2 w 51"/>
                  <a:gd name="T7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87">
                    <a:moveTo>
                      <a:pt x="12" y="66"/>
                    </a:moveTo>
                    <a:lnTo>
                      <a:pt x="14" y="68"/>
                    </a:lnTo>
                    <a:lnTo>
                      <a:pt x="12" y="68"/>
                    </a:lnTo>
                    <a:lnTo>
                      <a:pt x="14" y="70"/>
                    </a:lnTo>
                    <a:lnTo>
                      <a:pt x="16" y="71"/>
                    </a:lnTo>
                    <a:lnTo>
                      <a:pt x="14" y="73"/>
                    </a:lnTo>
                    <a:lnTo>
                      <a:pt x="14" y="75"/>
                    </a:lnTo>
                    <a:lnTo>
                      <a:pt x="9" y="80"/>
                    </a:lnTo>
                    <a:lnTo>
                      <a:pt x="10" y="82"/>
                    </a:lnTo>
                    <a:lnTo>
                      <a:pt x="7" y="83"/>
                    </a:lnTo>
                    <a:lnTo>
                      <a:pt x="5" y="82"/>
                    </a:lnTo>
                    <a:lnTo>
                      <a:pt x="5" y="85"/>
                    </a:lnTo>
                    <a:lnTo>
                      <a:pt x="4" y="83"/>
                    </a:lnTo>
                    <a:lnTo>
                      <a:pt x="4" y="85"/>
                    </a:lnTo>
                    <a:lnTo>
                      <a:pt x="2" y="83"/>
                    </a:lnTo>
                    <a:lnTo>
                      <a:pt x="4" y="82"/>
                    </a:lnTo>
                    <a:lnTo>
                      <a:pt x="2" y="82"/>
                    </a:lnTo>
                    <a:lnTo>
                      <a:pt x="0" y="76"/>
                    </a:lnTo>
                    <a:lnTo>
                      <a:pt x="0" y="73"/>
                    </a:lnTo>
                    <a:lnTo>
                      <a:pt x="2" y="70"/>
                    </a:lnTo>
                    <a:lnTo>
                      <a:pt x="4" y="68"/>
                    </a:lnTo>
                    <a:lnTo>
                      <a:pt x="5" y="68"/>
                    </a:lnTo>
                    <a:lnTo>
                      <a:pt x="7" y="66"/>
                    </a:lnTo>
                    <a:lnTo>
                      <a:pt x="12" y="66"/>
                    </a:lnTo>
                    <a:close/>
                    <a:moveTo>
                      <a:pt x="51" y="2"/>
                    </a:moveTo>
                    <a:lnTo>
                      <a:pt x="50" y="3"/>
                    </a:lnTo>
                    <a:lnTo>
                      <a:pt x="51" y="5"/>
                    </a:lnTo>
                    <a:lnTo>
                      <a:pt x="50" y="5"/>
                    </a:lnTo>
                    <a:lnTo>
                      <a:pt x="50" y="8"/>
                    </a:lnTo>
                    <a:lnTo>
                      <a:pt x="48" y="8"/>
                    </a:lnTo>
                    <a:lnTo>
                      <a:pt x="46" y="7"/>
                    </a:lnTo>
                    <a:lnTo>
                      <a:pt x="44" y="8"/>
                    </a:lnTo>
                    <a:lnTo>
                      <a:pt x="44" y="5"/>
                    </a:lnTo>
                    <a:lnTo>
                      <a:pt x="46" y="5"/>
                    </a:lnTo>
                    <a:lnTo>
                      <a:pt x="46" y="2"/>
                    </a:lnTo>
                    <a:lnTo>
                      <a:pt x="48" y="0"/>
                    </a:lnTo>
                    <a:lnTo>
                      <a:pt x="51" y="2"/>
                    </a:lnTo>
                    <a:close/>
                    <a:moveTo>
                      <a:pt x="2" y="87"/>
                    </a:moveTo>
                    <a:lnTo>
                      <a:pt x="4" y="87"/>
                    </a:lnTo>
                    <a:lnTo>
                      <a:pt x="2" y="87"/>
                    </a:lnTo>
                    <a:close/>
                  </a:path>
                </a:pathLst>
              </a:custGeom>
              <a:solidFill>
                <a:srgbClr val="303D2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7" name="Freeform 50">
                <a:extLst>
                  <a:ext uri="{FF2B5EF4-FFF2-40B4-BE49-F238E27FC236}">
                    <a16:creationId xmlns:a16="http://schemas.microsoft.com/office/drawing/2014/main" id="{1B207B61-A326-4AEA-8481-3BE183DE4BF4}"/>
                  </a:ext>
                </a:extLst>
              </p:cNvPr>
              <p:cNvSpPr>
                <a:spLocks noEditPoints="1"/>
              </p:cNvSpPr>
              <p:nvPr/>
            </p:nvSpPr>
            <p:spPr bwMode="gray">
              <a:xfrm>
                <a:off x="7777494" y="2730595"/>
                <a:ext cx="319479" cy="225574"/>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8" name="Freeform 51">
                <a:extLst>
                  <a:ext uri="{FF2B5EF4-FFF2-40B4-BE49-F238E27FC236}">
                    <a16:creationId xmlns:a16="http://schemas.microsoft.com/office/drawing/2014/main" id="{231B99A2-3660-4CB4-9FE7-13C820525CC0}"/>
                  </a:ext>
                </a:extLst>
              </p:cNvPr>
              <p:cNvSpPr>
                <a:spLocks noEditPoints="1"/>
              </p:cNvSpPr>
              <p:nvPr/>
            </p:nvSpPr>
            <p:spPr bwMode="gray">
              <a:xfrm>
                <a:off x="7995924" y="3076612"/>
                <a:ext cx="156167" cy="159229"/>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29" name="Freeform 52">
                <a:extLst>
                  <a:ext uri="{FF2B5EF4-FFF2-40B4-BE49-F238E27FC236}">
                    <a16:creationId xmlns:a16="http://schemas.microsoft.com/office/drawing/2014/main" id="{2CF5B8A0-147B-4560-B6B6-0FE54F36790F}"/>
                  </a:ext>
                </a:extLst>
              </p:cNvPr>
              <p:cNvSpPr>
                <a:spLocks noEditPoints="1"/>
              </p:cNvSpPr>
              <p:nvPr/>
            </p:nvSpPr>
            <p:spPr bwMode="gray">
              <a:xfrm>
                <a:off x="10802847" y="2973521"/>
                <a:ext cx="537909" cy="705304"/>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0" name="Freeform 54">
                <a:extLst>
                  <a:ext uri="{FF2B5EF4-FFF2-40B4-BE49-F238E27FC236}">
                    <a16:creationId xmlns:a16="http://schemas.microsoft.com/office/drawing/2014/main" id="{60245A9B-7ECA-425B-B1DF-EBD5A14160C0}"/>
                  </a:ext>
                </a:extLst>
              </p:cNvPr>
              <p:cNvSpPr>
                <a:spLocks/>
              </p:cNvSpPr>
              <p:nvPr/>
            </p:nvSpPr>
            <p:spPr bwMode="gray">
              <a:xfrm>
                <a:off x="9932191" y="2962294"/>
                <a:ext cx="575675" cy="451149"/>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1" name="Freeform 55">
                <a:extLst>
                  <a:ext uri="{FF2B5EF4-FFF2-40B4-BE49-F238E27FC236}">
                    <a16:creationId xmlns:a16="http://schemas.microsoft.com/office/drawing/2014/main" id="{E8AA7DA6-B275-4920-A780-A0C06A77B404}"/>
                  </a:ext>
                </a:extLst>
              </p:cNvPr>
              <p:cNvSpPr>
                <a:spLocks noEditPoints="1"/>
              </p:cNvSpPr>
              <p:nvPr/>
            </p:nvSpPr>
            <p:spPr bwMode="gray">
              <a:xfrm>
                <a:off x="9810728" y="2455006"/>
                <a:ext cx="870657" cy="688972"/>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2" name="Freeform 56">
                <a:extLst>
                  <a:ext uri="{FF2B5EF4-FFF2-40B4-BE49-F238E27FC236}">
                    <a16:creationId xmlns:a16="http://schemas.microsoft.com/office/drawing/2014/main" id="{F47BF149-5D1F-4D25-A6AF-C871DEB169D2}"/>
                  </a:ext>
                </a:extLst>
              </p:cNvPr>
              <p:cNvSpPr>
                <a:spLocks/>
              </p:cNvSpPr>
              <p:nvPr/>
            </p:nvSpPr>
            <p:spPr bwMode="gray">
              <a:xfrm>
                <a:off x="10276166" y="4924078"/>
                <a:ext cx="69407" cy="82677"/>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3" name="Freeform 57">
                <a:extLst>
                  <a:ext uri="{FF2B5EF4-FFF2-40B4-BE49-F238E27FC236}">
                    <a16:creationId xmlns:a16="http://schemas.microsoft.com/office/drawing/2014/main" id="{44E7428A-3C9A-4EC4-A4C4-89442D7C446B}"/>
                  </a:ext>
                </a:extLst>
              </p:cNvPr>
              <p:cNvSpPr>
                <a:spLocks noEditPoints="1"/>
              </p:cNvSpPr>
              <p:nvPr/>
            </p:nvSpPr>
            <p:spPr bwMode="gray">
              <a:xfrm>
                <a:off x="10202676" y="3644121"/>
                <a:ext cx="571592" cy="557302"/>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solidFill>
                <a:schemeClr val="accent5"/>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4" name="Freeform 58">
                <a:extLst>
                  <a:ext uri="{FF2B5EF4-FFF2-40B4-BE49-F238E27FC236}">
                    <a16:creationId xmlns:a16="http://schemas.microsoft.com/office/drawing/2014/main" id="{E6F6C0A0-2C71-4B37-AF35-C8A6349B202B}"/>
                  </a:ext>
                </a:extLst>
              </p:cNvPr>
              <p:cNvSpPr>
                <a:spLocks/>
              </p:cNvSpPr>
              <p:nvPr/>
            </p:nvSpPr>
            <p:spPr bwMode="gray">
              <a:xfrm>
                <a:off x="8675710" y="3017411"/>
                <a:ext cx="101049" cy="260279"/>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5" name="Freeform 60">
                <a:extLst>
                  <a:ext uri="{FF2B5EF4-FFF2-40B4-BE49-F238E27FC236}">
                    <a16:creationId xmlns:a16="http://schemas.microsoft.com/office/drawing/2014/main" id="{8E1BAC1F-61BF-465D-A52F-F9C2FAB83099}"/>
                  </a:ext>
                </a:extLst>
              </p:cNvPr>
              <p:cNvSpPr>
                <a:spLocks/>
              </p:cNvSpPr>
              <p:nvPr/>
            </p:nvSpPr>
            <p:spPr bwMode="gray">
              <a:xfrm>
                <a:off x="10211862" y="3374656"/>
                <a:ext cx="282733" cy="296003"/>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solidFill>
                <a:schemeClr val="accent5"/>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6" name="Freeform 61">
                <a:extLst>
                  <a:ext uri="{FF2B5EF4-FFF2-40B4-BE49-F238E27FC236}">
                    <a16:creationId xmlns:a16="http://schemas.microsoft.com/office/drawing/2014/main" id="{22F0078D-69CC-49DB-A2AC-9093FFE5C484}"/>
                  </a:ext>
                </a:extLst>
              </p:cNvPr>
              <p:cNvSpPr>
                <a:spLocks/>
              </p:cNvSpPr>
              <p:nvPr/>
            </p:nvSpPr>
            <p:spPr bwMode="gray">
              <a:xfrm>
                <a:off x="7799949" y="2161045"/>
                <a:ext cx="435838" cy="358265"/>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7" name="Freeform 62">
                <a:extLst>
                  <a:ext uri="{FF2B5EF4-FFF2-40B4-BE49-F238E27FC236}">
                    <a16:creationId xmlns:a16="http://schemas.microsoft.com/office/drawing/2014/main" id="{6B7E097A-2200-47B7-ADE8-F4B09DB554F5}"/>
                  </a:ext>
                </a:extLst>
              </p:cNvPr>
              <p:cNvSpPr>
                <a:spLocks/>
              </p:cNvSpPr>
              <p:nvPr/>
            </p:nvSpPr>
            <p:spPr bwMode="gray">
              <a:xfrm>
                <a:off x="9820935" y="4018717"/>
                <a:ext cx="604254" cy="509329"/>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8" name="Freeform 63">
                <a:extLst>
                  <a:ext uri="{FF2B5EF4-FFF2-40B4-BE49-F238E27FC236}">
                    <a16:creationId xmlns:a16="http://schemas.microsoft.com/office/drawing/2014/main" id="{278FB384-2E1A-4E2C-A758-368003B54814}"/>
                  </a:ext>
                </a:extLst>
              </p:cNvPr>
              <p:cNvSpPr>
                <a:spLocks/>
              </p:cNvSpPr>
              <p:nvPr/>
            </p:nvSpPr>
            <p:spPr bwMode="gray">
              <a:xfrm>
                <a:off x="9987308" y="4401479"/>
                <a:ext cx="405218" cy="352141"/>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solidFill>
                <a:schemeClr val="accent5"/>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39" name="Freeform 64">
                <a:extLst>
                  <a:ext uri="{FF2B5EF4-FFF2-40B4-BE49-F238E27FC236}">
                    <a16:creationId xmlns:a16="http://schemas.microsoft.com/office/drawing/2014/main" id="{5E903A14-CB65-4EE8-BC0B-A8F38E940C2D}"/>
                  </a:ext>
                </a:extLst>
              </p:cNvPr>
              <p:cNvSpPr>
                <a:spLocks/>
              </p:cNvSpPr>
              <p:nvPr/>
            </p:nvSpPr>
            <p:spPr bwMode="gray">
              <a:xfrm>
                <a:off x="8384810" y="4414749"/>
                <a:ext cx="7145" cy="7146"/>
              </a:xfrm>
              <a:custGeom>
                <a:avLst/>
                <a:gdLst>
                  <a:gd name="T0" fmla="*/ 7 w 7"/>
                  <a:gd name="T1" fmla="*/ 2 h 7"/>
                  <a:gd name="T2" fmla="*/ 7 w 7"/>
                  <a:gd name="T3" fmla="*/ 4 h 7"/>
                  <a:gd name="T4" fmla="*/ 1 w 7"/>
                  <a:gd name="T5" fmla="*/ 7 h 7"/>
                  <a:gd name="T6" fmla="*/ 0 w 7"/>
                  <a:gd name="T7" fmla="*/ 5 h 7"/>
                  <a:gd name="T8" fmla="*/ 3 w 7"/>
                  <a:gd name="T9" fmla="*/ 0 h 7"/>
                  <a:gd name="T10" fmla="*/ 7 w 7"/>
                  <a:gd name="T11" fmla="*/ 2 h 7"/>
                </a:gdLst>
                <a:ahLst/>
                <a:cxnLst>
                  <a:cxn ang="0">
                    <a:pos x="T0" y="T1"/>
                  </a:cxn>
                  <a:cxn ang="0">
                    <a:pos x="T2" y="T3"/>
                  </a:cxn>
                  <a:cxn ang="0">
                    <a:pos x="T4" y="T5"/>
                  </a:cxn>
                  <a:cxn ang="0">
                    <a:pos x="T6" y="T7"/>
                  </a:cxn>
                  <a:cxn ang="0">
                    <a:pos x="T8" y="T9"/>
                  </a:cxn>
                  <a:cxn ang="0">
                    <a:pos x="T10" y="T11"/>
                  </a:cxn>
                </a:cxnLst>
                <a:rect l="0" t="0" r="r" b="b"/>
                <a:pathLst>
                  <a:path w="7" h="7">
                    <a:moveTo>
                      <a:pt x="7" y="2"/>
                    </a:moveTo>
                    <a:lnTo>
                      <a:pt x="7" y="4"/>
                    </a:lnTo>
                    <a:lnTo>
                      <a:pt x="1" y="7"/>
                    </a:lnTo>
                    <a:lnTo>
                      <a:pt x="0" y="5"/>
                    </a:lnTo>
                    <a:lnTo>
                      <a:pt x="3" y="0"/>
                    </a:lnTo>
                    <a:lnTo>
                      <a:pt x="7"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grpSp>
            <p:nvGrpSpPr>
              <p:cNvPr id="240" name="Group 239">
                <a:extLst>
                  <a:ext uri="{FF2B5EF4-FFF2-40B4-BE49-F238E27FC236}">
                    <a16:creationId xmlns:a16="http://schemas.microsoft.com/office/drawing/2014/main" id="{2DACB0BD-7E0C-4752-A4C1-5552B7A6E3B6}"/>
                  </a:ext>
                </a:extLst>
              </p:cNvPr>
              <p:cNvGrpSpPr/>
              <p:nvPr/>
            </p:nvGrpSpPr>
            <p:grpSpPr>
              <a:xfrm>
                <a:off x="10701857" y="1627324"/>
                <a:ext cx="1209098" cy="184666"/>
                <a:chOff x="10542218" y="2377191"/>
                <a:chExt cx="1209098" cy="184666"/>
              </a:xfrm>
            </p:grpSpPr>
            <p:sp>
              <p:nvSpPr>
                <p:cNvPr id="244" name="Legend4">
                  <a:extLst>
                    <a:ext uri="{FF2B5EF4-FFF2-40B4-BE49-F238E27FC236}">
                      <a16:creationId xmlns:a16="http://schemas.microsoft.com/office/drawing/2014/main" id="{2691E727-BCFC-450A-87DF-D168C54095AF}"/>
                    </a:ext>
                  </a:extLst>
                </p:cNvPr>
                <p:cNvSpPr>
                  <a:spLocks noChangeArrowheads="1"/>
                </p:cNvSpPr>
                <p:nvPr/>
              </p:nvSpPr>
              <p:spPr bwMode="auto">
                <a:xfrm>
                  <a:off x="10880885" y="2377191"/>
                  <a:ext cx="87043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POE training</a:t>
                  </a:r>
                </a:p>
              </p:txBody>
            </p:sp>
            <p:sp>
              <p:nvSpPr>
                <p:cNvPr id="245" name="RectangleLegend4">
                  <a:extLst>
                    <a:ext uri="{FF2B5EF4-FFF2-40B4-BE49-F238E27FC236}">
                      <a16:creationId xmlns:a16="http://schemas.microsoft.com/office/drawing/2014/main" id="{C2BA419B-82C0-43F3-8D13-175673DA0353}"/>
                    </a:ext>
                  </a:extLst>
                </p:cNvPr>
                <p:cNvSpPr>
                  <a:spLocks noChangeArrowheads="1"/>
                </p:cNvSpPr>
                <p:nvPr/>
              </p:nvSpPr>
              <p:spPr bwMode="auto">
                <a:xfrm>
                  <a:off x="10542218" y="2388304"/>
                  <a:ext cx="220134" cy="160338"/>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800" kern="1200" dirty="0">
                    <a:ea typeface="+mn-ea"/>
                    <a:cs typeface="+mn-cs"/>
                  </a:endParaRPr>
                </a:p>
              </p:txBody>
            </p:sp>
          </p:grpSp>
          <p:grpSp>
            <p:nvGrpSpPr>
              <p:cNvPr id="241" name="Group 240">
                <a:extLst>
                  <a:ext uri="{FF2B5EF4-FFF2-40B4-BE49-F238E27FC236}">
                    <a16:creationId xmlns:a16="http://schemas.microsoft.com/office/drawing/2014/main" id="{42667446-D79B-4E6B-A9EC-AE0FCA734CE0}"/>
                  </a:ext>
                </a:extLst>
              </p:cNvPr>
              <p:cNvGrpSpPr/>
              <p:nvPr/>
            </p:nvGrpSpPr>
            <p:grpSpPr>
              <a:xfrm>
                <a:off x="11309329" y="4682271"/>
                <a:ext cx="135479" cy="90105"/>
                <a:chOff x="11303160" y="4849485"/>
                <a:chExt cx="130713" cy="86935"/>
              </a:xfrm>
            </p:grpSpPr>
            <p:sp>
              <p:nvSpPr>
                <p:cNvPr id="242" name="Google Shape;1005;p93">
                  <a:extLst>
                    <a:ext uri="{FF2B5EF4-FFF2-40B4-BE49-F238E27FC236}">
                      <a16:creationId xmlns:a16="http://schemas.microsoft.com/office/drawing/2014/main" id="{20BC4367-DA8E-4B3C-92B2-2B2E9CED7E8E}"/>
                    </a:ext>
                  </a:extLst>
                </p:cNvPr>
                <p:cNvSpPr/>
                <p:nvPr/>
              </p:nvSpPr>
              <p:spPr>
                <a:xfrm rot="1885795">
                  <a:off x="11388160" y="4849485"/>
                  <a:ext cx="45713" cy="53079"/>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chemeClr val="tx2"/>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fontAlgn="base">
                    <a:spcBef>
                      <a:spcPct val="0"/>
                    </a:spcBef>
                    <a:spcAft>
                      <a:spcPct val="0"/>
                    </a:spcAft>
                    <a:buClrTx/>
                    <a:buSzPts val="1500"/>
                    <a:buFontTx/>
                    <a:buNone/>
                  </a:pPr>
                  <a:endParaRPr sz="1500" kern="1200">
                    <a:latin typeface="Calibri"/>
                    <a:ea typeface="Calibri"/>
                    <a:cs typeface="Calibri"/>
                    <a:sym typeface="Calibri"/>
                  </a:endParaRPr>
                </a:p>
              </p:txBody>
            </p:sp>
            <p:sp>
              <p:nvSpPr>
                <p:cNvPr id="243" name="Google Shape;1006;p93">
                  <a:extLst>
                    <a:ext uri="{FF2B5EF4-FFF2-40B4-BE49-F238E27FC236}">
                      <a16:creationId xmlns:a16="http://schemas.microsoft.com/office/drawing/2014/main" id="{354C5DE3-8FF1-4466-86D5-A6EFA1F7DF27}"/>
                    </a:ext>
                  </a:extLst>
                </p:cNvPr>
                <p:cNvSpPr/>
                <p:nvPr/>
              </p:nvSpPr>
              <p:spPr>
                <a:xfrm rot="16635490">
                  <a:off x="11306843" y="4887024"/>
                  <a:ext cx="45713" cy="53079"/>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B9AB97"/>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fontAlgn="base">
                    <a:spcBef>
                      <a:spcPct val="0"/>
                    </a:spcBef>
                    <a:spcAft>
                      <a:spcPct val="0"/>
                    </a:spcAft>
                    <a:buClrTx/>
                    <a:buSzPts val="1500"/>
                    <a:buFontTx/>
                    <a:buNone/>
                  </a:pPr>
                  <a:endParaRPr sz="1500" kern="1200">
                    <a:latin typeface="Calibri"/>
                    <a:ea typeface="Calibri"/>
                    <a:cs typeface="Calibri"/>
                    <a:sym typeface="Calibri"/>
                  </a:endParaRPr>
                </a:p>
              </p:txBody>
            </p:sp>
          </p:grpSp>
        </p:grpSp>
        <p:sp>
          <p:nvSpPr>
            <p:cNvPr id="112" name="Freeform 53">
              <a:extLst>
                <a:ext uri="{FF2B5EF4-FFF2-40B4-BE49-F238E27FC236}">
                  <a16:creationId xmlns:a16="http://schemas.microsoft.com/office/drawing/2014/main" id="{3A532771-EF9C-4707-8269-0C527E3CB70D}"/>
                </a:ext>
              </a:extLst>
            </p:cNvPr>
            <p:cNvSpPr>
              <a:spLocks noEditPoints="1"/>
            </p:cNvSpPr>
            <p:nvPr/>
          </p:nvSpPr>
          <p:spPr bwMode="gray">
            <a:xfrm>
              <a:off x="9427262" y="4507983"/>
              <a:ext cx="867595" cy="678346"/>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14" name="Legend4">
              <a:extLst>
                <a:ext uri="{FF2B5EF4-FFF2-40B4-BE49-F238E27FC236}">
                  <a16:creationId xmlns:a16="http://schemas.microsoft.com/office/drawing/2014/main" id="{1B5603CA-F238-454B-82CE-21617EC12ABB}"/>
                </a:ext>
              </a:extLst>
            </p:cNvPr>
            <p:cNvSpPr>
              <a:spLocks noChangeArrowheads="1"/>
            </p:cNvSpPr>
            <p:nvPr/>
          </p:nvSpPr>
          <p:spPr bwMode="auto">
            <a:xfrm>
              <a:off x="10939150" y="1659263"/>
              <a:ext cx="85279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EBS training</a:t>
              </a:r>
            </a:p>
          </p:txBody>
        </p:sp>
        <p:sp>
          <p:nvSpPr>
            <p:cNvPr id="115" name="RectangleLegend4">
              <a:extLst>
                <a:ext uri="{FF2B5EF4-FFF2-40B4-BE49-F238E27FC236}">
                  <a16:creationId xmlns:a16="http://schemas.microsoft.com/office/drawing/2014/main" id="{1A172C4A-A918-4A1B-8334-BEE0F765137D}"/>
                </a:ext>
              </a:extLst>
            </p:cNvPr>
            <p:cNvSpPr>
              <a:spLocks noChangeArrowheads="1"/>
            </p:cNvSpPr>
            <p:nvPr/>
          </p:nvSpPr>
          <p:spPr bwMode="auto">
            <a:xfrm>
              <a:off x="10603856" y="1648755"/>
              <a:ext cx="220134" cy="160338"/>
            </a:xfrm>
            <a:prstGeom prst="rect">
              <a:avLst/>
            </a:prstGeom>
            <a:solidFill>
              <a:schemeClr val="accent5"/>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800" kern="1200" dirty="0">
                <a:ea typeface="+mn-ea"/>
                <a:cs typeface="+mn-cs"/>
              </a:endParaRPr>
            </a:p>
          </p:txBody>
        </p:sp>
        <p:sp>
          <p:nvSpPr>
            <p:cNvPr id="116" name="Legend4">
              <a:extLst>
                <a:ext uri="{FF2B5EF4-FFF2-40B4-BE49-F238E27FC236}">
                  <a16:creationId xmlns:a16="http://schemas.microsoft.com/office/drawing/2014/main" id="{09BFFB76-1E99-4813-A933-E34D1D762F3D}"/>
                </a:ext>
              </a:extLst>
            </p:cNvPr>
            <p:cNvSpPr>
              <a:spLocks noChangeArrowheads="1"/>
            </p:cNvSpPr>
            <p:nvPr/>
          </p:nvSpPr>
          <p:spPr bwMode="auto">
            <a:xfrm>
              <a:off x="10937255" y="1883901"/>
              <a:ext cx="93775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Both trainings</a:t>
              </a:r>
            </a:p>
          </p:txBody>
        </p:sp>
        <p:sp>
          <p:nvSpPr>
            <p:cNvPr id="117" name="RectangleLegend4">
              <a:extLst>
                <a:ext uri="{FF2B5EF4-FFF2-40B4-BE49-F238E27FC236}">
                  <a16:creationId xmlns:a16="http://schemas.microsoft.com/office/drawing/2014/main" id="{CCEF8B14-F437-4033-927F-327DA7C62F7F}"/>
                </a:ext>
              </a:extLst>
            </p:cNvPr>
            <p:cNvSpPr>
              <a:spLocks noChangeArrowheads="1"/>
            </p:cNvSpPr>
            <p:nvPr/>
          </p:nvSpPr>
          <p:spPr bwMode="auto">
            <a:xfrm>
              <a:off x="10606801" y="1877367"/>
              <a:ext cx="220134" cy="160338"/>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800" kern="1200" dirty="0">
                <a:ea typeface="+mn-ea"/>
                <a:cs typeface="+mn-cs"/>
              </a:endParaRPr>
            </a:p>
          </p:txBody>
        </p:sp>
      </p:grpSp>
    </p:spTree>
    <p:extLst>
      <p:ext uri="{BB962C8B-B14F-4D97-AF65-F5344CB8AC3E}">
        <p14:creationId xmlns:p14="http://schemas.microsoft.com/office/powerpoint/2010/main" val="5273588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6E4BD1-6DDD-42CE-9E79-2515151134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1" name="think-cell Slide" r:id="rId7" imgW="451" imgH="450" progId="TCLayout.ActiveDocument.1">
                  <p:embed/>
                </p:oleObj>
              </mc:Choice>
              <mc:Fallback>
                <p:oleObj name="think-cell Slide" r:id="rId7" imgW="451" imgH="45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17D3BC-C387-4E33-BFF0-3AEF382FF662}"/>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err="1">
              <a:solidFill>
                <a:srgbClr val="000000"/>
              </a:solidFill>
              <a:sym typeface="Arial" panose="020B0604020202020204" pitchFamily="34" charset="0"/>
            </a:endParaRPr>
          </a:p>
        </p:txBody>
      </p:sp>
      <p:sp>
        <p:nvSpPr>
          <p:cNvPr id="2" name="Title 1">
            <a:extLst>
              <a:ext uri="{FF2B5EF4-FFF2-40B4-BE49-F238E27FC236}">
                <a16:creationId xmlns:a16="http://schemas.microsoft.com/office/drawing/2014/main" id="{9FA23DC8-F3A8-4771-8882-4CA263A26CB4}"/>
              </a:ext>
            </a:extLst>
          </p:cNvPr>
          <p:cNvSpPr>
            <a:spLocks noGrp="1"/>
          </p:cNvSpPr>
          <p:nvPr>
            <p:ph type="title"/>
          </p:nvPr>
        </p:nvSpPr>
        <p:spPr>
          <a:xfrm>
            <a:off x="84665" y="35157"/>
            <a:ext cx="12291894" cy="738664"/>
          </a:xfrm>
        </p:spPr>
        <p:txBody>
          <a:bodyPr/>
          <a:lstStyle/>
          <a:p>
            <a:r>
              <a:rPr lang="en-US" b="1" dirty="0"/>
              <a:t>Laboratory in Feb. 2020: </a:t>
            </a:r>
            <a:r>
              <a:rPr lang="en-US" dirty="0"/>
              <a:t>Africa CDC, and other partners are rolling out a series of trainings in order to ensure MS has access to diagnostic capabilities for COVID-19</a:t>
            </a:r>
          </a:p>
        </p:txBody>
      </p:sp>
      <p:sp>
        <p:nvSpPr>
          <p:cNvPr id="33" name="TextBox 32">
            <a:extLst>
              <a:ext uri="{FF2B5EF4-FFF2-40B4-BE49-F238E27FC236}">
                <a16:creationId xmlns:a16="http://schemas.microsoft.com/office/drawing/2014/main" id="{57C55761-1D6C-4C1B-991E-0E2EF4AE97B1}"/>
              </a:ext>
            </a:extLst>
          </p:cNvPr>
          <p:cNvSpPr txBox="1"/>
          <p:nvPr/>
        </p:nvSpPr>
        <p:spPr>
          <a:xfrm>
            <a:off x="292250" y="1021346"/>
            <a:ext cx="8933233" cy="61555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2000" b="1" kern="1200" dirty="0">
                <a:ea typeface="+mn-ea"/>
                <a:cs typeface="+mn-cs"/>
              </a:rPr>
              <a:t>Africa CDC and WHO are ramping the continent’s COVID-19 diagnostic capabilities…</a:t>
            </a:r>
          </a:p>
        </p:txBody>
      </p:sp>
      <p:sp>
        <p:nvSpPr>
          <p:cNvPr id="122" name="Legend4">
            <a:extLst>
              <a:ext uri="{FF2B5EF4-FFF2-40B4-BE49-F238E27FC236}">
                <a16:creationId xmlns:a16="http://schemas.microsoft.com/office/drawing/2014/main" id="{A270CF51-561E-49FE-8001-E25DC95477BD}"/>
              </a:ext>
            </a:extLst>
          </p:cNvPr>
          <p:cNvSpPr>
            <a:spLocks noChangeArrowheads="1"/>
          </p:cNvSpPr>
          <p:nvPr/>
        </p:nvSpPr>
        <p:spPr bwMode="auto">
          <a:xfrm>
            <a:off x="9635313" y="905053"/>
            <a:ext cx="243304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Countries with test kits and trained by Africa CDC</a:t>
            </a:r>
          </a:p>
        </p:txBody>
      </p:sp>
      <p:sp>
        <p:nvSpPr>
          <p:cNvPr id="123" name="RectangleLegend4">
            <a:extLst>
              <a:ext uri="{FF2B5EF4-FFF2-40B4-BE49-F238E27FC236}">
                <a16:creationId xmlns:a16="http://schemas.microsoft.com/office/drawing/2014/main" id="{B24159C3-7F07-483D-A51A-81F63DC6CF5C}"/>
              </a:ext>
            </a:extLst>
          </p:cNvPr>
          <p:cNvSpPr>
            <a:spLocks noChangeArrowheads="1"/>
          </p:cNvSpPr>
          <p:nvPr/>
        </p:nvSpPr>
        <p:spPr bwMode="auto">
          <a:xfrm>
            <a:off x="9305201" y="1009550"/>
            <a:ext cx="220134" cy="160338"/>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sp>
        <p:nvSpPr>
          <p:cNvPr id="34" name="TextBox 33">
            <a:extLst>
              <a:ext uri="{FF2B5EF4-FFF2-40B4-BE49-F238E27FC236}">
                <a16:creationId xmlns:a16="http://schemas.microsoft.com/office/drawing/2014/main" id="{5E38D3AC-8D6D-4772-9449-11E4D4FFB702}"/>
              </a:ext>
            </a:extLst>
          </p:cNvPr>
          <p:cNvSpPr txBox="1"/>
          <p:nvPr/>
        </p:nvSpPr>
        <p:spPr>
          <a:xfrm>
            <a:off x="3282907" y="1640733"/>
            <a:ext cx="2196645" cy="24622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In January…</a:t>
            </a:r>
          </a:p>
        </p:txBody>
      </p:sp>
      <p:grpSp>
        <p:nvGrpSpPr>
          <p:cNvPr id="44" name="Group 43">
            <a:extLst>
              <a:ext uri="{FF2B5EF4-FFF2-40B4-BE49-F238E27FC236}">
                <a16:creationId xmlns:a16="http://schemas.microsoft.com/office/drawing/2014/main" id="{F9A607CD-586E-463A-8EE1-A796085B8235}"/>
              </a:ext>
            </a:extLst>
          </p:cNvPr>
          <p:cNvGrpSpPr/>
          <p:nvPr/>
        </p:nvGrpSpPr>
        <p:grpSpPr>
          <a:xfrm>
            <a:off x="5498095" y="1640733"/>
            <a:ext cx="522164" cy="493171"/>
            <a:chOff x="4701222" y="3015665"/>
            <a:chExt cx="620078" cy="620078"/>
          </a:xfrm>
        </p:grpSpPr>
        <p:sp>
          <p:nvSpPr>
            <p:cNvPr id="45" name="Oval 44">
              <a:extLst>
                <a:ext uri="{FF2B5EF4-FFF2-40B4-BE49-F238E27FC236}">
                  <a16:creationId xmlns:a16="http://schemas.microsoft.com/office/drawing/2014/main" id="{DB9A56B3-D995-4B0E-8585-8EC54490C4F7}"/>
                </a:ext>
              </a:extLst>
            </p:cNvPr>
            <p:cNvSpPr/>
            <p:nvPr/>
          </p:nvSpPr>
          <p:spPr>
            <a:xfrm>
              <a:off x="4701222" y="3015665"/>
              <a:ext cx="620078" cy="620078"/>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200" kern="1200" dirty="0">
                <a:solidFill>
                  <a:srgbClr val="FFFFFF"/>
                </a:solidFill>
              </a:endParaRPr>
            </a:p>
          </p:txBody>
        </p:sp>
        <p:grpSp>
          <p:nvGrpSpPr>
            <p:cNvPr id="46" name="DoubleChevron3 101">
              <a:extLst>
                <a:ext uri="{FF2B5EF4-FFF2-40B4-BE49-F238E27FC236}">
                  <a16:creationId xmlns:a16="http://schemas.microsoft.com/office/drawing/2014/main" id="{4B02F417-C067-42AB-8B30-C4FDF0A95F0A}"/>
                </a:ext>
              </a:extLst>
            </p:cNvPr>
            <p:cNvGrpSpPr/>
            <p:nvPr>
              <p:custDataLst>
                <p:tags r:id="rId5"/>
              </p:custDataLst>
            </p:nvPr>
          </p:nvGrpSpPr>
          <p:grpSpPr>
            <a:xfrm>
              <a:off x="4815522" y="3105154"/>
              <a:ext cx="391478" cy="441100"/>
              <a:chOff x="1270000" y="1270000"/>
              <a:chExt cx="450850" cy="508000"/>
            </a:xfrm>
          </p:grpSpPr>
          <p:sp>
            <p:nvSpPr>
              <p:cNvPr id="47" name="Chevron1">
                <a:extLst>
                  <a:ext uri="{FF2B5EF4-FFF2-40B4-BE49-F238E27FC236}">
                    <a16:creationId xmlns:a16="http://schemas.microsoft.com/office/drawing/2014/main" id="{2ED008A8-F079-4D80-AB54-B3CFB1197DB9}"/>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200" kern="1200" dirty="0">
                  <a:solidFill>
                    <a:srgbClr val="FFFFFF"/>
                  </a:solidFill>
                </a:endParaRPr>
              </a:p>
            </p:txBody>
          </p:sp>
          <p:sp>
            <p:nvSpPr>
              <p:cNvPr id="48" name="Chevron2">
                <a:extLst>
                  <a:ext uri="{FF2B5EF4-FFF2-40B4-BE49-F238E27FC236}">
                    <a16:creationId xmlns:a16="http://schemas.microsoft.com/office/drawing/2014/main" id="{2627AE64-3F19-48E1-BD30-0BC5405F62DF}"/>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200" kern="1200" dirty="0">
                  <a:solidFill>
                    <a:srgbClr val="FFFFFF"/>
                  </a:solidFill>
                </a:endParaRPr>
              </a:p>
            </p:txBody>
          </p:sp>
        </p:grpSp>
      </p:grpSp>
      <p:sp>
        <p:nvSpPr>
          <p:cNvPr id="166" name="TextBox 165">
            <a:extLst>
              <a:ext uri="{FF2B5EF4-FFF2-40B4-BE49-F238E27FC236}">
                <a16:creationId xmlns:a16="http://schemas.microsoft.com/office/drawing/2014/main" id="{5FB78454-730E-4694-BBA3-B19B12578DD8}"/>
              </a:ext>
            </a:extLst>
          </p:cNvPr>
          <p:cNvSpPr txBox="1"/>
          <p:nvPr/>
        </p:nvSpPr>
        <p:spPr>
          <a:xfrm>
            <a:off x="6113527" y="1640733"/>
            <a:ext cx="2196645" cy="24622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Early February…</a:t>
            </a:r>
          </a:p>
        </p:txBody>
      </p:sp>
      <p:sp>
        <p:nvSpPr>
          <p:cNvPr id="223" name="TextBox 222">
            <a:extLst>
              <a:ext uri="{FF2B5EF4-FFF2-40B4-BE49-F238E27FC236}">
                <a16:creationId xmlns:a16="http://schemas.microsoft.com/office/drawing/2014/main" id="{A30A1551-37F4-4B58-B517-67FF196195D0}"/>
              </a:ext>
            </a:extLst>
          </p:cNvPr>
          <p:cNvSpPr txBox="1"/>
          <p:nvPr/>
        </p:nvSpPr>
        <p:spPr>
          <a:xfrm>
            <a:off x="9133255" y="1640733"/>
            <a:ext cx="2196645" cy="24622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kern="1200" dirty="0">
                <a:ea typeface="+mn-ea"/>
                <a:cs typeface="+mn-cs"/>
              </a:rPr>
              <a:t>Today…</a:t>
            </a:r>
          </a:p>
        </p:txBody>
      </p:sp>
      <p:grpSp>
        <p:nvGrpSpPr>
          <p:cNvPr id="226" name="Group 225">
            <a:extLst>
              <a:ext uri="{FF2B5EF4-FFF2-40B4-BE49-F238E27FC236}">
                <a16:creationId xmlns:a16="http://schemas.microsoft.com/office/drawing/2014/main" id="{DC696080-9EF2-475A-ABBB-45CAD23117C5}"/>
              </a:ext>
            </a:extLst>
          </p:cNvPr>
          <p:cNvGrpSpPr/>
          <p:nvPr/>
        </p:nvGrpSpPr>
        <p:grpSpPr>
          <a:xfrm>
            <a:off x="8540293" y="1640733"/>
            <a:ext cx="522164" cy="493171"/>
            <a:chOff x="4701222" y="3015665"/>
            <a:chExt cx="620078" cy="620078"/>
          </a:xfrm>
        </p:grpSpPr>
        <p:sp>
          <p:nvSpPr>
            <p:cNvPr id="227" name="Oval 226">
              <a:extLst>
                <a:ext uri="{FF2B5EF4-FFF2-40B4-BE49-F238E27FC236}">
                  <a16:creationId xmlns:a16="http://schemas.microsoft.com/office/drawing/2014/main" id="{C83EDE2A-F3F1-4EB7-A328-6ADA379E2FA1}"/>
                </a:ext>
              </a:extLst>
            </p:cNvPr>
            <p:cNvSpPr/>
            <p:nvPr/>
          </p:nvSpPr>
          <p:spPr>
            <a:xfrm>
              <a:off x="4701222" y="3015665"/>
              <a:ext cx="620078" cy="620078"/>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200" kern="1200" dirty="0">
                <a:solidFill>
                  <a:srgbClr val="FFFFFF"/>
                </a:solidFill>
              </a:endParaRPr>
            </a:p>
          </p:txBody>
        </p:sp>
        <p:grpSp>
          <p:nvGrpSpPr>
            <p:cNvPr id="228" name="DoubleChevron3 101">
              <a:extLst>
                <a:ext uri="{FF2B5EF4-FFF2-40B4-BE49-F238E27FC236}">
                  <a16:creationId xmlns:a16="http://schemas.microsoft.com/office/drawing/2014/main" id="{2CFC0345-ED6D-4BB5-85EC-B1CD0E08D4DC}"/>
                </a:ext>
              </a:extLst>
            </p:cNvPr>
            <p:cNvGrpSpPr/>
            <p:nvPr>
              <p:custDataLst>
                <p:tags r:id="rId4"/>
              </p:custDataLst>
            </p:nvPr>
          </p:nvGrpSpPr>
          <p:grpSpPr>
            <a:xfrm>
              <a:off x="4815522" y="3105154"/>
              <a:ext cx="391478" cy="441100"/>
              <a:chOff x="1270000" y="1270000"/>
              <a:chExt cx="450850" cy="508000"/>
            </a:xfrm>
          </p:grpSpPr>
          <p:sp>
            <p:nvSpPr>
              <p:cNvPr id="229" name="Chevron1">
                <a:extLst>
                  <a:ext uri="{FF2B5EF4-FFF2-40B4-BE49-F238E27FC236}">
                    <a16:creationId xmlns:a16="http://schemas.microsoft.com/office/drawing/2014/main" id="{707F83C9-9DB6-493D-ADC7-1CF000B8BCDA}"/>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200" kern="1200" dirty="0">
                  <a:solidFill>
                    <a:srgbClr val="FFFFFF"/>
                  </a:solidFill>
                </a:endParaRPr>
              </a:p>
            </p:txBody>
          </p:sp>
          <p:sp>
            <p:nvSpPr>
              <p:cNvPr id="230" name="Chevron2">
                <a:extLst>
                  <a:ext uri="{FF2B5EF4-FFF2-40B4-BE49-F238E27FC236}">
                    <a16:creationId xmlns:a16="http://schemas.microsoft.com/office/drawing/2014/main" id="{A4739506-7502-4409-B8F2-649251581B84}"/>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200" kern="1200" dirty="0">
                  <a:solidFill>
                    <a:srgbClr val="FFFFFF"/>
                  </a:solidFill>
                </a:endParaRPr>
              </a:p>
            </p:txBody>
          </p:sp>
        </p:grpSp>
      </p:grpSp>
      <p:sp>
        <p:nvSpPr>
          <p:cNvPr id="40" name="TextBox 39">
            <a:extLst>
              <a:ext uri="{FF2B5EF4-FFF2-40B4-BE49-F238E27FC236}">
                <a16:creationId xmlns:a16="http://schemas.microsoft.com/office/drawing/2014/main" id="{664DDAFD-2B80-4A1C-B5FD-1C161231CD7B}"/>
              </a:ext>
            </a:extLst>
          </p:cNvPr>
          <p:cNvSpPr txBox="1"/>
          <p:nvPr/>
        </p:nvSpPr>
        <p:spPr>
          <a:xfrm>
            <a:off x="3284785" y="3684818"/>
            <a:ext cx="1021128" cy="369332"/>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200" b="1" kern="1200" dirty="0">
                <a:ea typeface="+mn-ea"/>
                <a:cs typeface="+mn-cs"/>
              </a:rPr>
              <a:t>No diagnostic capability</a:t>
            </a:r>
          </a:p>
        </p:txBody>
      </p:sp>
      <p:grpSp>
        <p:nvGrpSpPr>
          <p:cNvPr id="238" name="Group 237">
            <a:extLst>
              <a:ext uri="{FF2B5EF4-FFF2-40B4-BE49-F238E27FC236}">
                <a16:creationId xmlns:a16="http://schemas.microsoft.com/office/drawing/2014/main" id="{9703BE33-F42F-472A-AF82-319EC68C5135}"/>
              </a:ext>
            </a:extLst>
          </p:cNvPr>
          <p:cNvGrpSpPr/>
          <p:nvPr/>
        </p:nvGrpSpPr>
        <p:grpSpPr>
          <a:xfrm>
            <a:off x="8825109" y="3604110"/>
            <a:ext cx="1384379" cy="615553"/>
            <a:chOff x="322822" y="3739372"/>
            <a:chExt cx="1835175" cy="815996"/>
          </a:xfrm>
        </p:grpSpPr>
        <p:sp>
          <p:nvSpPr>
            <p:cNvPr id="240" name="TextBox 239">
              <a:extLst>
                <a:ext uri="{FF2B5EF4-FFF2-40B4-BE49-F238E27FC236}">
                  <a16:creationId xmlns:a16="http://schemas.microsoft.com/office/drawing/2014/main" id="{EEFB008B-9C98-4321-9F6C-7F8B1D5CE76A}"/>
                </a:ext>
              </a:extLst>
            </p:cNvPr>
            <p:cNvSpPr txBox="1"/>
            <p:nvPr/>
          </p:nvSpPr>
          <p:spPr>
            <a:xfrm>
              <a:off x="1080218" y="4126793"/>
              <a:ext cx="1077779" cy="285599"/>
            </a:xfrm>
            <a:prstGeom prst="rect">
              <a:avLst/>
            </a:prstGeom>
            <a:solidFill>
              <a:schemeClr val="bg1"/>
            </a:solidFill>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400" kern="1200" dirty="0">
                  <a:ea typeface="+mn-ea"/>
                  <a:cs typeface="+mn-cs"/>
                </a:rPr>
                <a:t>countries</a:t>
              </a:r>
            </a:p>
          </p:txBody>
        </p:sp>
        <p:sp>
          <p:nvSpPr>
            <p:cNvPr id="241" name="TextBox 240">
              <a:extLst>
                <a:ext uri="{FF2B5EF4-FFF2-40B4-BE49-F238E27FC236}">
                  <a16:creationId xmlns:a16="http://schemas.microsoft.com/office/drawing/2014/main" id="{CC4F7917-7B0B-4FD8-BFE0-2F45295C83B4}"/>
                </a:ext>
              </a:extLst>
            </p:cNvPr>
            <p:cNvSpPr txBox="1"/>
            <p:nvPr/>
          </p:nvSpPr>
          <p:spPr>
            <a:xfrm>
              <a:off x="322822" y="3739372"/>
              <a:ext cx="766409" cy="815996"/>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4000" b="1" kern="1200" dirty="0">
                  <a:solidFill>
                    <a:srgbClr val="303D24"/>
                  </a:solidFill>
                  <a:ea typeface="+mn-ea"/>
                  <a:cs typeface="+mn-cs"/>
                </a:rPr>
                <a:t>43</a:t>
              </a:r>
            </a:p>
          </p:txBody>
        </p:sp>
      </p:grpSp>
      <p:grpSp>
        <p:nvGrpSpPr>
          <p:cNvPr id="244" name="Group 243">
            <a:extLst>
              <a:ext uri="{FF2B5EF4-FFF2-40B4-BE49-F238E27FC236}">
                <a16:creationId xmlns:a16="http://schemas.microsoft.com/office/drawing/2014/main" id="{28A3AA9E-C84B-490D-8C41-BD1230A95673}"/>
              </a:ext>
            </a:extLst>
          </p:cNvPr>
          <p:cNvGrpSpPr/>
          <p:nvPr/>
        </p:nvGrpSpPr>
        <p:grpSpPr>
          <a:xfrm>
            <a:off x="10212983" y="4125704"/>
            <a:ext cx="1555114" cy="753123"/>
            <a:chOff x="5687870" y="5192886"/>
            <a:chExt cx="1750168" cy="998362"/>
          </a:xfrm>
        </p:grpSpPr>
        <p:sp>
          <p:nvSpPr>
            <p:cNvPr id="245" name="TextBox 244">
              <a:extLst>
                <a:ext uri="{FF2B5EF4-FFF2-40B4-BE49-F238E27FC236}">
                  <a16:creationId xmlns:a16="http://schemas.microsoft.com/office/drawing/2014/main" id="{AE39A42B-146D-4CBA-8B2B-06F0900A77FF}"/>
                </a:ext>
              </a:extLst>
            </p:cNvPr>
            <p:cNvSpPr txBox="1"/>
            <p:nvPr/>
          </p:nvSpPr>
          <p:spPr>
            <a:xfrm>
              <a:off x="5687870" y="5701651"/>
              <a:ext cx="1750168" cy="48959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r" fontAlgn="base">
                <a:spcBef>
                  <a:spcPct val="0"/>
                </a:spcBef>
                <a:spcAft>
                  <a:spcPct val="0"/>
                </a:spcAft>
                <a:buClr>
                  <a:srgbClr val="303D24"/>
                </a:buClr>
                <a:buFontTx/>
                <a:buNone/>
              </a:pPr>
              <a:r>
                <a:rPr lang="en-US" sz="1200" kern="1200" dirty="0">
                  <a:ea typeface="+mn-ea"/>
                  <a:cs typeface="+mn-cs"/>
                </a:rPr>
                <a:t>Testing kits distributed</a:t>
              </a:r>
            </a:p>
          </p:txBody>
        </p:sp>
        <p:sp>
          <p:nvSpPr>
            <p:cNvPr id="246" name="TextBox 245">
              <a:extLst>
                <a:ext uri="{FF2B5EF4-FFF2-40B4-BE49-F238E27FC236}">
                  <a16:creationId xmlns:a16="http://schemas.microsoft.com/office/drawing/2014/main" id="{C4CD14E0-4F5E-4031-A840-8B4A0BB135E8}"/>
                </a:ext>
              </a:extLst>
            </p:cNvPr>
            <p:cNvSpPr txBox="1"/>
            <p:nvPr/>
          </p:nvSpPr>
          <p:spPr>
            <a:xfrm>
              <a:off x="6110759" y="5192886"/>
              <a:ext cx="1327279" cy="57119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r" fontAlgn="base">
                <a:spcBef>
                  <a:spcPct val="0"/>
                </a:spcBef>
                <a:spcAft>
                  <a:spcPct val="0"/>
                </a:spcAft>
                <a:buClr>
                  <a:srgbClr val="303D24"/>
                </a:buClr>
                <a:buFontTx/>
                <a:buNone/>
              </a:pPr>
              <a:r>
                <a:rPr lang="en-US" sz="2800" b="1" kern="1200" dirty="0">
                  <a:solidFill>
                    <a:srgbClr val="303D24"/>
                  </a:solidFill>
                  <a:ea typeface="+mn-ea"/>
                  <a:cs typeface="+mn-cs"/>
                </a:rPr>
                <a:t>4000+</a:t>
              </a:r>
            </a:p>
          </p:txBody>
        </p:sp>
      </p:grpSp>
      <p:grpSp>
        <p:nvGrpSpPr>
          <p:cNvPr id="10" name="Group 9">
            <a:extLst>
              <a:ext uri="{FF2B5EF4-FFF2-40B4-BE49-F238E27FC236}">
                <a16:creationId xmlns:a16="http://schemas.microsoft.com/office/drawing/2014/main" id="{F72F9AB5-834C-4BC3-AD79-B6510CB85CFF}"/>
              </a:ext>
            </a:extLst>
          </p:cNvPr>
          <p:cNvGrpSpPr/>
          <p:nvPr/>
        </p:nvGrpSpPr>
        <p:grpSpPr>
          <a:xfrm>
            <a:off x="3541663" y="2030676"/>
            <a:ext cx="1988814" cy="2050781"/>
            <a:chOff x="676754" y="2415657"/>
            <a:chExt cx="2636433" cy="2718578"/>
          </a:xfrm>
        </p:grpSpPr>
        <p:sp>
          <p:nvSpPr>
            <p:cNvPr id="470" name="Freeform 9">
              <a:extLst>
                <a:ext uri="{FF2B5EF4-FFF2-40B4-BE49-F238E27FC236}">
                  <a16:creationId xmlns:a16="http://schemas.microsoft.com/office/drawing/2014/main" id="{9A351A2A-AE1B-4F7D-BF46-D6D19E1D424C}"/>
                </a:ext>
              </a:extLst>
            </p:cNvPr>
            <p:cNvSpPr>
              <a:spLocks/>
            </p:cNvSpPr>
            <p:nvPr/>
          </p:nvSpPr>
          <p:spPr bwMode="gray">
            <a:xfrm>
              <a:off x="1015842" y="2431967"/>
              <a:ext cx="790703" cy="681312"/>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1" name="Freeform 59">
              <a:extLst>
                <a:ext uri="{FF2B5EF4-FFF2-40B4-BE49-F238E27FC236}">
                  <a16:creationId xmlns:a16="http://schemas.microsoft.com/office/drawing/2014/main" id="{D8FAB531-166F-4C74-8E50-E719BB449A37}"/>
                </a:ext>
              </a:extLst>
            </p:cNvPr>
            <p:cNvSpPr>
              <a:spLocks noEditPoints="1"/>
            </p:cNvSpPr>
            <p:nvPr/>
          </p:nvSpPr>
          <p:spPr bwMode="gray">
            <a:xfrm>
              <a:off x="1635869" y="2415657"/>
              <a:ext cx="154818" cy="273563"/>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2" name="Freeform 10">
              <a:extLst>
                <a:ext uri="{FF2B5EF4-FFF2-40B4-BE49-F238E27FC236}">
                  <a16:creationId xmlns:a16="http://schemas.microsoft.com/office/drawing/2014/main" id="{328ACD84-9CBC-4ECA-A524-955E21E64EA6}"/>
                </a:ext>
              </a:extLst>
            </p:cNvPr>
            <p:cNvSpPr>
              <a:spLocks noEditPoints="1"/>
            </p:cNvSpPr>
            <p:nvPr/>
          </p:nvSpPr>
          <p:spPr bwMode="gray">
            <a:xfrm>
              <a:off x="1793707" y="3989570"/>
              <a:ext cx="475027" cy="513023"/>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3" name="Freeform 12">
              <a:extLst>
                <a:ext uri="{FF2B5EF4-FFF2-40B4-BE49-F238E27FC236}">
                  <a16:creationId xmlns:a16="http://schemas.microsoft.com/office/drawing/2014/main" id="{B47A15B5-DF43-497F-A78F-181381EF53AF}"/>
                </a:ext>
              </a:extLst>
            </p:cNvPr>
            <p:cNvSpPr>
              <a:spLocks/>
            </p:cNvSpPr>
            <p:nvPr/>
          </p:nvSpPr>
          <p:spPr bwMode="gray">
            <a:xfrm>
              <a:off x="1377588" y="3358671"/>
              <a:ext cx="117058" cy="232047"/>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4" name="Freeform 13">
              <a:extLst>
                <a:ext uri="{FF2B5EF4-FFF2-40B4-BE49-F238E27FC236}">
                  <a16:creationId xmlns:a16="http://schemas.microsoft.com/office/drawing/2014/main" id="{8C664595-D835-4DB3-9F56-1B3E165084BA}"/>
                </a:ext>
              </a:extLst>
            </p:cNvPr>
            <p:cNvSpPr>
              <a:spLocks/>
            </p:cNvSpPr>
            <p:nvPr/>
          </p:nvSpPr>
          <p:spPr bwMode="gray">
            <a:xfrm>
              <a:off x="2111650" y="4493698"/>
              <a:ext cx="358723" cy="341768"/>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5" name="Freeform 14">
              <a:extLst>
                <a:ext uri="{FF2B5EF4-FFF2-40B4-BE49-F238E27FC236}">
                  <a16:creationId xmlns:a16="http://schemas.microsoft.com/office/drawing/2014/main" id="{6D9596B7-4B44-4508-B7A8-A374907E0CCC}"/>
                </a:ext>
              </a:extLst>
            </p:cNvPr>
            <p:cNvSpPr>
              <a:spLocks/>
            </p:cNvSpPr>
            <p:nvPr/>
          </p:nvSpPr>
          <p:spPr bwMode="gray">
            <a:xfrm>
              <a:off x="1135920" y="3259328"/>
              <a:ext cx="303594" cy="212771"/>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6" name="Freeform 15">
              <a:extLst>
                <a:ext uri="{FF2B5EF4-FFF2-40B4-BE49-F238E27FC236}">
                  <a16:creationId xmlns:a16="http://schemas.microsoft.com/office/drawing/2014/main" id="{D05234AD-DF28-49FC-A547-C285FF46992C}"/>
                </a:ext>
              </a:extLst>
            </p:cNvPr>
            <p:cNvSpPr>
              <a:spLocks/>
            </p:cNvSpPr>
            <p:nvPr/>
          </p:nvSpPr>
          <p:spPr bwMode="gray">
            <a:xfrm>
              <a:off x="2456025" y="3912469"/>
              <a:ext cx="70234" cy="80809"/>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7" name="Freeform 16">
              <a:extLst>
                <a:ext uri="{FF2B5EF4-FFF2-40B4-BE49-F238E27FC236}">
                  <a16:creationId xmlns:a16="http://schemas.microsoft.com/office/drawing/2014/main" id="{D72481C6-8929-4069-991A-87765D8B89CF}"/>
                </a:ext>
              </a:extLst>
            </p:cNvPr>
            <p:cNvSpPr>
              <a:spLocks noEditPoints="1"/>
            </p:cNvSpPr>
            <p:nvPr/>
          </p:nvSpPr>
          <p:spPr bwMode="gray">
            <a:xfrm>
              <a:off x="1676650" y="3333465"/>
              <a:ext cx="290001" cy="429991"/>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8" name="Freeform 17">
              <a:extLst>
                <a:ext uri="{FF2B5EF4-FFF2-40B4-BE49-F238E27FC236}">
                  <a16:creationId xmlns:a16="http://schemas.microsoft.com/office/drawing/2014/main" id="{7E22A651-C3D9-4D07-86AA-50F8300B3B03}"/>
                </a:ext>
              </a:extLst>
            </p:cNvPr>
            <p:cNvSpPr>
              <a:spLocks noEditPoints="1"/>
            </p:cNvSpPr>
            <p:nvPr/>
          </p:nvSpPr>
          <p:spPr bwMode="gray">
            <a:xfrm>
              <a:off x="1672874" y="3644096"/>
              <a:ext cx="7551" cy="12603"/>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79" name="Freeform 18">
              <a:extLst>
                <a:ext uri="{FF2B5EF4-FFF2-40B4-BE49-F238E27FC236}">
                  <a16:creationId xmlns:a16="http://schemas.microsoft.com/office/drawing/2014/main" id="{7CB06B21-AF48-43D2-A32C-C8B2959EC7DA}"/>
                </a:ext>
              </a:extLst>
            </p:cNvPr>
            <p:cNvSpPr>
              <a:spLocks/>
            </p:cNvSpPr>
            <p:nvPr/>
          </p:nvSpPr>
          <p:spPr bwMode="gray">
            <a:xfrm>
              <a:off x="1898681" y="3412049"/>
              <a:ext cx="498438" cy="329907"/>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0" name="Freeform 19">
              <a:extLst>
                <a:ext uri="{FF2B5EF4-FFF2-40B4-BE49-F238E27FC236}">
                  <a16:creationId xmlns:a16="http://schemas.microsoft.com/office/drawing/2014/main" id="{CFD1C20E-6E6D-4A27-A896-3EA7A9E590CA}"/>
                </a:ext>
              </a:extLst>
            </p:cNvPr>
            <p:cNvSpPr>
              <a:spLocks/>
            </p:cNvSpPr>
            <p:nvPr/>
          </p:nvSpPr>
          <p:spPr bwMode="gray">
            <a:xfrm>
              <a:off x="1862432" y="2944249"/>
              <a:ext cx="402526" cy="601245"/>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1" name="Freeform 20">
              <a:extLst>
                <a:ext uri="{FF2B5EF4-FFF2-40B4-BE49-F238E27FC236}">
                  <a16:creationId xmlns:a16="http://schemas.microsoft.com/office/drawing/2014/main" id="{11AF8BF3-675A-41C6-9632-E07F7874A00D}"/>
                </a:ext>
              </a:extLst>
            </p:cNvPr>
            <p:cNvSpPr>
              <a:spLocks noEditPoints="1"/>
            </p:cNvSpPr>
            <p:nvPr/>
          </p:nvSpPr>
          <p:spPr bwMode="gray">
            <a:xfrm>
              <a:off x="3000530" y="4252013"/>
              <a:ext cx="49844" cy="40033"/>
            </a:xfrm>
            <a:custGeom>
              <a:avLst/>
              <a:gdLst>
                <a:gd name="T0" fmla="*/ 8 w 66"/>
                <a:gd name="T1" fmla="*/ 1 h 54"/>
                <a:gd name="T2" fmla="*/ 10 w 66"/>
                <a:gd name="T3" fmla="*/ 3 h 54"/>
                <a:gd name="T4" fmla="*/ 8 w 66"/>
                <a:gd name="T5" fmla="*/ 15 h 54"/>
                <a:gd name="T6" fmla="*/ 12 w 66"/>
                <a:gd name="T7" fmla="*/ 20 h 54"/>
                <a:gd name="T8" fmla="*/ 12 w 66"/>
                <a:gd name="T9" fmla="*/ 23 h 54"/>
                <a:gd name="T10" fmla="*/ 15 w 66"/>
                <a:gd name="T11" fmla="*/ 27 h 54"/>
                <a:gd name="T12" fmla="*/ 13 w 66"/>
                <a:gd name="T13" fmla="*/ 29 h 54"/>
                <a:gd name="T14" fmla="*/ 12 w 66"/>
                <a:gd name="T15" fmla="*/ 30 h 54"/>
                <a:gd name="T16" fmla="*/ 10 w 66"/>
                <a:gd name="T17" fmla="*/ 29 h 54"/>
                <a:gd name="T18" fmla="*/ 8 w 66"/>
                <a:gd name="T19" fmla="*/ 25 h 54"/>
                <a:gd name="T20" fmla="*/ 3 w 66"/>
                <a:gd name="T21" fmla="*/ 25 h 54"/>
                <a:gd name="T22" fmla="*/ 0 w 66"/>
                <a:gd name="T23" fmla="*/ 20 h 54"/>
                <a:gd name="T24" fmla="*/ 0 w 66"/>
                <a:gd name="T25" fmla="*/ 18 h 54"/>
                <a:gd name="T26" fmla="*/ 1 w 66"/>
                <a:gd name="T27" fmla="*/ 17 h 54"/>
                <a:gd name="T28" fmla="*/ 1 w 66"/>
                <a:gd name="T29" fmla="*/ 3 h 54"/>
                <a:gd name="T30" fmla="*/ 3 w 66"/>
                <a:gd name="T31" fmla="*/ 1 h 54"/>
                <a:gd name="T32" fmla="*/ 6 w 66"/>
                <a:gd name="T33" fmla="*/ 0 h 54"/>
                <a:gd name="T34" fmla="*/ 8 w 66"/>
                <a:gd name="T35" fmla="*/ 1 h 54"/>
                <a:gd name="T36" fmla="*/ 66 w 66"/>
                <a:gd name="T37" fmla="*/ 46 h 54"/>
                <a:gd name="T38" fmla="*/ 66 w 66"/>
                <a:gd name="T39" fmla="*/ 47 h 54"/>
                <a:gd name="T40" fmla="*/ 66 w 66"/>
                <a:gd name="T41" fmla="*/ 51 h 54"/>
                <a:gd name="T42" fmla="*/ 66 w 66"/>
                <a:gd name="T43" fmla="*/ 52 h 54"/>
                <a:gd name="T44" fmla="*/ 64 w 66"/>
                <a:gd name="T45" fmla="*/ 52 h 54"/>
                <a:gd name="T46" fmla="*/ 64 w 66"/>
                <a:gd name="T47" fmla="*/ 51 h 54"/>
                <a:gd name="T48" fmla="*/ 59 w 66"/>
                <a:gd name="T49" fmla="*/ 47 h 54"/>
                <a:gd name="T50" fmla="*/ 59 w 66"/>
                <a:gd name="T51" fmla="*/ 46 h 54"/>
                <a:gd name="T52" fmla="*/ 56 w 66"/>
                <a:gd name="T53" fmla="*/ 46 h 54"/>
                <a:gd name="T54" fmla="*/ 49 w 66"/>
                <a:gd name="T55" fmla="*/ 40 h 54"/>
                <a:gd name="T56" fmla="*/ 54 w 66"/>
                <a:gd name="T57" fmla="*/ 42 h 54"/>
                <a:gd name="T58" fmla="*/ 57 w 66"/>
                <a:gd name="T59" fmla="*/ 42 h 54"/>
                <a:gd name="T60" fmla="*/ 61 w 66"/>
                <a:gd name="T61" fmla="*/ 40 h 54"/>
                <a:gd name="T62" fmla="*/ 61 w 66"/>
                <a:gd name="T63" fmla="*/ 39 h 54"/>
                <a:gd name="T64" fmla="*/ 61 w 66"/>
                <a:gd name="T65" fmla="*/ 37 h 54"/>
                <a:gd name="T66" fmla="*/ 63 w 66"/>
                <a:gd name="T67" fmla="*/ 35 h 54"/>
                <a:gd name="T68" fmla="*/ 64 w 66"/>
                <a:gd name="T69" fmla="*/ 37 h 54"/>
                <a:gd name="T70" fmla="*/ 64 w 66"/>
                <a:gd name="T71" fmla="*/ 39 h 54"/>
                <a:gd name="T72" fmla="*/ 66 w 66"/>
                <a:gd name="T73" fmla="*/ 46 h 54"/>
                <a:gd name="T74" fmla="*/ 25 w 66"/>
                <a:gd name="T75" fmla="*/ 46 h 54"/>
                <a:gd name="T76" fmla="*/ 32 w 66"/>
                <a:gd name="T77" fmla="*/ 51 h 54"/>
                <a:gd name="T78" fmla="*/ 32 w 66"/>
                <a:gd name="T79" fmla="*/ 52 h 54"/>
                <a:gd name="T80" fmla="*/ 29 w 66"/>
                <a:gd name="T81" fmla="*/ 51 h 54"/>
                <a:gd name="T82" fmla="*/ 27 w 66"/>
                <a:gd name="T83" fmla="*/ 52 h 54"/>
                <a:gd name="T84" fmla="*/ 27 w 66"/>
                <a:gd name="T85" fmla="*/ 51 h 54"/>
                <a:gd name="T86" fmla="*/ 22 w 66"/>
                <a:gd name="T87" fmla="*/ 51 h 54"/>
                <a:gd name="T88" fmla="*/ 22 w 66"/>
                <a:gd name="T89" fmla="*/ 49 h 54"/>
                <a:gd name="T90" fmla="*/ 20 w 66"/>
                <a:gd name="T91" fmla="*/ 49 h 54"/>
                <a:gd name="T92" fmla="*/ 20 w 66"/>
                <a:gd name="T93" fmla="*/ 46 h 54"/>
                <a:gd name="T94" fmla="*/ 22 w 66"/>
                <a:gd name="T95" fmla="*/ 46 h 54"/>
                <a:gd name="T96" fmla="*/ 25 w 66"/>
                <a:gd name="T97" fmla="*/ 46 h 54"/>
                <a:gd name="T98" fmla="*/ 22 w 66"/>
                <a:gd name="T99" fmla="*/ 52 h 54"/>
                <a:gd name="T100" fmla="*/ 22 w 66"/>
                <a:gd name="T101" fmla="*/ 54 h 54"/>
                <a:gd name="T102" fmla="*/ 22 w 66"/>
                <a:gd name="T103" fmla="*/ 52 h 54"/>
                <a:gd name="T104" fmla="*/ 23 w 66"/>
                <a:gd name="T105" fmla="*/ 52 h 54"/>
                <a:gd name="T106" fmla="*/ 25 w 66"/>
                <a:gd name="T107" fmla="*/ 52 h 54"/>
                <a:gd name="T108" fmla="*/ 25 w 66"/>
                <a:gd name="T109" fmla="*/ 54 h 54"/>
                <a:gd name="T110" fmla="*/ 23 w 66"/>
                <a:gd name="T111" fmla="*/ 54 h 54"/>
                <a:gd name="T112" fmla="*/ 23 w 66"/>
                <a:gd name="T113" fmla="*/ 52 h 54"/>
                <a:gd name="T114" fmla="*/ 25 w 66"/>
                <a:gd name="T115" fmla="*/ 52 h 54"/>
                <a:gd name="T116" fmla="*/ 25 w 66"/>
                <a:gd name="T117" fmla="*/ 54 h 54"/>
                <a:gd name="T118" fmla="*/ 25 w 66"/>
                <a:gd name="T11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54">
                  <a:moveTo>
                    <a:pt x="8" y="1"/>
                  </a:moveTo>
                  <a:lnTo>
                    <a:pt x="10" y="3"/>
                  </a:lnTo>
                  <a:lnTo>
                    <a:pt x="8" y="15"/>
                  </a:lnTo>
                  <a:lnTo>
                    <a:pt x="12" y="20"/>
                  </a:lnTo>
                  <a:lnTo>
                    <a:pt x="12" y="23"/>
                  </a:lnTo>
                  <a:lnTo>
                    <a:pt x="15" y="27"/>
                  </a:lnTo>
                  <a:lnTo>
                    <a:pt x="13" y="29"/>
                  </a:lnTo>
                  <a:lnTo>
                    <a:pt x="12" y="30"/>
                  </a:lnTo>
                  <a:lnTo>
                    <a:pt x="10" y="29"/>
                  </a:lnTo>
                  <a:lnTo>
                    <a:pt x="8" y="25"/>
                  </a:lnTo>
                  <a:lnTo>
                    <a:pt x="3" y="25"/>
                  </a:lnTo>
                  <a:lnTo>
                    <a:pt x="0" y="20"/>
                  </a:lnTo>
                  <a:lnTo>
                    <a:pt x="0" y="18"/>
                  </a:lnTo>
                  <a:lnTo>
                    <a:pt x="1" y="17"/>
                  </a:lnTo>
                  <a:lnTo>
                    <a:pt x="1" y="3"/>
                  </a:lnTo>
                  <a:lnTo>
                    <a:pt x="3" y="1"/>
                  </a:lnTo>
                  <a:lnTo>
                    <a:pt x="6" y="0"/>
                  </a:lnTo>
                  <a:lnTo>
                    <a:pt x="8" y="1"/>
                  </a:lnTo>
                  <a:close/>
                  <a:moveTo>
                    <a:pt x="66" y="46"/>
                  </a:moveTo>
                  <a:lnTo>
                    <a:pt x="66" y="47"/>
                  </a:lnTo>
                  <a:lnTo>
                    <a:pt x="66" y="51"/>
                  </a:lnTo>
                  <a:lnTo>
                    <a:pt x="66" y="52"/>
                  </a:lnTo>
                  <a:lnTo>
                    <a:pt x="64" y="52"/>
                  </a:lnTo>
                  <a:lnTo>
                    <a:pt x="64" y="51"/>
                  </a:lnTo>
                  <a:lnTo>
                    <a:pt x="59" y="47"/>
                  </a:lnTo>
                  <a:lnTo>
                    <a:pt x="59" y="46"/>
                  </a:lnTo>
                  <a:lnTo>
                    <a:pt x="56" y="46"/>
                  </a:lnTo>
                  <a:lnTo>
                    <a:pt x="49" y="40"/>
                  </a:lnTo>
                  <a:lnTo>
                    <a:pt x="54" y="42"/>
                  </a:lnTo>
                  <a:lnTo>
                    <a:pt x="57" y="42"/>
                  </a:lnTo>
                  <a:lnTo>
                    <a:pt x="61" y="40"/>
                  </a:lnTo>
                  <a:lnTo>
                    <a:pt x="61" y="39"/>
                  </a:lnTo>
                  <a:lnTo>
                    <a:pt x="61" y="37"/>
                  </a:lnTo>
                  <a:lnTo>
                    <a:pt x="63" y="35"/>
                  </a:lnTo>
                  <a:lnTo>
                    <a:pt x="64" y="37"/>
                  </a:lnTo>
                  <a:lnTo>
                    <a:pt x="64" y="39"/>
                  </a:lnTo>
                  <a:lnTo>
                    <a:pt x="66" y="46"/>
                  </a:lnTo>
                  <a:close/>
                  <a:moveTo>
                    <a:pt x="25" y="46"/>
                  </a:moveTo>
                  <a:lnTo>
                    <a:pt x="32" y="51"/>
                  </a:lnTo>
                  <a:lnTo>
                    <a:pt x="32" y="52"/>
                  </a:lnTo>
                  <a:lnTo>
                    <a:pt x="29" y="51"/>
                  </a:lnTo>
                  <a:lnTo>
                    <a:pt x="27" y="52"/>
                  </a:lnTo>
                  <a:lnTo>
                    <a:pt x="27" y="51"/>
                  </a:lnTo>
                  <a:lnTo>
                    <a:pt x="22" y="51"/>
                  </a:lnTo>
                  <a:lnTo>
                    <a:pt x="22" y="49"/>
                  </a:lnTo>
                  <a:lnTo>
                    <a:pt x="20" y="49"/>
                  </a:lnTo>
                  <a:lnTo>
                    <a:pt x="20" y="46"/>
                  </a:lnTo>
                  <a:lnTo>
                    <a:pt x="22" y="46"/>
                  </a:lnTo>
                  <a:lnTo>
                    <a:pt x="25" y="46"/>
                  </a:lnTo>
                  <a:close/>
                  <a:moveTo>
                    <a:pt x="22" y="52"/>
                  </a:moveTo>
                  <a:lnTo>
                    <a:pt x="22" y="54"/>
                  </a:lnTo>
                  <a:lnTo>
                    <a:pt x="22" y="52"/>
                  </a:lnTo>
                  <a:close/>
                  <a:moveTo>
                    <a:pt x="23" y="52"/>
                  </a:moveTo>
                  <a:lnTo>
                    <a:pt x="25" y="52"/>
                  </a:lnTo>
                  <a:lnTo>
                    <a:pt x="25" y="54"/>
                  </a:lnTo>
                  <a:lnTo>
                    <a:pt x="23" y="54"/>
                  </a:lnTo>
                  <a:lnTo>
                    <a:pt x="23" y="52"/>
                  </a:lnTo>
                  <a:close/>
                  <a:moveTo>
                    <a:pt x="25" y="52"/>
                  </a:moveTo>
                  <a:lnTo>
                    <a:pt x="25" y="54"/>
                  </a:lnTo>
                  <a:lnTo>
                    <a:pt x="25" y="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2" name="Freeform 21">
              <a:extLst>
                <a:ext uri="{FF2B5EF4-FFF2-40B4-BE49-F238E27FC236}">
                  <a16:creationId xmlns:a16="http://schemas.microsoft.com/office/drawing/2014/main" id="{FE6EE6F1-02E6-413F-9050-2C0154E1CC4E}"/>
                </a:ext>
              </a:extLst>
            </p:cNvPr>
            <p:cNvSpPr>
              <a:spLocks/>
            </p:cNvSpPr>
            <p:nvPr/>
          </p:nvSpPr>
          <p:spPr bwMode="gray">
            <a:xfrm>
              <a:off x="1772561" y="3685612"/>
              <a:ext cx="287734" cy="329165"/>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3" name="Freeform 22">
              <a:extLst>
                <a:ext uri="{FF2B5EF4-FFF2-40B4-BE49-F238E27FC236}">
                  <a16:creationId xmlns:a16="http://schemas.microsoft.com/office/drawing/2014/main" id="{2B2C8FB2-0A7B-4DA1-B916-ED92563049B0}"/>
                </a:ext>
              </a:extLst>
            </p:cNvPr>
            <p:cNvSpPr>
              <a:spLocks noEditPoints="1"/>
            </p:cNvSpPr>
            <p:nvPr/>
          </p:nvSpPr>
          <p:spPr bwMode="gray">
            <a:xfrm>
              <a:off x="1814097" y="3622596"/>
              <a:ext cx="731797" cy="708743"/>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4" name="Freeform 23">
              <a:extLst>
                <a:ext uri="{FF2B5EF4-FFF2-40B4-BE49-F238E27FC236}">
                  <a16:creationId xmlns:a16="http://schemas.microsoft.com/office/drawing/2014/main" id="{EB2C5FEB-8045-4007-805E-282E1AFB3B53}"/>
                </a:ext>
              </a:extLst>
            </p:cNvPr>
            <p:cNvSpPr>
              <a:spLocks noEditPoints="1"/>
            </p:cNvSpPr>
            <p:nvPr/>
          </p:nvSpPr>
          <p:spPr bwMode="gray">
            <a:xfrm>
              <a:off x="2945401" y="3347551"/>
              <a:ext cx="62682" cy="68205"/>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5" name="Freeform 24">
              <a:extLst>
                <a:ext uri="{FF2B5EF4-FFF2-40B4-BE49-F238E27FC236}">
                  <a16:creationId xmlns:a16="http://schemas.microsoft.com/office/drawing/2014/main" id="{31C6CE0C-B2C8-494C-8754-8CD4796F922C}"/>
                </a:ext>
              </a:extLst>
            </p:cNvPr>
            <p:cNvSpPr>
              <a:spLocks noEditPoints="1"/>
            </p:cNvSpPr>
            <p:nvPr/>
          </p:nvSpPr>
          <p:spPr bwMode="gray">
            <a:xfrm>
              <a:off x="2291390" y="2635101"/>
              <a:ext cx="465964" cy="364750"/>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6" name="Freeform 25">
              <a:extLst>
                <a:ext uri="{FF2B5EF4-FFF2-40B4-BE49-F238E27FC236}">
                  <a16:creationId xmlns:a16="http://schemas.microsoft.com/office/drawing/2014/main" id="{7FF22EBF-3D3F-4AA0-9EAB-A8876D32BE46}"/>
                </a:ext>
              </a:extLst>
            </p:cNvPr>
            <p:cNvSpPr>
              <a:spLocks noEditPoints="1"/>
            </p:cNvSpPr>
            <p:nvPr/>
          </p:nvSpPr>
          <p:spPr bwMode="gray">
            <a:xfrm>
              <a:off x="1561103" y="3682646"/>
              <a:ext cx="220520" cy="198685"/>
            </a:xfrm>
            <a:custGeom>
              <a:avLst/>
              <a:gdLst>
                <a:gd name="T0" fmla="*/ 216 w 292"/>
                <a:gd name="T1" fmla="*/ 79 h 268"/>
                <a:gd name="T2" fmla="*/ 218 w 292"/>
                <a:gd name="T3" fmla="*/ 80 h 268"/>
                <a:gd name="T4" fmla="*/ 224 w 292"/>
                <a:gd name="T5" fmla="*/ 82 h 268"/>
                <a:gd name="T6" fmla="*/ 229 w 292"/>
                <a:gd name="T7" fmla="*/ 84 h 268"/>
                <a:gd name="T8" fmla="*/ 233 w 292"/>
                <a:gd name="T9" fmla="*/ 84 h 268"/>
                <a:gd name="T10" fmla="*/ 243 w 292"/>
                <a:gd name="T11" fmla="*/ 82 h 268"/>
                <a:gd name="T12" fmla="*/ 292 w 292"/>
                <a:gd name="T13" fmla="*/ 82 h 268"/>
                <a:gd name="T14" fmla="*/ 291 w 292"/>
                <a:gd name="T15" fmla="*/ 104 h 268"/>
                <a:gd name="T16" fmla="*/ 291 w 292"/>
                <a:gd name="T17" fmla="*/ 142 h 268"/>
                <a:gd name="T18" fmla="*/ 262 w 292"/>
                <a:gd name="T19" fmla="*/ 142 h 268"/>
                <a:gd name="T20" fmla="*/ 223 w 292"/>
                <a:gd name="T21" fmla="*/ 142 h 268"/>
                <a:gd name="T22" fmla="*/ 223 w 292"/>
                <a:gd name="T23" fmla="*/ 145 h 268"/>
                <a:gd name="T24" fmla="*/ 218 w 292"/>
                <a:gd name="T25" fmla="*/ 145 h 268"/>
                <a:gd name="T26" fmla="*/ 216 w 292"/>
                <a:gd name="T27" fmla="*/ 142 h 268"/>
                <a:gd name="T28" fmla="*/ 212 w 292"/>
                <a:gd name="T29" fmla="*/ 138 h 268"/>
                <a:gd name="T30" fmla="*/ 211 w 292"/>
                <a:gd name="T31" fmla="*/ 137 h 268"/>
                <a:gd name="T32" fmla="*/ 207 w 292"/>
                <a:gd name="T33" fmla="*/ 135 h 268"/>
                <a:gd name="T34" fmla="*/ 207 w 292"/>
                <a:gd name="T35" fmla="*/ 137 h 268"/>
                <a:gd name="T36" fmla="*/ 202 w 292"/>
                <a:gd name="T37" fmla="*/ 140 h 268"/>
                <a:gd name="T38" fmla="*/ 197 w 292"/>
                <a:gd name="T39" fmla="*/ 135 h 268"/>
                <a:gd name="T40" fmla="*/ 192 w 292"/>
                <a:gd name="T41" fmla="*/ 137 h 268"/>
                <a:gd name="T42" fmla="*/ 192 w 292"/>
                <a:gd name="T43" fmla="*/ 133 h 268"/>
                <a:gd name="T44" fmla="*/ 194 w 292"/>
                <a:gd name="T45" fmla="*/ 128 h 268"/>
                <a:gd name="T46" fmla="*/ 196 w 292"/>
                <a:gd name="T47" fmla="*/ 121 h 268"/>
                <a:gd name="T48" fmla="*/ 202 w 292"/>
                <a:gd name="T49" fmla="*/ 113 h 268"/>
                <a:gd name="T50" fmla="*/ 204 w 292"/>
                <a:gd name="T51" fmla="*/ 111 h 268"/>
                <a:gd name="T52" fmla="*/ 209 w 292"/>
                <a:gd name="T53" fmla="*/ 103 h 268"/>
                <a:gd name="T54" fmla="*/ 214 w 292"/>
                <a:gd name="T55" fmla="*/ 96 h 268"/>
                <a:gd name="T56" fmla="*/ 211 w 292"/>
                <a:gd name="T57" fmla="*/ 87 h 268"/>
                <a:gd name="T58" fmla="*/ 212 w 292"/>
                <a:gd name="T59" fmla="*/ 75 h 268"/>
                <a:gd name="T60" fmla="*/ 158 w 292"/>
                <a:gd name="T61" fmla="*/ 0 h 268"/>
                <a:gd name="T62" fmla="*/ 165 w 292"/>
                <a:gd name="T63" fmla="*/ 2 h 268"/>
                <a:gd name="T64" fmla="*/ 168 w 292"/>
                <a:gd name="T65" fmla="*/ 2 h 268"/>
                <a:gd name="T66" fmla="*/ 168 w 292"/>
                <a:gd name="T67" fmla="*/ 9 h 268"/>
                <a:gd name="T68" fmla="*/ 163 w 292"/>
                <a:gd name="T69" fmla="*/ 17 h 268"/>
                <a:gd name="T70" fmla="*/ 162 w 292"/>
                <a:gd name="T71" fmla="*/ 21 h 268"/>
                <a:gd name="T72" fmla="*/ 156 w 292"/>
                <a:gd name="T73" fmla="*/ 29 h 268"/>
                <a:gd name="T74" fmla="*/ 150 w 292"/>
                <a:gd name="T75" fmla="*/ 28 h 268"/>
                <a:gd name="T76" fmla="*/ 143 w 292"/>
                <a:gd name="T77" fmla="*/ 23 h 268"/>
                <a:gd name="T78" fmla="*/ 146 w 292"/>
                <a:gd name="T79" fmla="*/ 16 h 268"/>
                <a:gd name="T80" fmla="*/ 151 w 292"/>
                <a:gd name="T81" fmla="*/ 16 h 268"/>
                <a:gd name="T82" fmla="*/ 153 w 292"/>
                <a:gd name="T83" fmla="*/ 12 h 268"/>
                <a:gd name="T84" fmla="*/ 156 w 292"/>
                <a:gd name="T85" fmla="*/ 0 h 268"/>
                <a:gd name="T86" fmla="*/ 0 w 292"/>
                <a:gd name="T87" fmla="*/ 264 h 268"/>
                <a:gd name="T88" fmla="*/ 3 w 292"/>
                <a:gd name="T89" fmla="*/ 268 h 268"/>
                <a:gd name="T90" fmla="*/ 0 w 292"/>
                <a:gd name="T91" fmla="*/ 264 h 268"/>
                <a:gd name="T92" fmla="*/ 190 w 292"/>
                <a:gd name="T93" fmla="*/ 145 h 268"/>
                <a:gd name="T94" fmla="*/ 189 w 292"/>
                <a:gd name="T95" fmla="*/ 147 h 268"/>
                <a:gd name="T96" fmla="*/ 211 w 292"/>
                <a:gd name="T97" fmla="*/ 138 h 268"/>
                <a:gd name="T98" fmla="*/ 212 w 292"/>
                <a:gd name="T99" fmla="*/ 140 h 268"/>
                <a:gd name="T100" fmla="*/ 211 w 292"/>
                <a:gd name="T101" fmla="*/ 138 h 268"/>
                <a:gd name="T102" fmla="*/ 199 w 292"/>
                <a:gd name="T103" fmla="*/ 142 h 268"/>
                <a:gd name="T104" fmla="*/ 197 w 292"/>
                <a:gd name="T105"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68">
                  <a:moveTo>
                    <a:pt x="214" y="74"/>
                  </a:moveTo>
                  <a:lnTo>
                    <a:pt x="216" y="79"/>
                  </a:lnTo>
                  <a:lnTo>
                    <a:pt x="218" y="79"/>
                  </a:lnTo>
                  <a:lnTo>
                    <a:pt x="218" y="80"/>
                  </a:lnTo>
                  <a:lnTo>
                    <a:pt x="219" y="80"/>
                  </a:lnTo>
                  <a:lnTo>
                    <a:pt x="224" y="82"/>
                  </a:lnTo>
                  <a:lnTo>
                    <a:pt x="226" y="82"/>
                  </a:lnTo>
                  <a:lnTo>
                    <a:pt x="229" y="84"/>
                  </a:lnTo>
                  <a:lnTo>
                    <a:pt x="231" y="82"/>
                  </a:lnTo>
                  <a:lnTo>
                    <a:pt x="233" y="84"/>
                  </a:lnTo>
                  <a:lnTo>
                    <a:pt x="233" y="82"/>
                  </a:lnTo>
                  <a:lnTo>
                    <a:pt x="243" y="82"/>
                  </a:lnTo>
                  <a:lnTo>
                    <a:pt x="282" y="82"/>
                  </a:lnTo>
                  <a:lnTo>
                    <a:pt x="292" y="82"/>
                  </a:lnTo>
                  <a:lnTo>
                    <a:pt x="291" y="86"/>
                  </a:lnTo>
                  <a:lnTo>
                    <a:pt x="291" y="104"/>
                  </a:lnTo>
                  <a:lnTo>
                    <a:pt x="291" y="118"/>
                  </a:lnTo>
                  <a:lnTo>
                    <a:pt x="291" y="142"/>
                  </a:lnTo>
                  <a:lnTo>
                    <a:pt x="272" y="142"/>
                  </a:lnTo>
                  <a:lnTo>
                    <a:pt x="262" y="142"/>
                  </a:lnTo>
                  <a:lnTo>
                    <a:pt x="245" y="142"/>
                  </a:lnTo>
                  <a:lnTo>
                    <a:pt x="223" y="142"/>
                  </a:lnTo>
                  <a:lnTo>
                    <a:pt x="223" y="143"/>
                  </a:lnTo>
                  <a:lnTo>
                    <a:pt x="223" y="145"/>
                  </a:lnTo>
                  <a:lnTo>
                    <a:pt x="221" y="145"/>
                  </a:lnTo>
                  <a:lnTo>
                    <a:pt x="218" y="145"/>
                  </a:lnTo>
                  <a:lnTo>
                    <a:pt x="218" y="142"/>
                  </a:lnTo>
                  <a:lnTo>
                    <a:pt x="216" y="142"/>
                  </a:lnTo>
                  <a:lnTo>
                    <a:pt x="212" y="142"/>
                  </a:lnTo>
                  <a:lnTo>
                    <a:pt x="212" y="138"/>
                  </a:lnTo>
                  <a:lnTo>
                    <a:pt x="214" y="138"/>
                  </a:lnTo>
                  <a:lnTo>
                    <a:pt x="211" y="137"/>
                  </a:lnTo>
                  <a:lnTo>
                    <a:pt x="207" y="138"/>
                  </a:lnTo>
                  <a:lnTo>
                    <a:pt x="207" y="135"/>
                  </a:lnTo>
                  <a:lnTo>
                    <a:pt x="209" y="135"/>
                  </a:lnTo>
                  <a:lnTo>
                    <a:pt x="207" y="137"/>
                  </a:lnTo>
                  <a:lnTo>
                    <a:pt x="206" y="138"/>
                  </a:lnTo>
                  <a:lnTo>
                    <a:pt x="202" y="140"/>
                  </a:lnTo>
                  <a:lnTo>
                    <a:pt x="199" y="135"/>
                  </a:lnTo>
                  <a:lnTo>
                    <a:pt x="197" y="135"/>
                  </a:lnTo>
                  <a:lnTo>
                    <a:pt x="194" y="137"/>
                  </a:lnTo>
                  <a:lnTo>
                    <a:pt x="192" y="137"/>
                  </a:lnTo>
                  <a:lnTo>
                    <a:pt x="190" y="133"/>
                  </a:lnTo>
                  <a:lnTo>
                    <a:pt x="192" y="133"/>
                  </a:lnTo>
                  <a:lnTo>
                    <a:pt x="192" y="128"/>
                  </a:lnTo>
                  <a:lnTo>
                    <a:pt x="194" y="128"/>
                  </a:lnTo>
                  <a:lnTo>
                    <a:pt x="196" y="125"/>
                  </a:lnTo>
                  <a:lnTo>
                    <a:pt x="196" y="121"/>
                  </a:lnTo>
                  <a:lnTo>
                    <a:pt x="201" y="118"/>
                  </a:lnTo>
                  <a:lnTo>
                    <a:pt x="202" y="113"/>
                  </a:lnTo>
                  <a:lnTo>
                    <a:pt x="204" y="113"/>
                  </a:lnTo>
                  <a:lnTo>
                    <a:pt x="204" y="111"/>
                  </a:lnTo>
                  <a:lnTo>
                    <a:pt x="204" y="108"/>
                  </a:lnTo>
                  <a:lnTo>
                    <a:pt x="209" y="103"/>
                  </a:lnTo>
                  <a:lnTo>
                    <a:pt x="211" y="99"/>
                  </a:lnTo>
                  <a:lnTo>
                    <a:pt x="214" y="96"/>
                  </a:lnTo>
                  <a:lnTo>
                    <a:pt x="214" y="94"/>
                  </a:lnTo>
                  <a:lnTo>
                    <a:pt x="211" y="87"/>
                  </a:lnTo>
                  <a:lnTo>
                    <a:pt x="212" y="82"/>
                  </a:lnTo>
                  <a:lnTo>
                    <a:pt x="212" y="75"/>
                  </a:lnTo>
                  <a:lnTo>
                    <a:pt x="214" y="74"/>
                  </a:lnTo>
                  <a:close/>
                  <a:moveTo>
                    <a:pt x="158" y="0"/>
                  </a:moveTo>
                  <a:lnTo>
                    <a:pt x="160" y="2"/>
                  </a:lnTo>
                  <a:lnTo>
                    <a:pt x="165" y="2"/>
                  </a:lnTo>
                  <a:lnTo>
                    <a:pt x="167" y="2"/>
                  </a:lnTo>
                  <a:lnTo>
                    <a:pt x="168" y="2"/>
                  </a:lnTo>
                  <a:lnTo>
                    <a:pt x="170" y="4"/>
                  </a:lnTo>
                  <a:lnTo>
                    <a:pt x="168" y="9"/>
                  </a:lnTo>
                  <a:lnTo>
                    <a:pt x="165" y="12"/>
                  </a:lnTo>
                  <a:lnTo>
                    <a:pt x="163" y="17"/>
                  </a:lnTo>
                  <a:lnTo>
                    <a:pt x="163" y="19"/>
                  </a:lnTo>
                  <a:lnTo>
                    <a:pt x="162" y="21"/>
                  </a:lnTo>
                  <a:lnTo>
                    <a:pt x="162" y="24"/>
                  </a:lnTo>
                  <a:lnTo>
                    <a:pt x="156" y="29"/>
                  </a:lnTo>
                  <a:lnTo>
                    <a:pt x="151" y="28"/>
                  </a:lnTo>
                  <a:lnTo>
                    <a:pt x="150" y="28"/>
                  </a:lnTo>
                  <a:lnTo>
                    <a:pt x="145" y="26"/>
                  </a:lnTo>
                  <a:lnTo>
                    <a:pt x="143" y="23"/>
                  </a:lnTo>
                  <a:lnTo>
                    <a:pt x="145" y="19"/>
                  </a:lnTo>
                  <a:lnTo>
                    <a:pt x="146" y="16"/>
                  </a:lnTo>
                  <a:lnTo>
                    <a:pt x="151" y="17"/>
                  </a:lnTo>
                  <a:lnTo>
                    <a:pt x="151" y="16"/>
                  </a:lnTo>
                  <a:lnTo>
                    <a:pt x="151" y="14"/>
                  </a:lnTo>
                  <a:lnTo>
                    <a:pt x="153" y="12"/>
                  </a:lnTo>
                  <a:lnTo>
                    <a:pt x="153" y="7"/>
                  </a:lnTo>
                  <a:lnTo>
                    <a:pt x="156" y="0"/>
                  </a:lnTo>
                  <a:lnTo>
                    <a:pt x="158" y="0"/>
                  </a:lnTo>
                  <a:close/>
                  <a:moveTo>
                    <a:pt x="0" y="264"/>
                  </a:moveTo>
                  <a:lnTo>
                    <a:pt x="3" y="264"/>
                  </a:lnTo>
                  <a:lnTo>
                    <a:pt x="3" y="268"/>
                  </a:lnTo>
                  <a:lnTo>
                    <a:pt x="0" y="268"/>
                  </a:lnTo>
                  <a:lnTo>
                    <a:pt x="0" y="264"/>
                  </a:lnTo>
                  <a:close/>
                  <a:moveTo>
                    <a:pt x="189" y="145"/>
                  </a:moveTo>
                  <a:lnTo>
                    <a:pt x="190" y="145"/>
                  </a:lnTo>
                  <a:lnTo>
                    <a:pt x="190" y="147"/>
                  </a:lnTo>
                  <a:lnTo>
                    <a:pt x="189" y="147"/>
                  </a:lnTo>
                  <a:lnTo>
                    <a:pt x="189" y="145"/>
                  </a:lnTo>
                  <a:close/>
                  <a:moveTo>
                    <a:pt x="211" y="138"/>
                  </a:moveTo>
                  <a:lnTo>
                    <a:pt x="212" y="138"/>
                  </a:lnTo>
                  <a:lnTo>
                    <a:pt x="212" y="140"/>
                  </a:lnTo>
                  <a:lnTo>
                    <a:pt x="211" y="140"/>
                  </a:lnTo>
                  <a:lnTo>
                    <a:pt x="211" y="138"/>
                  </a:lnTo>
                  <a:close/>
                  <a:moveTo>
                    <a:pt x="197" y="142"/>
                  </a:moveTo>
                  <a:lnTo>
                    <a:pt x="199" y="142"/>
                  </a:lnTo>
                  <a:lnTo>
                    <a:pt x="199" y="143"/>
                  </a:lnTo>
                  <a:lnTo>
                    <a:pt x="197" y="143"/>
                  </a:lnTo>
                  <a:lnTo>
                    <a:pt x="197" y="1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7" name="Freeform 26">
              <a:extLst>
                <a:ext uri="{FF2B5EF4-FFF2-40B4-BE49-F238E27FC236}">
                  <a16:creationId xmlns:a16="http://schemas.microsoft.com/office/drawing/2014/main" id="{0E1D4347-3B87-43F4-98CC-4DB6D8B7C205}"/>
                </a:ext>
              </a:extLst>
            </p:cNvPr>
            <p:cNvSpPr>
              <a:spLocks noEditPoints="1"/>
            </p:cNvSpPr>
            <p:nvPr/>
          </p:nvSpPr>
          <p:spPr bwMode="gray">
            <a:xfrm>
              <a:off x="2740739" y="3149606"/>
              <a:ext cx="256015" cy="212030"/>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8" name="Freeform 27">
              <a:extLst>
                <a:ext uri="{FF2B5EF4-FFF2-40B4-BE49-F238E27FC236}">
                  <a16:creationId xmlns:a16="http://schemas.microsoft.com/office/drawing/2014/main" id="{6499E53F-4AFC-4DA5-8100-AED6D4264976}"/>
                </a:ext>
              </a:extLst>
            </p:cNvPr>
            <p:cNvSpPr>
              <a:spLocks/>
            </p:cNvSpPr>
            <p:nvPr/>
          </p:nvSpPr>
          <p:spPr bwMode="gray">
            <a:xfrm>
              <a:off x="2608578" y="3265259"/>
              <a:ext cx="573959" cy="432956"/>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89" name="Freeform 28">
              <a:extLst>
                <a:ext uri="{FF2B5EF4-FFF2-40B4-BE49-F238E27FC236}">
                  <a16:creationId xmlns:a16="http://schemas.microsoft.com/office/drawing/2014/main" id="{82AB9A78-9B03-4CC6-BD72-585720DA996D}"/>
                </a:ext>
              </a:extLst>
            </p:cNvPr>
            <p:cNvSpPr>
              <a:spLocks noEditPoints="1"/>
            </p:cNvSpPr>
            <p:nvPr/>
          </p:nvSpPr>
          <p:spPr bwMode="gray">
            <a:xfrm>
              <a:off x="1680426" y="3738249"/>
              <a:ext cx="222031" cy="235754"/>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0" name="Freeform 29">
              <a:extLst>
                <a:ext uri="{FF2B5EF4-FFF2-40B4-BE49-F238E27FC236}">
                  <a16:creationId xmlns:a16="http://schemas.microsoft.com/office/drawing/2014/main" id="{9B8152A0-28CE-4E67-B3E5-9D88B769E6AF}"/>
                </a:ext>
              </a:extLst>
            </p:cNvPr>
            <p:cNvSpPr>
              <a:spLocks/>
            </p:cNvSpPr>
            <p:nvPr/>
          </p:nvSpPr>
          <p:spPr bwMode="gray">
            <a:xfrm>
              <a:off x="704697" y="3306034"/>
              <a:ext cx="115547" cy="28913"/>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1" name="Freeform 30">
              <a:extLst>
                <a:ext uri="{FF2B5EF4-FFF2-40B4-BE49-F238E27FC236}">
                  <a16:creationId xmlns:a16="http://schemas.microsoft.com/office/drawing/2014/main" id="{C5A9775B-88F2-4237-97CD-CE69CB754F6C}"/>
                </a:ext>
              </a:extLst>
            </p:cNvPr>
            <p:cNvSpPr>
              <a:spLocks/>
            </p:cNvSpPr>
            <p:nvPr/>
          </p:nvSpPr>
          <p:spPr bwMode="gray">
            <a:xfrm>
              <a:off x="1222014" y="3405377"/>
              <a:ext cx="170677" cy="242426"/>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2" name="Freeform 31">
              <a:extLst>
                <a:ext uri="{FF2B5EF4-FFF2-40B4-BE49-F238E27FC236}">
                  <a16:creationId xmlns:a16="http://schemas.microsoft.com/office/drawing/2014/main" id="{663936CF-8C5D-4542-A42D-17DFF6D596F5}"/>
                </a:ext>
              </a:extLst>
            </p:cNvPr>
            <p:cNvSpPr>
              <a:spLocks noEditPoints="1"/>
            </p:cNvSpPr>
            <p:nvPr/>
          </p:nvSpPr>
          <p:spPr bwMode="gray">
            <a:xfrm>
              <a:off x="770399" y="3349033"/>
              <a:ext cx="284713" cy="206840"/>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3" name="Freeform 32">
              <a:extLst>
                <a:ext uri="{FF2B5EF4-FFF2-40B4-BE49-F238E27FC236}">
                  <a16:creationId xmlns:a16="http://schemas.microsoft.com/office/drawing/2014/main" id="{FC9FB7AF-3A92-4147-B2B1-636765A61863}"/>
                </a:ext>
              </a:extLst>
            </p:cNvPr>
            <p:cNvSpPr>
              <a:spLocks noEditPoints="1"/>
            </p:cNvSpPr>
            <p:nvPr/>
          </p:nvSpPr>
          <p:spPr bwMode="gray">
            <a:xfrm>
              <a:off x="707718" y="3349033"/>
              <a:ext cx="117813" cy="66723"/>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4" name="Freeform 33">
              <a:extLst>
                <a:ext uri="{FF2B5EF4-FFF2-40B4-BE49-F238E27FC236}">
                  <a16:creationId xmlns:a16="http://schemas.microsoft.com/office/drawing/2014/main" id="{45C88387-A4C8-43A8-B040-5C0AC907ADB3}"/>
                </a:ext>
              </a:extLst>
            </p:cNvPr>
            <p:cNvSpPr>
              <a:spLocks/>
            </p:cNvSpPr>
            <p:nvPr/>
          </p:nvSpPr>
          <p:spPr bwMode="gray">
            <a:xfrm>
              <a:off x="1018109" y="3421686"/>
              <a:ext cx="233359" cy="240202"/>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5" name="Freeform 34">
              <a:extLst>
                <a:ext uri="{FF2B5EF4-FFF2-40B4-BE49-F238E27FC236}">
                  <a16:creationId xmlns:a16="http://schemas.microsoft.com/office/drawing/2014/main" id="{8360509A-265A-4DD0-90C6-B7D031D8D84F}"/>
                </a:ext>
              </a:extLst>
            </p:cNvPr>
            <p:cNvSpPr>
              <a:spLocks noEditPoints="1"/>
            </p:cNvSpPr>
            <p:nvPr/>
          </p:nvSpPr>
          <p:spPr bwMode="gray">
            <a:xfrm>
              <a:off x="2644828" y="3618890"/>
              <a:ext cx="305104" cy="381802"/>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6" name="Freeform 35">
              <a:extLst>
                <a:ext uri="{FF2B5EF4-FFF2-40B4-BE49-F238E27FC236}">
                  <a16:creationId xmlns:a16="http://schemas.microsoft.com/office/drawing/2014/main" id="{AE4EC61A-42CD-4786-8E66-8F4C5A536816}"/>
                </a:ext>
              </a:extLst>
            </p:cNvPr>
            <p:cNvSpPr>
              <a:spLocks/>
            </p:cNvSpPr>
            <p:nvPr/>
          </p:nvSpPr>
          <p:spPr bwMode="gray">
            <a:xfrm>
              <a:off x="2380505" y="4898481"/>
              <a:ext cx="93647" cy="79326"/>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7" name="Freeform 36">
              <a:extLst>
                <a:ext uri="{FF2B5EF4-FFF2-40B4-BE49-F238E27FC236}">
                  <a16:creationId xmlns:a16="http://schemas.microsoft.com/office/drawing/2014/main" id="{63020B31-4547-4452-9E11-AAC941AB486D}"/>
                </a:ext>
              </a:extLst>
            </p:cNvPr>
            <p:cNvSpPr>
              <a:spLocks/>
            </p:cNvSpPr>
            <p:nvPr/>
          </p:nvSpPr>
          <p:spPr bwMode="gray">
            <a:xfrm>
              <a:off x="907847" y="3503978"/>
              <a:ext cx="157838" cy="157910"/>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8" name="Freeform 37">
              <a:extLst>
                <a:ext uri="{FF2B5EF4-FFF2-40B4-BE49-F238E27FC236}">
                  <a16:creationId xmlns:a16="http://schemas.microsoft.com/office/drawing/2014/main" id="{7DF08240-A672-4CD6-884A-A0680D494994}"/>
                </a:ext>
              </a:extLst>
            </p:cNvPr>
            <p:cNvSpPr>
              <a:spLocks/>
            </p:cNvSpPr>
            <p:nvPr/>
          </p:nvSpPr>
          <p:spPr bwMode="gray">
            <a:xfrm>
              <a:off x="1706102" y="2579498"/>
              <a:ext cx="601901" cy="513023"/>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99" name="Freeform 38">
              <a:extLst>
                <a:ext uri="{FF2B5EF4-FFF2-40B4-BE49-F238E27FC236}">
                  <a16:creationId xmlns:a16="http://schemas.microsoft.com/office/drawing/2014/main" id="{CC00B65F-8BED-46E9-982A-0FD3B4C8699B}"/>
                </a:ext>
              </a:extLst>
            </p:cNvPr>
            <p:cNvSpPr>
              <a:spLocks noEditPoints="1"/>
            </p:cNvSpPr>
            <p:nvPr/>
          </p:nvSpPr>
          <p:spPr bwMode="gray">
            <a:xfrm>
              <a:off x="3000530" y="4274254"/>
              <a:ext cx="277161" cy="513765"/>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0" name="Freeform 39">
              <a:extLst>
                <a:ext uri="{FF2B5EF4-FFF2-40B4-BE49-F238E27FC236}">
                  <a16:creationId xmlns:a16="http://schemas.microsoft.com/office/drawing/2014/main" id="{37ED613E-DE00-42B5-96A8-E0567A20B683}"/>
                </a:ext>
              </a:extLst>
            </p:cNvPr>
            <p:cNvSpPr>
              <a:spLocks noEditPoints="1"/>
            </p:cNvSpPr>
            <p:nvPr/>
          </p:nvSpPr>
          <p:spPr bwMode="gray">
            <a:xfrm>
              <a:off x="2597250" y="4177136"/>
              <a:ext cx="123099" cy="291356"/>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1" name="Freeform 40">
              <a:extLst>
                <a:ext uri="{FF2B5EF4-FFF2-40B4-BE49-F238E27FC236}">
                  <a16:creationId xmlns:a16="http://schemas.microsoft.com/office/drawing/2014/main" id="{16BA12B5-E435-46A4-8A6E-D6AA90A01D4C}"/>
                </a:ext>
              </a:extLst>
            </p:cNvPr>
            <p:cNvSpPr>
              <a:spLocks/>
            </p:cNvSpPr>
            <p:nvPr/>
          </p:nvSpPr>
          <p:spPr bwMode="gray">
            <a:xfrm>
              <a:off x="879150" y="2885681"/>
              <a:ext cx="630599" cy="557505"/>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2" name="Freeform 41">
              <a:extLst>
                <a:ext uri="{FF2B5EF4-FFF2-40B4-BE49-F238E27FC236}">
                  <a16:creationId xmlns:a16="http://schemas.microsoft.com/office/drawing/2014/main" id="{B346BB86-16EE-4908-B28E-52DF2F18369E}"/>
                </a:ext>
              </a:extLst>
            </p:cNvPr>
            <p:cNvSpPr>
              <a:spLocks noEditPoints="1"/>
            </p:cNvSpPr>
            <p:nvPr/>
          </p:nvSpPr>
          <p:spPr bwMode="gray">
            <a:xfrm>
              <a:off x="694878" y="2798942"/>
              <a:ext cx="468229" cy="472989"/>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3" name="Freeform 42">
              <a:extLst>
                <a:ext uri="{FF2B5EF4-FFF2-40B4-BE49-F238E27FC236}">
                  <a16:creationId xmlns:a16="http://schemas.microsoft.com/office/drawing/2014/main" id="{E5EF1877-3317-4EEC-844E-3554B14A86FC}"/>
                </a:ext>
              </a:extLst>
            </p:cNvPr>
            <p:cNvSpPr>
              <a:spLocks/>
            </p:cNvSpPr>
            <p:nvPr/>
          </p:nvSpPr>
          <p:spPr bwMode="gray">
            <a:xfrm>
              <a:off x="843655" y="2476449"/>
              <a:ext cx="464454" cy="309890"/>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4" name="Freeform 43">
              <a:extLst>
                <a:ext uri="{FF2B5EF4-FFF2-40B4-BE49-F238E27FC236}">
                  <a16:creationId xmlns:a16="http://schemas.microsoft.com/office/drawing/2014/main" id="{C6E4A52E-7ECD-4DA8-964D-36DDFF9B91B0}"/>
                </a:ext>
              </a:extLst>
            </p:cNvPr>
            <p:cNvSpPr>
              <a:spLocks noEditPoints="1"/>
            </p:cNvSpPr>
            <p:nvPr/>
          </p:nvSpPr>
          <p:spPr bwMode="gray">
            <a:xfrm>
              <a:off x="2503603" y="4218651"/>
              <a:ext cx="405546" cy="616073"/>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5" name="Freeform 44">
              <a:extLst>
                <a:ext uri="{FF2B5EF4-FFF2-40B4-BE49-F238E27FC236}">
                  <a16:creationId xmlns:a16="http://schemas.microsoft.com/office/drawing/2014/main" id="{EA4B065F-7DA4-4AE8-9627-B03FCCBC2E63}"/>
                </a:ext>
              </a:extLst>
            </p:cNvPr>
            <p:cNvSpPr>
              <a:spLocks noEditPoints="1"/>
            </p:cNvSpPr>
            <p:nvPr/>
          </p:nvSpPr>
          <p:spPr bwMode="gray">
            <a:xfrm>
              <a:off x="1795973" y="4462561"/>
              <a:ext cx="517317" cy="451490"/>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6" name="Freeform 45">
              <a:extLst>
                <a:ext uri="{FF2B5EF4-FFF2-40B4-BE49-F238E27FC236}">
                  <a16:creationId xmlns:a16="http://schemas.microsoft.com/office/drawing/2014/main" id="{88645F6F-1968-4189-A16B-817DCF136E19}"/>
                </a:ext>
              </a:extLst>
            </p:cNvPr>
            <p:cNvSpPr>
              <a:spLocks/>
            </p:cNvSpPr>
            <p:nvPr/>
          </p:nvSpPr>
          <p:spPr bwMode="gray">
            <a:xfrm>
              <a:off x="1353421" y="2941284"/>
              <a:ext cx="605677" cy="444077"/>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7" name="Freeform 46">
              <a:extLst>
                <a:ext uri="{FF2B5EF4-FFF2-40B4-BE49-F238E27FC236}">
                  <a16:creationId xmlns:a16="http://schemas.microsoft.com/office/drawing/2014/main" id="{FBCA8B3A-DE63-45CB-85EB-2F45A56E4E39}"/>
                </a:ext>
              </a:extLst>
            </p:cNvPr>
            <p:cNvSpPr>
              <a:spLocks noEditPoints="1"/>
            </p:cNvSpPr>
            <p:nvPr/>
          </p:nvSpPr>
          <p:spPr bwMode="gray">
            <a:xfrm>
              <a:off x="1449332" y="3304551"/>
              <a:ext cx="459922" cy="361044"/>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8" name="Freeform 47">
              <a:extLst>
                <a:ext uri="{FF2B5EF4-FFF2-40B4-BE49-F238E27FC236}">
                  <a16:creationId xmlns:a16="http://schemas.microsoft.com/office/drawing/2014/main" id="{969A107E-0E89-4BC8-9A76-91FE6E240C38}"/>
                </a:ext>
              </a:extLst>
            </p:cNvPr>
            <p:cNvSpPr>
              <a:spLocks/>
            </p:cNvSpPr>
            <p:nvPr/>
          </p:nvSpPr>
          <p:spPr bwMode="gray">
            <a:xfrm>
              <a:off x="2450739" y="3864280"/>
              <a:ext cx="78542" cy="67465"/>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09" name="Freeform 48">
              <a:extLst>
                <a:ext uri="{FF2B5EF4-FFF2-40B4-BE49-F238E27FC236}">
                  <a16:creationId xmlns:a16="http://schemas.microsoft.com/office/drawing/2014/main" id="{A94002A4-FC0D-438B-99A4-42D5FBD938B4}"/>
                </a:ext>
              </a:extLst>
            </p:cNvPr>
            <p:cNvSpPr>
              <a:spLocks noEditPoints="1"/>
            </p:cNvSpPr>
            <p:nvPr/>
          </p:nvSpPr>
          <p:spPr bwMode="gray">
            <a:xfrm>
              <a:off x="3068500" y="4299461"/>
              <a:ext cx="11328" cy="14086"/>
            </a:xfrm>
            <a:custGeom>
              <a:avLst/>
              <a:gdLst>
                <a:gd name="T0" fmla="*/ 5 w 15"/>
                <a:gd name="T1" fmla="*/ 2 h 19"/>
                <a:gd name="T2" fmla="*/ 7 w 15"/>
                <a:gd name="T3" fmla="*/ 4 h 19"/>
                <a:gd name="T4" fmla="*/ 7 w 15"/>
                <a:gd name="T5" fmla="*/ 5 h 19"/>
                <a:gd name="T6" fmla="*/ 8 w 15"/>
                <a:gd name="T7" fmla="*/ 5 h 19"/>
                <a:gd name="T8" fmla="*/ 10 w 15"/>
                <a:gd name="T9" fmla="*/ 5 h 19"/>
                <a:gd name="T10" fmla="*/ 12 w 15"/>
                <a:gd name="T11" fmla="*/ 7 h 19"/>
                <a:gd name="T12" fmla="*/ 12 w 15"/>
                <a:gd name="T13" fmla="*/ 9 h 19"/>
                <a:gd name="T14" fmla="*/ 10 w 15"/>
                <a:gd name="T15" fmla="*/ 11 h 19"/>
                <a:gd name="T16" fmla="*/ 10 w 15"/>
                <a:gd name="T17" fmla="*/ 12 h 19"/>
                <a:gd name="T18" fmla="*/ 12 w 15"/>
                <a:gd name="T19" fmla="*/ 12 h 19"/>
                <a:gd name="T20" fmla="*/ 10 w 15"/>
                <a:gd name="T21" fmla="*/ 14 h 19"/>
                <a:gd name="T22" fmla="*/ 10 w 15"/>
                <a:gd name="T23" fmla="*/ 16 h 19"/>
                <a:gd name="T24" fmla="*/ 8 w 15"/>
                <a:gd name="T25" fmla="*/ 16 h 19"/>
                <a:gd name="T26" fmla="*/ 8 w 15"/>
                <a:gd name="T27" fmla="*/ 17 h 19"/>
                <a:gd name="T28" fmla="*/ 10 w 15"/>
                <a:gd name="T29" fmla="*/ 17 h 19"/>
                <a:gd name="T30" fmla="*/ 8 w 15"/>
                <a:gd name="T31" fmla="*/ 19 h 19"/>
                <a:gd name="T32" fmla="*/ 8 w 15"/>
                <a:gd name="T33" fmla="*/ 17 h 19"/>
                <a:gd name="T34" fmla="*/ 7 w 15"/>
                <a:gd name="T35" fmla="*/ 19 h 19"/>
                <a:gd name="T36" fmla="*/ 5 w 15"/>
                <a:gd name="T37" fmla="*/ 19 h 19"/>
                <a:gd name="T38" fmla="*/ 5 w 15"/>
                <a:gd name="T39" fmla="*/ 17 h 19"/>
                <a:gd name="T40" fmla="*/ 3 w 15"/>
                <a:gd name="T41" fmla="*/ 17 h 19"/>
                <a:gd name="T42" fmla="*/ 5 w 15"/>
                <a:gd name="T43" fmla="*/ 16 h 19"/>
                <a:gd name="T44" fmla="*/ 3 w 15"/>
                <a:gd name="T45" fmla="*/ 14 h 19"/>
                <a:gd name="T46" fmla="*/ 5 w 15"/>
                <a:gd name="T47" fmla="*/ 14 h 19"/>
                <a:gd name="T48" fmla="*/ 5 w 15"/>
                <a:gd name="T49" fmla="*/ 16 h 19"/>
                <a:gd name="T50" fmla="*/ 7 w 15"/>
                <a:gd name="T51" fmla="*/ 16 h 19"/>
                <a:gd name="T52" fmla="*/ 7 w 15"/>
                <a:gd name="T53" fmla="*/ 14 h 19"/>
                <a:gd name="T54" fmla="*/ 5 w 15"/>
                <a:gd name="T55" fmla="*/ 12 h 19"/>
                <a:gd name="T56" fmla="*/ 5 w 15"/>
                <a:gd name="T57" fmla="*/ 11 h 19"/>
                <a:gd name="T58" fmla="*/ 5 w 15"/>
                <a:gd name="T59" fmla="*/ 7 h 19"/>
                <a:gd name="T60" fmla="*/ 1 w 15"/>
                <a:gd name="T61" fmla="*/ 7 h 19"/>
                <a:gd name="T62" fmla="*/ 3 w 15"/>
                <a:gd name="T63" fmla="*/ 5 h 19"/>
                <a:gd name="T64" fmla="*/ 1 w 15"/>
                <a:gd name="T65" fmla="*/ 5 h 19"/>
                <a:gd name="T66" fmla="*/ 1 w 15"/>
                <a:gd name="T67" fmla="*/ 4 h 19"/>
                <a:gd name="T68" fmla="*/ 3 w 15"/>
                <a:gd name="T69" fmla="*/ 4 h 19"/>
                <a:gd name="T70" fmla="*/ 5 w 15"/>
                <a:gd name="T71" fmla="*/ 2 h 19"/>
                <a:gd name="T72" fmla="*/ 12 w 15"/>
                <a:gd name="T73" fmla="*/ 7 h 19"/>
                <a:gd name="T74" fmla="*/ 15 w 15"/>
                <a:gd name="T75" fmla="*/ 7 h 19"/>
                <a:gd name="T76" fmla="*/ 15 w 15"/>
                <a:gd name="T77" fmla="*/ 11 h 19"/>
                <a:gd name="T78" fmla="*/ 12 w 15"/>
                <a:gd name="T79" fmla="*/ 11 h 19"/>
                <a:gd name="T80" fmla="*/ 12 w 15"/>
                <a:gd name="T81" fmla="*/ 7 h 19"/>
                <a:gd name="T82" fmla="*/ 0 w 15"/>
                <a:gd name="T83" fmla="*/ 0 h 19"/>
                <a:gd name="T84" fmla="*/ 1 w 15"/>
                <a:gd name="T85" fmla="*/ 0 h 19"/>
                <a:gd name="T86" fmla="*/ 1 w 15"/>
                <a:gd name="T87" fmla="*/ 2 h 19"/>
                <a:gd name="T88" fmla="*/ 0 w 15"/>
                <a:gd name="T89" fmla="*/ 2 h 19"/>
                <a:gd name="T90" fmla="*/ 0 w 15"/>
                <a:gd name="T9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19">
                  <a:moveTo>
                    <a:pt x="5" y="2"/>
                  </a:moveTo>
                  <a:lnTo>
                    <a:pt x="7" y="4"/>
                  </a:lnTo>
                  <a:lnTo>
                    <a:pt x="7" y="5"/>
                  </a:lnTo>
                  <a:lnTo>
                    <a:pt x="8" y="5"/>
                  </a:lnTo>
                  <a:lnTo>
                    <a:pt x="10" y="5"/>
                  </a:lnTo>
                  <a:lnTo>
                    <a:pt x="12" y="7"/>
                  </a:lnTo>
                  <a:lnTo>
                    <a:pt x="12" y="9"/>
                  </a:lnTo>
                  <a:lnTo>
                    <a:pt x="10" y="11"/>
                  </a:lnTo>
                  <a:lnTo>
                    <a:pt x="10" y="12"/>
                  </a:lnTo>
                  <a:lnTo>
                    <a:pt x="12" y="12"/>
                  </a:lnTo>
                  <a:lnTo>
                    <a:pt x="10" y="14"/>
                  </a:lnTo>
                  <a:lnTo>
                    <a:pt x="10" y="16"/>
                  </a:lnTo>
                  <a:lnTo>
                    <a:pt x="8" y="16"/>
                  </a:lnTo>
                  <a:lnTo>
                    <a:pt x="8" y="17"/>
                  </a:lnTo>
                  <a:lnTo>
                    <a:pt x="10" y="17"/>
                  </a:lnTo>
                  <a:lnTo>
                    <a:pt x="8" y="19"/>
                  </a:lnTo>
                  <a:lnTo>
                    <a:pt x="8" y="17"/>
                  </a:lnTo>
                  <a:lnTo>
                    <a:pt x="7" y="19"/>
                  </a:lnTo>
                  <a:lnTo>
                    <a:pt x="5" y="19"/>
                  </a:lnTo>
                  <a:lnTo>
                    <a:pt x="5" y="17"/>
                  </a:lnTo>
                  <a:lnTo>
                    <a:pt x="3" y="17"/>
                  </a:lnTo>
                  <a:lnTo>
                    <a:pt x="5" y="16"/>
                  </a:lnTo>
                  <a:lnTo>
                    <a:pt x="3" y="14"/>
                  </a:lnTo>
                  <a:lnTo>
                    <a:pt x="5" y="14"/>
                  </a:lnTo>
                  <a:lnTo>
                    <a:pt x="5" y="16"/>
                  </a:lnTo>
                  <a:lnTo>
                    <a:pt x="7" y="16"/>
                  </a:lnTo>
                  <a:lnTo>
                    <a:pt x="7" y="14"/>
                  </a:lnTo>
                  <a:lnTo>
                    <a:pt x="5" y="12"/>
                  </a:lnTo>
                  <a:lnTo>
                    <a:pt x="5" y="11"/>
                  </a:lnTo>
                  <a:lnTo>
                    <a:pt x="5" y="7"/>
                  </a:lnTo>
                  <a:lnTo>
                    <a:pt x="1" y="7"/>
                  </a:lnTo>
                  <a:lnTo>
                    <a:pt x="3" y="5"/>
                  </a:lnTo>
                  <a:lnTo>
                    <a:pt x="1" y="5"/>
                  </a:lnTo>
                  <a:lnTo>
                    <a:pt x="1" y="4"/>
                  </a:lnTo>
                  <a:lnTo>
                    <a:pt x="3" y="4"/>
                  </a:lnTo>
                  <a:lnTo>
                    <a:pt x="5" y="2"/>
                  </a:lnTo>
                  <a:close/>
                  <a:moveTo>
                    <a:pt x="12" y="7"/>
                  </a:moveTo>
                  <a:lnTo>
                    <a:pt x="15" y="7"/>
                  </a:lnTo>
                  <a:lnTo>
                    <a:pt x="15" y="11"/>
                  </a:lnTo>
                  <a:lnTo>
                    <a:pt x="12" y="11"/>
                  </a:lnTo>
                  <a:lnTo>
                    <a:pt x="12" y="7"/>
                  </a:lnTo>
                  <a:close/>
                  <a:moveTo>
                    <a:pt x="0" y="0"/>
                  </a:moveTo>
                  <a:lnTo>
                    <a:pt x="1" y="0"/>
                  </a:lnTo>
                  <a:lnTo>
                    <a:pt x="1" y="2"/>
                  </a:lnTo>
                  <a:lnTo>
                    <a:pt x="0" y="2"/>
                  </a:lnTo>
                  <a:lnTo>
                    <a:pt x="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0" name="Freeform 49">
              <a:extLst>
                <a:ext uri="{FF2B5EF4-FFF2-40B4-BE49-F238E27FC236}">
                  <a16:creationId xmlns:a16="http://schemas.microsoft.com/office/drawing/2014/main" id="{59446EBA-0B4C-47B1-8E1D-526A28965531}"/>
                </a:ext>
              </a:extLst>
            </p:cNvPr>
            <p:cNvSpPr>
              <a:spLocks noEditPoints="1"/>
            </p:cNvSpPr>
            <p:nvPr/>
          </p:nvSpPr>
          <p:spPr bwMode="gray">
            <a:xfrm>
              <a:off x="1594332" y="3761231"/>
              <a:ext cx="38516" cy="64499"/>
            </a:xfrm>
            <a:custGeom>
              <a:avLst/>
              <a:gdLst>
                <a:gd name="T0" fmla="*/ 12 w 51"/>
                <a:gd name="T1" fmla="*/ 66 h 87"/>
                <a:gd name="T2" fmla="*/ 14 w 51"/>
                <a:gd name="T3" fmla="*/ 68 h 87"/>
                <a:gd name="T4" fmla="*/ 12 w 51"/>
                <a:gd name="T5" fmla="*/ 68 h 87"/>
                <a:gd name="T6" fmla="*/ 14 w 51"/>
                <a:gd name="T7" fmla="*/ 70 h 87"/>
                <a:gd name="T8" fmla="*/ 16 w 51"/>
                <a:gd name="T9" fmla="*/ 71 h 87"/>
                <a:gd name="T10" fmla="*/ 14 w 51"/>
                <a:gd name="T11" fmla="*/ 73 h 87"/>
                <a:gd name="T12" fmla="*/ 14 w 51"/>
                <a:gd name="T13" fmla="*/ 75 h 87"/>
                <a:gd name="T14" fmla="*/ 9 w 51"/>
                <a:gd name="T15" fmla="*/ 80 h 87"/>
                <a:gd name="T16" fmla="*/ 10 w 51"/>
                <a:gd name="T17" fmla="*/ 82 h 87"/>
                <a:gd name="T18" fmla="*/ 7 w 51"/>
                <a:gd name="T19" fmla="*/ 83 h 87"/>
                <a:gd name="T20" fmla="*/ 5 w 51"/>
                <a:gd name="T21" fmla="*/ 82 h 87"/>
                <a:gd name="T22" fmla="*/ 5 w 51"/>
                <a:gd name="T23" fmla="*/ 85 h 87"/>
                <a:gd name="T24" fmla="*/ 4 w 51"/>
                <a:gd name="T25" fmla="*/ 83 h 87"/>
                <a:gd name="T26" fmla="*/ 4 w 51"/>
                <a:gd name="T27" fmla="*/ 85 h 87"/>
                <a:gd name="T28" fmla="*/ 2 w 51"/>
                <a:gd name="T29" fmla="*/ 83 h 87"/>
                <a:gd name="T30" fmla="*/ 4 w 51"/>
                <a:gd name="T31" fmla="*/ 82 h 87"/>
                <a:gd name="T32" fmla="*/ 2 w 51"/>
                <a:gd name="T33" fmla="*/ 82 h 87"/>
                <a:gd name="T34" fmla="*/ 0 w 51"/>
                <a:gd name="T35" fmla="*/ 76 h 87"/>
                <a:gd name="T36" fmla="*/ 0 w 51"/>
                <a:gd name="T37" fmla="*/ 73 h 87"/>
                <a:gd name="T38" fmla="*/ 2 w 51"/>
                <a:gd name="T39" fmla="*/ 70 h 87"/>
                <a:gd name="T40" fmla="*/ 4 w 51"/>
                <a:gd name="T41" fmla="*/ 68 h 87"/>
                <a:gd name="T42" fmla="*/ 5 w 51"/>
                <a:gd name="T43" fmla="*/ 68 h 87"/>
                <a:gd name="T44" fmla="*/ 7 w 51"/>
                <a:gd name="T45" fmla="*/ 66 h 87"/>
                <a:gd name="T46" fmla="*/ 12 w 51"/>
                <a:gd name="T47" fmla="*/ 66 h 87"/>
                <a:gd name="T48" fmla="*/ 51 w 51"/>
                <a:gd name="T49" fmla="*/ 2 h 87"/>
                <a:gd name="T50" fmla="*/ 50 w 51"/>
                <a:gd name="T51" fmla="*/ 3 h 87"/>
                <a:gd name="T52" fmla="*/ 51 w 51"/>
                <a:gd name="T53" fmla="*/ 5 h 87"/>
                <a:gd name="T54" fmla="*/ 50 w 51"/>
                <a:gd name="T55" fmla="*/ 5 h 87"/>
                <a:gd name="T56" fmla="*/ 50 w 51"/>
                <a:gd name="T57" fmla="*/ 8 h 87"/>
                <a:gd name="T58" fmla="*/ 48 w 51"/>
                <a:gd name="T59" fmla="*/ 8 h 87"/>
                <a:gd name="T60" fmla="*/ 46 w 51"/>
                <a:gd name="T61" fmla="*/ 7 h 87"/>
                <a:gd name="T62" fmla="*/ 44 w 51"/>
                <a:gd name="T63" fmla="*/ 8 h 87"/>
                <a:gd name="T64" fmla="*/ 44 w 51"/>
                <a:gd name="T65" fmla="*/ 5 h 87"/>
                <a:gd name="T66" fmla="*/ 46 w 51"/>
                <a:gd name="T67" fmla="*/ 5 h 87"/>
                <a:gd name="T68" fmla="*/ 46 w 51"/>
                <a:gd name="T69" fmla="*/ 2 h 87"/>
                <a:gd name="T70" fmla="*/ 48 w 51"/>
                <a:gd name="T71" fmla="*/ 0 h 87"/>
                <a:gd name="T72" fmla="*/ 51 w 51"/>
                <a:gd name="T73" fmla="*/ 2 h 87"/>
                <a:gd name="T74" fmla="*/ 2 w 51"/>
                <a:gd name="T75" fmla="*/ 87 h 87"/>
                <a:gd name="T76" fmla="*/ 4 w 51"/>
                <a:gd name="T77" fmla="*/ 87 h 87"/>
                <a:gd name="T78" fmla="*/ 2 w 51"/>
                <a:gd name="T7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87">
                  <a:moveTo>
                    <a:pt x="12" y="66"/>
                  </a:moveTo>
                  <a:lnTo>
                    <a:pt x="14" y="68"/>
                  </a:lnTo>
                  <a:lnTo>
                    <a:pt x="12" y="68"/>
                  </a:lnTo>
                  <a:lnTo>
                    <a:pt x="14" y="70"/>
                  </a:lnTo>
                  <a:lnTo>
                    <a:pt x="16" y="71"/>
                  </a:lnTo>
                  <a:lnTo>
                    <a:pt x="14" y="73"/>
                  </a:lnTo>
                  <a:lnTo>
                    <a:pt x="14" y="75"/>
                  </a:lnTo>
                  <a:lnTo>
                    <a:pt x="9" y="80"/>
                  </a:lnTo>
                  <a:lnTo>
                    <a:pt x="10" y="82"/>
                  </a:lnTo>
                  <a:lnTo>
                    <a:pt x="7" y="83"/>
                  </a:lnTo>
                  <a:lnTo>
                    <a:pt x="5" y="82"/>
                  </a:lnTo>
                  <a:lnTo>
                    <a:pt x="5" y="85"/>
                  </a:lnTo>
                  <a:lnTo>
                    <a:pt x="4" y="83"/>
                  </a:lnTo>
                  <a:lnTo>
                    <a:pt x="4" y="85"/>
                  </a:lnTo>
                  <a:lnTo>
                    <a:pt x="2" y="83"/>
                  </a:lnTo>
                  <a:lnTo>
                    <a:pt x="4" y="82"/>
                  </a:lnTo>
                  <a:lnTo>
                    <a:pt x="2" y="82"/>
                  </a:lnTo>
                  <a:lnTo>
                    <a:pt x="0" y="76"/>
                  </a:lnTo>
                  <a:lnTo>
                    <a:pt x="0" y="73"/>
                  </a:lnTo>
                  <a:lnTo>
                    <a:pt x="2" y="70"/>
                  </a:lnTo>
                  <a:lnTo>
                    <a:pt x="4" y="68"/>
                  </a:lnTo>
                  <a:lnTo>
                    <a:pt x="5" y="68"/>
                  </a:lnTo>
                  <a:lnTo>
                    <a:pt x="7" y="66"/>
                  </a:lnTo>
                  <a:lnTo>
                    <a:pt x="12" y="66"/>
                  </a:lnTo>
                  <a:close/>
                  <a:moveTo>
                    <a:pt x="51" y="2"/>
                  </a:moveTo>
                  <a:lnTo>
                    <a:pt x="50" y="3"/>
                  </a:lnTo>
                  <a:lnTo>
                    <a:pt x="51" y="5"/>
                  </a:lnTo>
                  <a:lnTo>
                    <a:pt x="50" y="5"/>
                  </a:lnTo>
                  <a:lnTo>
                    <a:pt x="50" y="8"/>
                  </a:lnTo>
                  <a:lnTo>
                    <a:pt x="48" y="8"/>
                  </a:lnTo>
                  <a:lnTo>
                    <a:pt x="46" y="7"/>
                  </a:lnTo>
                  <a:lnTo>
                    <a:pt x="44" y="8"/>
                  </a:lnTo>
                  <a:lnTo>
                    <a:pt x="44" y="5"/>
                  </a:lnTo>
                  <a:lnTo>
                    <a:pt x="46" y="5"/>
                  </a:lnTo>
                  <a:lnTo>
                    <a:pt x="46" y="2"/>
                  </a:lnTo>
                  <a:lnTo>
                    <a:pt x="48" y="0"/>
                  </a:lnTo>
                  <a:lnTo>
                    <a:pt x="51" y="2"/>
                  </a:lnTo>
                  <a:close/>
                  <a:moveTo>
                    <a:pt x="2" y="87"/>
                  </a:moveTo>
                  <a:lnTo>
                    <a:pt x="4" y="87"/>
                  </a:lnTo>
                  <a:lnTo>
                    <a:pt x="2" y="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1" name="Freeform 50">
              <a:extLst>
                <a:ext uri="{FF2B5EF4-FFF2-40B4-BE49-F238E27FC236}">
                  <a16:creationId xmlns:a16="http://schemas.microsoft.com/office/drawing/2014/main" id="{1E77C4CB-4FA2-47C1-8D96-18394C1A7B1F}"/>
                </a:ext>
              </a:extLst>
            </p:cNvPr>
            <p:cNvSpPr>
              <a:spLocks noEditPoints="1"/>
            </p:cNvSpPr>
            <p:nvPr/>
          </p:nvSpPr>
          <p:spPr bwMode="gray">
            <a:xfrm>
              <a:off x="676754" y="3198536"/>
              <a:ext cx="236380" cy="163841"/>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2" name="Freeform 51">
              <a:extLst>
                <a:ext uri="{FF2B5EF4-FFF2-40B4-BE49-F238E27FC236}">
                  <a16:creationId xmlns:a16="http://schemas.microsoft.com/office/drawing/2014/main" id="{C7AE3EB0-D78E-4A32-83D7-BE82A2BEC6AF}"/>
                </a:ext>
              </a:extLst>
            </p:cNvPr>
            <p:cNvSpPr>
              <a:spLocks noEditPoints="1"/>
            </p:cNvSpPr>
            <p:nvPr/>
          </p:nvSpPr>
          <p:spPr bwMode="gray">
            <a:xfrm>
              <a:off x="838368" y="3449858"/>
              <a:ext cx="115547" cy="115653"/>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3" name="Freeform 52">
              <a:extLst>
                <a:ext uri="{FF2B5EF4-FFF2-40B4-BE49-F238E27FC236}">
                  <a16:creationId xmlns:a16="http://schemas.microsoft.com/office/drawing/2014/main" id="{2389B2B6-C160-44FD-9677-A1DA2AF790BE}"/>
                </a:ext>
              </a:extLst>
            </p:cNvPr>
            <p:cNvSpPr>
              <a:spLocks noEditPoints="1"/>
            </p:cNvSpPr>
            <p:nvPr/>
          </p:nvSpPr>
          <p:spPr bwMode="gray">
            <a:xfrm>
              <a:off x="2915192" y="3374981"/>
              <a:ext cx="397995" cy="512282"/>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4" name="Freeform 53">
              <a:extLst>
                <a:ext uri="{FF2B5EF4-FFF2-40B4-BE49-F238E27FC236}">
                  <a16:creationId xmlns:a16="http://schemas.microsoft.com/office/drawing/2014/main" id="{2C632776-8CBA-47F2-A487-E9313F2C438B}"/>
                </a:ext>
              </a:extLst>
            </p:cNvPr>
            <p:cNvSpPr>
              <a:spLocks noEditPoints="1"/>
            </p:cNvSpPr>
            <p:nvPr/>
          </p:nvSpPr>
          <p:spPr bwMode="gray">
            <a:xfrm>
              <a:off x="1977223" y="4656798"/>
              <a:ext cx="627579" cy="477437"/>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5" name="Freeform 54">
              <a:extLst>
                <a:ext uri="{FF2B5EF4-FFF2-40B4-BE49-F238E27FC236}">
                  <a16:creationId xmlns:a16="http://schemas.microsoft.com/office/drawing/2014/main" id="{F652E265-8D53-4F4E-BB18-A738FDBAF980}"/>
                </a:ext>
              </a:extLst>
            </p:cNvPr>
            <p:cNvSpPr>
              <a:spLocks/>
            </p:cNvSpPr>
            <p:nvPr/>
          </p:nvSpPr>
          <p:spPr bwMode="gray">
            <a:xfrm>
              <a:off x="2270999" y="3366826"/>
              <a:ext cx="425938" cy="327682"/>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6" name="Freeform 55">
              <a:extLst>
                <a:ext uri="{FF2B5EF4-FFF2-40B4-BE49-F238E27FC236}">
                  <a16:creationId xmlns:a16="http://schemas.microsoft.com/office/drawing/2014/main" id="{8587A7CD-E736-44F1-A3FD-AB17DCF22385}"/>
                </a:ext>
              </a:extLst>
            </p:cNvPr>
            <p:cNvSpPr>
              <a:spLocks noEditPoints="1"/>
            </p:cNvSpPr>
            <p:nvPr/>
          </p:nvSpPr>
          <p:spPr bwMode="gray">
            <a:xfrm>
              <a:off x="2181130" y="2998368"/>
              <a:ext cx="644193" cy="500420"/>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7" name="Freeform 56">
              <a:extLst>
                <a:ext uri="{FF2B5EF4-FFF2-40B4-BE49-F238E27FC236}">
                  <a16:creationId xmlns:a16="http://schemas.microsoft.com/office/drawing/2014/main" id="{4E737B50-5DA9-41E2-B601-A37B6AFEC24F}"/>
                </a:ext>
              </a:extLst>
            </p:cNvPr>
            <p:cNvSpPr>
              <a:spLocks/>
            </p:cNvSpPr>
            <p:nvPr/>
          </p:nvSpPr>
          <p:spPr bwMode="gray">
            <a:xfrm>
              <a:off x="2525504" y="4791725"/>
              <a:ext cx="51354" cy="60051"/>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8" name="Freeform 57">
              <a:extLst>
                <a:ext uri="{FF2B5EF4-FFF2-40B4-BE49-F238E27FC236}">
                  <a16:creationId xmlns:a16="http://schemas.microsoft.com/office/drawing/2014/main" id="{CE5A9E77-D00E-4E94-ADE1-8456EA2313F2}"/>
                </a:ext>
              </a:extLst>
            </p:cNvPr>
            <p:cNvSpPr>
              <a:spLocks noEditPoints="1"/>
            </p:cNvSpPr>
            <p:nvPr/>
          </p:nvSpPr>
          <p:spPr bwMode="gray">
            <a:xfrm>
              <a:off x="2471130" y="3862057"/>
              <a:ext cx="422917" cy="404784"/>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19" name="Freeform 58">
              <a:extLst>
                <a:ext uri="{FF2B5EF4-FFF2-40B4-BE49-F238E27FC236}">
                  <a16:creationId xmlns:a16="http://schemas.microsoft.com/office/drawing/2014/main" id="{714F01F1-88B1-48B3-BD46-AE2B5A4876B2}"/>
                </a:ext>
              </a:extLst>
            </p:cNvPr>
            <p:cNvSpPr>
              <a:spLocks/>
            </p:cNvSpPr>
            <p:nvPr/>
          </p:nvSpPr>
          <p:spPr bwMode="gray">
            <a:xfrm>
              <a:off x="1341338" y="3406859"/>
              <a:ext cx="74765" cy="189048"/>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20" name="Freeform 60">
              <a:extLst>
                <a:ext uri="{FF2B5EF4-FFF2-40B4-BE49-F238E27FC236}">
                  <a16:creationId xmlns:a16="http://schemas.microsoft.com/office/drawing/2014/main" id="{27013FE9-228C-4759-BE5C-157F56CDB227}"/>
                </a:ext>
              </a:extLst>
            </p:cNvPr>
            <p:cNvSpPr>
              <a:spLocks/>
            </p:cNvSpPr>
            <p:nvPr/>
          </p:nvSpPr>
          <p:spPr bwMode="gray">
            <a:xfrm>
              <a:off x="2477926" y="3666336"/>
              <a:ext cx="209192" cy="214995"/>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21" name="Freeform 61">
              <a:extLst>
                <a:ext uri="{FF2B5EF4-FFF2-40B4-BE49-F238E27FC236}">
                  <a16:creationId xmlns:a16="http://schemas.microsoft.com/office/drawing/2014/main" id="{3D90A764-B033-45B0-847C-A7127D3CC187}"/>
                </a:ext>
              </a:extLst>
            </p:cNvPr>
            <p:cNvSpPr>
              <a:spLocks/>
            </p:cNvSpPr>
            <p:nvPr/>
          </p:nvSpPr>
          <p:spPr bwMode="gray">
            <a:xfrm>
              <a:off x="693369" y="2784856"/>
              <a:ext cx="322474" cy="260218"/>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22" name="Freeform 62">
              <a:extLst>
                <a:ext uri="{FF2B5EF4-FFF2-40B4-BE49-F238E27FC236}">
                  <a16:creationId xmlns:a16="http://schemas.microsoft.com/office/drawing/2014/main" id="{853D0BE4-4B80-4BA6-8DC2-FB1BB285AE9C}"/>
                </a:ext>
              </a:extLst>
            </p:cNvPr>
            <p:cNvSpPr>
              <a:spLocks/>
            </p:cNvSpPr>
            <p:nvPr/>
          </p:nvSpPr>
          <p:spPr bwMode="gray">
            <a:xfrm>
              <a:off x="2188681" y="4134136"/>
              <a:ext cx="447083" cy="369940"/>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23" name="Freeform 63">
              <a:extLst>
                <a:ext uri="{FF2B5EF4-FFF2-40B4-BE49-F238E27FC236}">
                  <a16:creationId xmlns:a16="http://schemas.microsoft.com/office/drawing/2014/main" id="{A535A90F-D886-423A-B01A-F3287ACB81FF}"/>
                </a:ext>
              </a:extLst>
            </p:cNvPr>
            <p:cNvSpPr>
              <a:spLocks/>
            </p:cNvSpPr>
            <p:nvPr/>
          </p:nvSpPr>
          <p:spPr bwMode="gray">
            <a:xfrm>
              <a:off x="2311781" y="4412147"/>
              <a:ext cx="299818" cy="255770"/>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524" name="Freeform 64">
              <a:extLst>
                <a:ext uri="{FF2B5EF4-FFF2-40B4-BE49-F238E27FC236}">
                  <a16:creationId xmlns:a16="http://schemas.microsoft.com/office/drawing/2014/main" id="{06ADC171-B5A7-4515-B9FD-21E5D9157A92}"/>
                </a:ext>
              </a:extLst>
            </p:cNvPr>
            <p:cNvSpPr>
              <a:spLocks/>
            </p:cNvSpPr>
            <p:nvPr/>
          </p:nvSpPr>
          <p:spPr bwMode="gray">
            <a:xfrm>
              <a:off x="1126103" y="4421785"/>
              <a:ext cx="5287" cy="5190"/>
            </a:xfrm>
            <a:custGeom>
              <a:avLst/>
              <a:gdLst>
                <a:gd name="T0" fmla="*/ 7 w 7"/>
                <a:gd name="T1" fmla="*/ 2 h 7"/>
                <a:gd name="T2" fmla="*/ 7 w 7"/>
                <a:gd name="T3" fmla="*/ 4 h 7"/>
                <a:gd name="T4" fmla="*/ 1 w 7"/>
                <a:gd name="T5" fmla="*/ 7 h 7"/>
                <a:gd name="T6" fmla="*/ 0 w 7"/>
                <a:gd name="T7" fmla="*/ 5 h 7"/>
                <a:gd name="T8" fmla="*/ 3 w 7"/>
                <a:gd name="T9" fmla="*/ 0 h 7"/>
                <a:gd name="T10" fmla="*/ 7 w 7"/>
                <a:gd name="T11" fmla="*/ 2 h 7"/>
              </a:gdLst>
              <a:ahLst/>
              <a:cxnLst>
                <a:cxn ang="0">
                  <a:pos x="T0" y="T1"/>
                </a:cxn>
                <a:cxn ang="0">
                  <a:pos x="T2" y="T3"/>
                </a:cxn>
                <a:cxn ang="0">
                  <a:pos x="T4" y="T5"/>
                </a:cxn>
                <a:cxn ang="0">
                  <a:pos x="T6" y="T7"/>
                </a:cxn>
                <a:cxn ang="0">
                  <a:pos x="T8" y="T9"/>
                </a:cxn>
                <a:cxn ang="0">
                  <a:pos x="T10" y="T11"/>
                </a:cxn>
              </a:cxnLst>
              <a:rect l="0" t="0" r="r" b="b"/>
              <a:pathLst>
                <a:path w="7" h="7">
                  <a:moveTo>
                    <a:pt x="7" y="2"/>
                  </a:moveTo>
                  <a:lnTo>
                    <a:pt x="7" y="4"/>
                  </a:lnTo>
                  <a:lnTo>
                    <a:pt x="1" y="7"/>
                  </a:lnTo>
                  <a:lnTo>
                    <a:pt x="0" y="5"/>
                  </a:lnTo>
                  <a:lnTo>
                    <a:pt x="3" y="0"/>
                  </a:lnTo>
                  <a:lnTo>
                    <a:pt x="7"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grpSp>
      <p:sp>
        <p:nvSpPr>
          <p:cNvPr id="9" name="TextBox 8">
            <a:extLst>
              <a:ext uri="{FF2B5EF4-FFF2-40B4-BE49-F238E27FC236}">
                <a16:creationId xmlns:a16="http://schemas.microsoft.com/office/drawing/2014/main" id="{2C9F410D-53EA-48AD-B3F2-D663BB0418AF}"/>
              </a:ext>
            </a:extLst>
          </p:cNvPr>
          <p:cNvSpPr txBox="1"/>
          <p:nvPr/>
        </p:nvSpPr>
        <p:spPr>
          <a:xfrm>
            <a:off x="9644236" y="4984861"/>
            <a:ext cx="2164012" cy="1057745"/>
          </a:xfrm>
          <a:prstGeom prst="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5400000" scaled="1"/>
            <a:tileRect/>
          </a:gradFill>
          <a:ln w="9525">
            <a:noFill/>
            <a:miter lim="800000"/>
            <a:headEnd/>
            <a:tailEnd/>
          </a:ln>
          <a:effectLst/>
        </p:spPr>
        <p:txBody>
          <a:bodyPr wrap="square" tIns="91440" bIns="91440" anchor="ctr">
            <a:noAutofit/>
          </a:bodyPr>
          <a:lstStyle>
            <a:defPPr>
              <a:defRPr lang="en-US"/>
            </a:defPPr>
            <a:lvl1pPr>
              <a:buClr>
                <a:schemeClr val="bg1"/>
              </a:buClr>
              <a:defRPr sz="1400" b="1">
                <a:solidFill>
                  <a:schemeClr val="bg1"/>
                </a:solidFill>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FFFFFF"/>
              </a:buClr>
              <a:buFontTx/>
              <a:buNone/>
            </a:pPr>
            <a:r>
              <a:rPr lang="en-US" sz="1200" kern="1200" dirty="0">
                <a:solidFill>
                  <a:srgbClr val="FFFFFF"/>
                </a:solidFill>
                <a:latin typeface="Arial" charset="0"/>
                <a:ea typeface="+mn-ea"/>
                <a:cs typeface="+mn-cs"/>
              </a:rPr>
              <a:t>Lab referral networks created </a:t>
            </a:r>
            <a:r>
              <a:rPr lang="en-US" sz="1200" b="0" kern="1200" dirty="0">
                <a:solidFill>
                  <a:srgbClr val="FFFFFF"/>
                </a:solidFill>
                <a:latin typeface="Arial" charset="0"/>
                <a:ea typeface="+mn-ea"/>
                <a:cs typeface="+mn-cs"/>
              </a:rPr>
              <a:t>for Member States without diagnostic capabilities</a:t>
            </a:r>
          </a:p>
        </p:txBody>
      </p:sp>
      <p:cxnSp>
        <p:nvCxnSpPr>
          <p:cNvPr id="12" name="Straight Arrow Connector 11">
            <a:extLst>
              <a:ext uri="{FF2B5EF4-FFF2-40B4-BE49-F238E27FC236}">
                <a16:creationId xmlns:a16="http://schemas.microsoft.com/office/drawing/2014/main" id="{19641346-7059-471F-AFE5-B62E011F7D61}"/>
              </a:ext>
            </a:extLst>
          </p:cNvPr>
          <p:cNvCxnSpPr>
            <a:cxnSpLocks/>
          </p:cNvCxnSpPr>
          <p:nvPr/>
        </p:nvCxnSpPr>
        <p:spPr>
          <a:xfrm flipH="1" flipV="1">
            <a:off x="10030819" y="3589274"/>
            <a:ext cx="12056" cy="1395588"/>
          </a:xfrm>
          <a:prstGeom prst="straightConnector1">
            <a:avLst/>
          </a:prstGeom>
          <a:ln cmpd="sng">
            <a:solidFill>
              <a:schemeClr val="accent5"/>
            </a:solidFill>
            <a:tailEnd type="oval" w="med" len="med"/>
          </a:ln>
        </p:spPr>
        <p:style>
          <a:lnRef idx="1">
            <a:schemeClr val="accent1"/>
          </a:lnRef>
          <a:fillRef idx="0">
            <a:schemeClr val="accent1"/>
          </a:fillRef>
          <a:effectRef idx="0">
            <a:schemeClr val="accent1"/>
          </a:effectRef>
          <a:fontRef idx="minor">
            <a:schemeClr val="tx1"/>
          </a:fontRef>
        </p:style>
      </p:cxnSp>
      <p:sp>
        <p:nvSpPr>
          <p:cNvPr id="289" name="Legend4">
            <a:extLst>
              <a:ext uri="{FF2B5EF4-FFF2-40B4-BE49-F238E27FC236}">
                <a16:creationId xmlns:a16="http://schemas.microsoft.com/office/drawing/2014/main" id="{048EC880-A360-41AE-960D-B07110CC96C6}"/>
              </a:ext>
            </a:extLst>
          </p:cNvPr>
          <p:cNvSpPr>
            <a:spLocks noChangeArrowheads="1"/>
          </p:cNvSpPr>
          <p:nvPr/>
        </p:nvSpPr>
        <p:spPr bwMode="auto">
          <a:xfrm>
            <a:off x="9635313" y="1325560"/>
            <a:ext cx="243304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Countries with test kits and trained by WHO or other partners</a:t>
            </a:r>
          </a:p>
        </p:txBody>
      </p:sp>
      <p:sp>
        <p:nvSpPr>
          <p:cNvPr id="290" name="RectangleLegend4">
            <a:extLst>
              <a:ext uri="{FF2B5EF4-FFF2-40B4-BE49-F238E27FC236}">
                <a16:creationId xmlns:a16="http://schemas.microsoft.com/office/drawing/2014/main" id="{E9A4D47C-3523-4CAE-8CFD-942732EC15C1}"/>
              </a:ext>
            </a:extLst>
          </p:cNvPr>
          <p:cNvSpPr>
            <a:spLocks noChangeArrowheads="1"/>
          </p:cNvSpPr>
          <p:nvPr/>
        </p:nvSpPr>
        <p:spPr bwMode="auto">
          <a:xfrm>
            <a:off x="9305201" y="1325560"/>
            <a:ext cx="220134" cy="160338"/>
          </a:xfrm>
          <a:prstGeom prst="rect">
            <a:avLst/>
          </a:prstGeom>
          <a:solidFill>
            <a:schemeClr val="accent2"/>
          </a:solidFill>
          <a:ln w="9525">
            <a:solidFill>
              <a:srgbClr val="808080"/>
            </a:solidFill>
            <a:miter lim="800000"/>
            <a:headEnd/>
            <a:tailEnd/>
          </a:ln>
          <a:effectLst/>
        </p:spPr>
        <p:txBody>
          <a:bodyPr wrap="none" anchor="ctr"/>
          <a:lstStyle/>
          <a:p>
            <a:pPr fontAlgn="base">
              <a:spcBef>
                <a:spcPct val="0"/>
              </a:spcBef>
              <a:spcAft>
                <a:spcPct val="0"/>
              </a:spcAft>
              <a:buClrTx/>
              <a:buFontTx/>
              <a:buNone/>
            </a:pPr>
            <a:endParaRPr lang="en-US" sz="1632" kern="1200">
              <a:ea typeface="+mn-ea"/>
              <a:cs typeface="+mn-cs"/>
            </a:endParaRPr>
          </a:p>
        </p:txBody>
      </p:sp>
      <p:grpSp>
        <p:nvGrpSpPr>
          <p:cNvPr id="217" name="Group 216">
            <a:extLst>
              <a:ext uri="{FF2B5EF4-FFF2-40B4-BE49-F238E27FC236}">
                <a16:creationId xmlns:a16="http://schemas.microsoft.com/office/drawing/2014/main" id="{40C08C0E-89F7-41E9-9D38-788F50528A94}"/>
              </a:ext>
            </a:extLst>
          </p:cNvPr>
          <p:cNvGrpSpPr/>
          <p:nvPr/>
        </p:nvGrpSpPr>
        <p:grpSpPr>
          <a:xfrm>
            <a:off x="5947776" y="3390779"/>
            <a:ext cx="1188684" cy="800707"/>
            <a:chOff x="322823" y="3739372"/>
            <a:chExt cx="1356857" cy="1061442"/>
          </a:xfrm>
        </p:grpSpPr>
        <p:sp>
          <p:nvSpPr>
            <p:cNvPr id="219" name="TextBox 218">
              <a:extLst>
                <a:ext uri="{FF2B5EF4-FFF2-40B4-BE49-F238E27FC236}">
                  <a16:creationId xmlns:a16="http://schemas.microsoft.com/office/drawing/2014/main" id="{4A30BDB7-0C03-4D7A-89F5-1FAE2B575B2D}"/>
                </a:ext>
              </a:extLst>
            </p:cNvPr>
            <p:cNvSpPr txBox="1"/>
            <p:nvPr/>
          </p:nvSpPr>
          <p:spPr>
            <a:xfrm>
              <a:off x="737947" y="4229617"/>
              <a:ext cx="941733" cy="57119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400" kern="1200" dirty="0">
                  <a:ea typeface="+mn-ea"/>
                  <a:cs typeface="+mn-cs"/>
                </a:rPr>
                <a:t>countries</a:t>
              </a:r>
            </a:p>
          </p:txBody>
        </p:sp>
        <p:sp>
          <p:nvSpPr>
            <p:cNvPr id="220" name="TextBox 219">
              <a:extLst>
                <a:ext uri="{FF2B5EF4-FFF2-40B4-BE49-F238E27FC236}">
                  <a16:creationId xmlns:a16="http://schemas.microsoft.com/office/drawing/2014/main" id="{9D8B1BDC-9FFB-43AB-A39A-B6CC34D7B215}"/>
                </a:ext>
              </a:extLst>
            </p:cNvPr>
            <p:cNvSpPr txBox="1"/>
            <p:nvPr/>
          </p:nvSpPr>
          <p:spPr>
            <a:xfrm>
              <a:off x="322823" y="3739372"/>
              <a:ext cx="625277" cy="897595"/>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4400" b="1" kern="1200" dirty="0">
                  <a:solidFill>
                    <a:srgbClr val="303D24"/>
                  </a:solidFill>
                  <a:ea typeface="+mn-ea"/>
                  <a:cs typeface="+mn-cs"/>
                </a:rPr>
                <a:t>2</a:t>
              </a:r>
            </a:p>
          </p:txBody>
        </p:sp>
      </p:grpSp>
      <p:sp>
        <p:nvSpPr>
          <p:cNvPr id="218" name="TextBox 217">
            <a:extLst>
              <a:ext uri="{FF2B5EF4-FFF2-40B4-BE49-F238E27FC236}">
                <a16:creationId xmlns:a16="http://schemas.microsoft.com/office/drawing/2014/main" id="{14ABA68B-23BC-4FE2-A2AE-7A92F7822489}"/>
              </a:ext>
            </a:extLst>
          </p:cNvPr>
          <p:cNvSpPr txBox="1"/>
          <p:nvPr/>
        </p:nvSpPr>
        <p:spPr>
          <a:xfrm>
            <a:off x="5947776" y="3995189"/>
            <a:ext cx="1344439" cy="323165"/>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050" i="1" kern="1200" dirty="0">
                <a:solidFill>
                  <a:srgbClr val="6B9850"/>
                </a:solidFill>
                <a:ea typeface="+mn-ea"/>
                <a:cs typeface="+mn-cs"/>
              </a:rPr>
              <a:t>South Africa, Senegal</a:t>
            </a:r>
          </a:p>
        </p:txBody>
      </p:sp>
      <p:sp>
        <p:nvSpPr>
          <p:cNvPr id="216" name="TextBox 215">
            <a:extLst>
              <a:ext uri="{FF2B5EF4-FFF2-40B4-BE49-F238E27FC236}">
                <a16:creationId xmlns:a16="http://schemas.microsoft.com/office/drawing/2014/main" id="{99587BA1-0E3C-4EDF-BB31-A12FA1C965C3}"/>
              </a:ext>
            </a:extLst>
          </p:cNvPr>
          <p:cNvSpPr txBox="1"/>
          <p:nvPr/>
        </p:nvSpPr>
        <p:spPr>
          <a:xfrm>
            <a:off x="8815561" y="4135639"/>
            <a:ext cx="1344439" cy="323165"/>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050" kern="1200" dirty="0">
                <a:solidFill>
                  <a:srgbClr val="808080"/>
                </a:solidFill>
                <a:ea typeface="+mn-ea"/>
                <a:cs typeface="+mn-cs"/>
              </a:rPr>
              <a:t>with diagnostic capabilities</a:t>
            </a:r>
          </a:p>
        </p:txBody>
      </p:sp>
      <p:grpSp>
        <p:nvGrpSpPr>
          <p:cNvPr id="221" name="Group 220">
            <a:extLst>
              <a:ext uri="{FF2B5EF4-FFF2-40B4-BE49-F238E27FC236}">
                <a16:creationId xmlns:a16="http://schemas.microsoft.com/office/drawing/2014/main" id="{39B0CDBB-28F0-4DD4-B483-604C0F719043}"/>
              </a:ext>
            </a:extLst>
          </p:cNvPr>
          <p:cNvGrpSpPr/>
          <p:nvPr/>
        </p:nvGrpSpPr>
        <p:grpSpPr>
          <a:xfrm>
            <a:off x="6409125" y="2030676"/>
            <a:ext cx="1988814" cy="2050781"/>
            <a:chOff x="676754" y="2415657"/>
            <a:chExt cx="2636433" cy="2718578"/>
          </a:xfrm>
        </p:grpSpPr>
        <p:sp>
          <p:nvSpPr>
            <p:cNvPr id="222" name="Freeform 9">
              <a:extLst>
                <a:ext uri="{FF2B5EF4-FFF2-40B4-BE49-F238E27FC236}">
                  <a16:creationId xmlns:a16="http://schemas.microsoft.com/office/drawing/2014/main" id="{BE8FF399-7181-4870-BEEF-351E8DABD9CC}"/>
                </a:ext>
              </a:extLst>
            </p:cNvPr>
            <p:cNvSpPr>
              <a:spLocks/>
            </p:cNvSpPr>
            <p:nvPr/>
          </p:nvSpPr>
          <p:spPr bwMode="gray">
            <a:xfrm>
              <a:off x="1015842" y="2431967"/>
              <a:ext cx="790703" cy="681312"/>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24" name="Freeform 59">
              <a:extLst>
                <a:ext uri="{FF2B5EF4-FFF2-40B4-BE49-F238E27FC236}">
                  <a16:creationId xmlns:a16="http://schemas.microsoft.com/office/drawing/2014/main" id="{3F410587-334D-4FA3-9430-58B447EA071D}"/>
                </a:ext>
              </a:extLst>
            </p:cNvPr>
            <p:cNvSpPr>
              <a:spLocks noEditPoints="1"/>
            </p:cNvSpPr>
            <p:nvPr/>
          </p:nvSpPr>
          <p:spPr bwMode="gray">
            <a:xfrm>
              <a:off x="1635869" y="2415657"/>
              <a:ext cx="154818" cy="273563"/>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32" name="Freeform 10">
              <a:extLst>
                <a:ext uri="{FF2B5EF4-FFF2-40B4-BE49-F238E27FC236}">
                  <a16:creationId xmlns:a16="http://schemas.microsoft.com/office/drawing/2014/main" id="{5529C04E-2AF6-40CE-86CD-8CE8FCAA3436}"/>
                </a:ext>
              </a:extLst>
            </p:cNvPr>
            <p:cNvSpPr>
              <a:spLocks noEditPoints="1"/>
            </p:cNvSpPr>
            <p:nvPr/>
          </p:nvSpPr>
          <p:spPr bwMode="gray">
            <a:xfrm>
              <a:off x="1793707" y="3989570"/>
              <a:ext cx="475027" cy="513023"/>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34" name="Freeform 12">
              <a:extLst>
                <a:ext uri="{FF2B5EF4-FFF2-40B4-BE49-F238E27FC236}">
                  <a16:creationId xmlns:a16="http://schemas.microsoft.com/office/drawing/2014/main" id="{9C88DAFB-5D78-49F5-96B1-A6C860B05374}"/>
                </a:ext>
              </a:extLst>
            </p:cNvPr>
            <p:cNvSpPr>
              <a:spLocks/>
            </p:cNvSpPr>
            <p:nvPr/>
          </p:nvSpPr>
          <p:spPr bwMode="gray">
            <a:xfrm>
              <a:off x="1377588" y="3358671"/>
              <a:ext cx="117058" cy="232047"/>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37" name="Freeform 13">
              <a:extLst>
                <a:ext uri="{FF2B5EF4-FFF2-40B4-BE49-F238E27FC236}">
                  <a16:creationId xmlns:a16="http://schemas.microsoft.com/office/drawing/2014/main" id="{028D5F4E-D292-4E23-B1EB-D7FB4CE8C65A}"/>
                </a:ext>
              </a:extLst>
            </p:cNvPr>
            <p:cNvSpPr>
              <a:spLocks/>
            </p:cNvSpPr>
            <p:nvPr/>
          </p:nvSpPr>
          <p:spPr bwMode="gray">
            <a:xfrm>
              <a:off x="2111650" y="4493698"/>
              <a:ext cx="358723" cy="341768"/>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39" name="Freeform 14">
              <a:extLst>
                <a:ext uri="{FF2B5EF4-FFF2-40B4-BE49-F238E27FC236}">
                  <a16:creationId xmlns:a16="http://schemas.microsoft.com/office/drawing/2014/main" id="{F3DF96EE-9D13-4724-BCB0-6688247C7319}"/>
                </a:ext>
              </a:extLst>
            </p:cNvPr>
            <p:cNvSpPr>
              <a:spLocks/>
            </p:cNvSpPr>
            <p:nvPr/>
          </p:nvSpPr>
          <p:spPr bwMode="gray">
            <a:xfrm>
              <a:off x="1135920" y="3259328"/>
              <a:ext cx="303594" cy="212771"/>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47" name="Freeform 15">
              <a:extLst>
                <a:ext uri="{FF2B5EF4-FFF2-40B4-BE49-F238E27FC236}">
                  <a16:creationId xmlns:a16="http://schemas.microsoft.com/office/drawing/2014/main" id="{95DD9750-E3CC-4B0D-BFE3-1BFBD3F13A34}"/>
                </a:ext>
              </a:extLst>
            </p:cNvPr>
            <p:cNvSpPr>
              <a:spLocks/>
            </p:cNvSpPr>
            <p:nvPr/>
          </p:nvSpPr>
          <p:spPr bwMode="gray">
            <a:xfrm>
              <a:off x="2456025" y="3912469"/>
              <a:ext cx="70234" cy="80809"/>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48" name="Freeform 16">
              <a:extLst>
                <a:ext uri="{FF2B5EF4-FFF2-40B4-BE49-F238E27FC236}">
                  <a16:creationId xmlns:a16="http://schemas.microsoft.com/office/drawing/2014/main" id="{03D846B6-53E8-45DA-9B12-1AF43065D150}"/>
                </a:ext>
              </a:extLst>
            </p:cNvPr>
            <p:cNvSpPr>
              <a:spLocks noEditPoints="1"/>
            </p:cNvSpPr>
            <p:nvPr/>
          </p:nvSpPr>
          <p:spPr bwMode="gray">
            <a:xfrm>
              <a:off x="1676650" y="3333465"/>
              <a:ext cx="290001" cy="429991"/>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49" name="Freeform 17">
              <a:extLst>
                <a:ext uri="{FF2B5EF4-FFF2-40B4-BE49-F238E27FC236}">
                  <a16:creationId xmlns:a16="http://schemas.microsoft.com/office/drawing/2014/main" id="{943A2C06-6C91-45B7-9943-F1DC5191B521}"/>
                </a:ext>
              </a:extLst>
            </p:cNvPr>
            <p:cNvSpPr>
              <a:spLocks noEditPoints="1"/>
            </p:cNvSpPr>
            <p:nvPr/>
          </p:nvSpPr>
          <p:spPr bwMode="gray">
            <a:xfrm>
              <a:off x="1672874" y="3644096"/>
              <a:ext cx="7551" cy="12603"/>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0" name="Freeform 18">
              <a:extLst>
                <a:ext uri="{FF2B5EF4-FFF2-40B4-BE49-F238E27FC236}">
                  <a16:creationId xmlns:a16="http://schemas.microsoft.com/office/drawing/2014/main" id="{0ED92BB4-CC9C-4B0B-AB6E-50F1F47663B8}"/>
                </a:ext>
              </a:extLst>
            </p:cNvPr>
            <p:cNvSpPr>
              <a:spLocks/>
            </p:cNvSpPr>
            <p:nvPr/>
          </p:nvSpPr>
          <p:spPr bwMode="gray">
            <a:xfrm>
              <a:off x="1898681" y="3412049"/>
              <a:ext cx="498438" cy="329907"/>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1" name="Freeform 19">
              <a:extLst>
                <a:ext uri="{FF2B5EF4-FFF2-40B4-BE49-F238E27FC236}">
                  <a16:creationId xmlns:a16="http://schemas.microsoft.com/office/drawing/2014/main" id="{0681B1BE-2CB7-4681-8E63-37B8BC87C5A5}"/>
                </a:ext>
              </a:extLst>
            </p:cNvPr>
            <p:cNvSpPr>
              <a:spLocks/>
            </p:cNvSpPr>
            <p:nvPr/>
          </p:nvSpPr>
          <p:spPr bwMode="gray">
            <a:xfrm>
              <a:off x="1862432" y="2944249"/>
              <a:ext cx="402526" cy="601245"/>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2" name="Freeform 20">
              <a:extLst>
                <a:ext uri="{FF2B5EF4-FFF2-40B4-BE49-F238E27FC236}">
                  <a16:creationId xmlns:a16="http://schemas.microsoft.com/office/drawing/2014/main" id="{7CDA3436-5E75-4FA8-9B0E-2E867475D83F}"/>
                </a:ext>
              </a:extLst>
            </p:cNvPr>
            <p:cNvSpPr>
              <a:spLocks noEditPoints="1"/>
            </p:cNvSpPr>
            <p:nvPr/>
          </p:nvSpPr>
          <p:spPr bwMode="gray">
            <a:xfrm>
              <a:off x="3000530" y="4252013"/>
              <a:ext cx="49844" cy="40033"/>
            </a:xfrm>
            <a:custGeom>
              <a:avLst/>
              <a:gdLst>
                <a:gd name="T0" fmla="*/ 8 w 66"/>
                <a:gd name="T1" fmla="*/ 1 h 54"/>
                <a:gd name="T2" fmla="*/ 10 w 66"/>
                <a:gd name="T3" fmla="*/ 3 h 54"/>
                <a:gd name="T4" fmla="*/ 8 w 66"/>
                <a:gd name="T5" fmla="*/ 15 h 54"/>
                <a:gd name="T6" fmla="*/ 12 w 66"/>
                <a:gd name="T7" fmla="*/ 20 h 54"/>
                <a:gd name="T8" fmla="*/ 12 w 66"/>
                <a:gd name="T9" fmla="*/ 23 h 54"/>
                <a:gd name="T10" fmla="*/ 15 w 66"/>
                <a:gd name="T11" fmla="*/ 27 h 54"/>
                <a:gd name="T12" fmla="*/ 13 w 66"/>
                <a:gd name="T13" fmla="*/ 29 h 54"/>
                <a:gd name="T14" fmla="*/ 12 w 66"/>
                <a:gd name="T15" fmla="*/ 30 h 54"/>
                <a:gd name="T16" fmla="*/ 10 w 66"/>
                <a:gd name="T17" fmla="*/ 29 h 54"/>
                <a:gd name="T18" fmla="*/ 8 w 66"/>
                <a:gd name="T19" fmla="*/ 25 h 54"/>
                <a:gd name="T20" fmla="*/ 3 w 66"/>
                <a:gd name="T21" fmla="*/ 25 h 54"/>
                <a:gd name="T22" fmla="*/ 0 w 66"/>
                <a:gd name="T23" fmla="*/ 20 h 54"/>
                <a:gd name="T24" fmla="*/ 0 w 66"/>
                <a:gd name="T25" fmla="*/ 18 h 54"/>
                <a:gd name="T26" fmla="*/ 1 w 66"/>
                <a:gd name="T27" fmla="*/ 17 h 54"/>
                <a:gd name="T28" fmla="*/ 1 w 66"/>
                <a:gd name="T29" fmla="*/ 3 h 54"/>
                <a:gd name="T30" fmla="*/ 3 w 66"/>
                <a:gd name="T31" fmla="*/ 1 h 54"/>
                <a:gd name="T32" fmla="*/ 6 w 66"/>
                <a:gd name="T33" fmla="*/ 0 h 54"/>
                <a:gd name="T34" fmla="*/ 8 w 66"/>
                <a:gd name="T35" fmla="*/ 1 h 54"/>
                <a:gd name="T36" fmla="*/ 66 w 66"/>
                <a:gd name="T37" fmla="*/ 46 h 54"/>
                <a:gd name="T38" fmla="*/ 66 w 66"/>
                <a:gd name="T39" fmla="*/ 47 h 54"/>
                <a:gd name="T40" fmla="*/ 66 w 66"/>
                <a:gd name="T41" fmla="*/ 51 h 54"/>
                <a:gd name="T42" fmla="*/ 66 w 66"/>
                <a:gd name="T43" fmla="*/ 52 h 54"/>
                <a:gd name="T44" fmla="*/ 64 w 66"/>
                <a:gd name="T45" fmla="*/ 52 h 54"/>
                <a:gd name="T46" fmla="*/ 64 w 66"/>
                <a:gd name="T47" fmla="*/ 51 h 54"/>
                <a:gd name="T48" fmla="*/ 59 w 66"/>
                <a:gd name="T49" fmla="*/ 47 h 54"/>
                <a:gd name="T50" fmla="*/ 59 w 66"/>
                <a:gd name="T51" fmla="*/ 46 h 54"/>
                <a:gd name="T52" fmla="*/ 56 w 66"/>
                <a:gd name="T53" fmla="*/ 46 h 54"/>
                <a:gd name="T54" fmla="*/ 49 w 66"/>
                <a:gd name="T55" fmla="*/ 40 h 54"/>
                <a:gd name="T56" fmla="*/ 54 w 66"/>
                <a:gd name="T57" fmla="*/ 42 h 54"/>
                <a:gd name="T58" fmla="*/ 57 w 66"/>
                <a:gd name="T59" fmla="*/ 42 h 54"/>
                <a:gd name="T60" fmla="*/ 61 w 66"/>
                <a:gd name="T61" fmla="*/ 40 h 54"/>
                <a:gd name="T62" fmla="*/ 61 w 66"/>
                <a:gd name="T63" fmla="*/ 39 h 54"/>
                <a:gd name="T64" fmla="*/ 61 w 66"/>
                <a:gd name="T65" fmla="*/ 37 h 54"/>
                <a:gd name="T66" fmla="*/ 63 w 66"/>
                <a:gd name="T67" fmla="*/ 35 h 54"/>
                <a:gd name="T68" fmla="*/ 64 w 66"/>
                <a:gd name="T69" fmla="*/ 37 h 54"/>
                <a:gd name="T70" fmla="*/ 64 w 66"/>
                <a:gd name="T71" fmla="*/ 39 h 54"/>
                <a:gd name="T72" fmla="*/ 66 w 66"/>
                <a:gd name="T73" fmla="*/ 46 h 54"/>
                <a:gd name="T74" fmla="*/ 25 w 66"/>
                <a:gd name="T75" fmla="*/ 46 h 54"/>
                <a:gd name="T76" fmla="*/ 32 w 66"/>
                <a:gd name="T77" fmla="*/ 51 h 54"/>
                <a:gd name="T78" fmla="*/ 32 w 66"/>
                <a:gd name="T79" fmla="*/ 52 h 54"/>
                <a:gd name="T80" fmla="*/ 29 w 66"/>
                <a:gd name="T81" fmla="*/ 51 h 54"/>
                <a:gd name="T82" fmla="*/ 27 w 66"/>
                <a:gd name="T83" fmla="*/ 52 h 54"/>
                <a:gd name="T84" fmla="*/ 27 w 66"/>
                <a:gd name="T85" fmla="*/ 51 h 54"/>
                <a:gd name="T86" fmla="*/ 22 w 66"/>
                <a:gd name="T87" fmla="*/ 51 h 54"/>
                <a:gd name="T88" fmla="*/ 22 w 66"/>
                <a:gd name="T89" fmla="*/ 49 h 54"/>
                <a:gd name="T90" fmla="*/ 20 w 66"/>
                <a:gd name="T91" fmla="*/ 49 h 54"/>
                <a:gd name="T92" fmla="*/ 20 w 66"/>
                <a:gd name="T93" fmla="*/ 46 h 54"/>
                <a:gd name="T94" fmla="*/ 22 w 66"/>
                <a:gd name="T95" fmla="*/ 46 h 54"/>
                <a:gd name="T96" fmla="*/ 25 w 66"/>
                <a:gd name="T97" fmla="*/ 46 h 54"/>
                <a:gd name="T98" fmla="*/ 22 w 66"/>
                <a:gd name="T99" fmla="*/ 52 h 54"/>
                <a:gd name="T100" fmla="*/ 22 w 66"/>
                <a:gd name="T101" fmla="*/ 54 h 54"/>
                <a:gd name="T102" fmla="*/ 22 w 66"/>
                <a:gd name="T103" fmla="*/ 52 h 54"/>
                <a:gd name="T104" fmla="*/ 23 w 66"/>
                <a:gd name="T105" fmla="*/ 52 h 54"/>
                <a:gd name="T106" fmla="*/ 25 w 66"/>
                <a:gd name="T107" fmla="*/ 52 h 54"/>
                <a:gd name="T108" fmla="*/ 25 w 66"/>
                <a:gd name="T109" fmla="*/ 54 h 54"/>
                <a:gd name="T110" fmla="*/ 23 w 66"/>
                <a:gd name="T111" fmla="*/ 54 h 54"/>
                <a:gd name="T112" fmla="*/ 23 w 66"/>
                <a:gd name="T113" fmla="*/ 52 h 54"/>
                <a:gd name="T114" fmla="*/ 25 w 66"/>
                <a:gd name="T115" fmla="*/ 52 h 54"/>
                <a:gd name="T116" fmla="*/ 25 w 66"/>
                <a:gd name="T117" fmla="*/ 54 h 54"/>
                <a:gd name="T118" fmla="*/ 25 w 66"/>
                <a:gd name="T11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54">
                  <a:moveTo>
                    <a:pt x="8" y="1"/>
                  </a:moveTo>
                  <a:lnTo>
                    <a:pt x="10" y="3"/>
                  </a:lnTo>
                  <a:lnTo>
                    <a:pt x="8" y="15"/>
                  </a:lnTo>
                  <a:lnTo>
                    <a:pt x="12" y="20"/>
                  </a:lnTo>
                  <a:lnTo>
                    <a:pt x="12" y="23"/>
                  </a:lnTo>
                  <a:lnTo>
                    <a:pt x="15" y="27"/>
                  </a:lnTo>
                  <a:lnTo>
                    <a:pt x="13" y="29"/>
                  </a:lnTo>
                  <a:lnTo>
                    <a:pt x="12" y="30"/>
                  </a:lnTo>
                  <a:lnTo>
                    <a:pt x="10" y="29"/>
                  </a:lnTo>
                  <a:lnTo>
                    <a:pt x="8" y="25"/>
                  </a:lnTo>
                  <a:lnTo>
                    <a:pt x="3" y="25"/>
                  </a:lnTo>
                  <a:lnTo>
                    <a:pt x="0" y="20"/>
                  </a:lnTo>
                  <a:lnTo>
                    <a:pt x="0" y="18"/>
                  </a:lnTo>
                  <a:lnTo>
                    <a:pt x="1" y="17"/>
                  </a:lnTo>
                  <a:lnTo>
                    <a:pt x="1" y="3"/>
                  </a:lnTo>
                  <a:lnTo>
                    <a:pt x="3" y="1"/>
                  </a:lnTo>
                  <a:lnTo>
                    <a:pt x="6" y="0"/>
                  </a:lnTo>
                  <a:lnTo>
                    <a:pt x="8" y="1"/>
                  </a:lnTo>
                  <a:close/>
                  <a:moveTo>
                    <a:pt x="66" y="46"/>
                  </a:moveTo>
                  <a:lnTo>
                    <a:pt x="66" y="47"/>
                  </a:lnTo>
                  <a:lnTo>
                    <a:pt x="66" y="51"/>
                  </a:lnTo>
                  <a:lnTo>
                    <a:pt x="66" y="52"/>
                  </a:lnTo>
                  <a:lnTo>
                    <a:pt x="64" y="52"/>
                  </a:lnTo>
                  <a:lnTo>
                    <a:pt x="64" y="51"/>
                  </a:lnTo>
                  <a:lnTo>
                    <a:pt x="59" y="47"/>
                  </a:lnTo>
                  <a:lnTo>
                    <a:pt x="59" y="46"/>
                  </a:lnTo>
                  <a:lnTo>
                    <a:pt x="56" y="46"/>
                  </a:lnTo>
                  <a:lnTo>
                    <a:pt x="49" y="40"/>
                  </a:lnTo>
                  <a:lnTo>
                    <a:pt x="54" y="42"/>
                  </a:lnTo>
                  <a:lnTo>
                    <a:pt x="57" y="42"/>
                  </a:lnTo>
                  <a:lnTo>
                    <a:pt x="61" y="40"/>
                  </a:lnTo>
                  <a:lnTo>
                    <a:pt x="61" y="39"/>
                  </a:lnTo>
                  <a:lnTo>
                    <a:pt x="61" y="37"/>
                  </a:lnTo>
                  <a:lnTo>
                    <a:pt x="63" y="35"/>
                  </a:lnTo>
                  <a:lnTo>
                    <a:pt x="64" y="37"/>
                  </a:lnTo>
                  <a:lnTo>
                    <a:pt x="64" y="39"/>
                  </a:lnTo>
                  <a:lnTo>
                    <a:pt x="66" y="46"/>
                  </a:lnTo>
                  <a:close/>
                  <a:moveTo>
                    <a:pt x="25" y="46"/>
                  </a:moveTo>
                  <a:lnTo>
                    <a:pt x="32" y="51"/>
                  </a:lnTo>
                  <a:lnTo>
                    <a:pt x="32" y="52"/>
                  </a:lnTo>
                  <a:lnTo>
                    <a:pt x="29" y="51"/>
                  </a:lnTo>
                  <a:lnTo>
                    <a:pt x="27" y="52"/>
                  </a:lnTo>
                  <a:lnTo>
                    <a:pt x="27" y="51"/>
                  </a:lnTo>
                  <a:lnTo>
                    <a:pt x="22" y="51"/>
                  </a:lnTo>
                  <a:lnTo>
                    <a:pt x="22" y="49"/>
                  </a:lnTo>
                  <a:lnTo>
                    <a:pt x="20" y="49"/>
                  </a:lnTo>
                  <a:lnTo>
                    <a:pt x="20" y="46"/>
                  </a:lnTo>
                  <a:lnTo>
                    <a:pt x="22" y="46"/>
                  </a:lnTo>
                  <a:lnTo>
                    <a:pt x="25" y="46"/>
                  </a:lnTo>
                  <a:close/>
                  <a:moveTo>
                    <a:pt x="22" y="52"/>
                  </a:moveTo>
                  <a:lnTo>
                    <a:pt x="22" y="54"/>
                  </a:lnTo>
                  <a:lnTo>
                    <a:pt x="22" y="52"/>
                  </a:lnTo>
                  <a:close/>
                  <a:moveTo>
                    <a:pt x="23" y="52"/>
                  </a:moveTo>
                  <a:lnTo>
                    <a:pt x="25" y="52"/>
                  </a:lnTo>
                  <a:lnTo>
                    <a:pt x="25" y="54"/>
                  </a:lnTo>
                  <a:lnTo>
                    <a:pt x="23" y="54"/>
                  </a:lnTo>
                  <a:lnTo>
                    <a:pt x="23" y="52"/>
                  </a:lnTo>
                  <a:close/>
                  <a:moveTo>
                    <a:pt x="25" y="52"/>
                  </a:moveTo>
                  <a:lnTo>
                    <a:pt x="25" y="54"/>
                  </a:lnTo>
                  <a:lnTo>
                    <a:pt x="25" y="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3" name="Freeform 21">
              <a:extLst>
                <a:ext uri="{FF2B5EF4-FFF2-40B4-BE49-F238E27FC236}">
                  <a16:creationId xmlns:a16="http://schemas.microsoft.com/office/drawing/2014/main" id="{4456A198-1CE1-412E-8CF3-D55C13BF8AD0}"/>
                </a:ext>
              </a:extLst>
            </p:cNvPr>
            <p:cNvSpPr>
              <a:spLocks/>
            </p:cNvSpPr>
            <p:nvPr/>
          </p:nvSpPr>
          <p:spPr bwMode="gray">
            <a:xfrm>
              <a:off x="1772561" y="3685612"/>
              <a:ext cx="287734" cy="329165"/>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4" name="Freeform 22">
              <a:extLst>
                <a:ext uri="{FF2B5EF4-FFF2-40B4-BE49-F238E27FC236}">
                  <a16:creationId xmlns:a16="http://schemas.microsoft.com/office/drawing/2014/main" id="{180D43F7-9575-4C3B-9E47-E58503074075}"/>
                </a:ext>
              </a:extLst>
            </p:cNvPr>
            <p:cNvSpPr>
              <a:spLocks noEditPoints="1"/>
            </p:cNvSpPr>
            <p:nvPr/>
          </p:nvSpPr>
          <p:spPr bwMode="gray">
            <a:xfrm>
              <a:off x="1814097" y="3622596"/>
              <a:ext cx="731797" cy="708743"/>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5" name="Freeform 23">
              <a:extLst>
                <a:ext uri="{FF2B5EF4-FFF2-40B4-BE49-F238E27FC236}">
                  <a16:creationId xmlns:a16="http://schemas.microsoft.com/office/drawing/2014/main" id="{8CC26748-CF53-48D9-B44C-8B4A9962FA17}"/>
                </a:ext>
              </a:extLst>
            </p:cNvPr>
            <p:cNvSpPr>
              <a:spLocks noEditPoints="1"/>
            </p:cNvSpPr>
            <p:nvPr/>
          </p:nvSpPr>
          <p:spPr bwMode="gray">
            <a:xfrm>
              <a:off x="2945401" y="3347551"/>
              <a:ext cx="62682" cy="68205"/>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6" name="Freeform 24">
              <a:extLst>
                <a:ext uri="{FF2B5EF4-FFF2-40B4-BE49-F238E27FC236}">
                  <a16:creationId xmlns:a16="http://schemas.microsoft.com/office/drawing/2014/main" id="{F319ADA3-F00B-4AC0-86C8-A1DAA5D5110F}"/>
                </a:ext>
              </a:extLst>
            </p:cNvPr>
            <p:cNvSpPr>
              <a:spLocks noEditPoints="1"/>
            </p:cNvSpPr>
            <p:nvPr/>
          </p:nvSpPr>
          <p:spPr bwMode="gray">
            <a:xfrm>
              <a:off x="2291390" y="2635101"/>
              <a:ext cx="465964" cy="364750"/>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7" name="Freeform 25">
              <a:extLst>
                <a:ext uri="{FF2B5EF4-FFF2-40B4-BE49-F238E27FC236}">
                  <a16:creationId xmlns:a16="http://schemas.microsoft.com/office/drawing/2014/main" id="{5998EF5B-C4D1-4CA5-9A87-4AE318F0A04B}"/>
                </a:ext>
              </a:extLst>
            </p:cNvPr>
            <p:cNvSpPr>
              <a:spLocks noEditPoints="1"/>
            </p:cNvSpPr>
            <p:nvPr/>
          </p:nvSpPr>
          <p:spPr bwMode="gray">
            <a:xfrm>
              <a:off x="1561103" y="3682646"/>
              <a:ext cx="220520" cy="198685"/>
            </a:xfrm>
            <a:custGeom>
              <a:avLst/>
              <a:gdLst>
                <a:gd name="T0" fmla="*/ 216 w 292"/>
                <a:gd name="T1" fmla="*/ 79 h 268"/>
                <a:gd name="T2" fmla="*/ 218 w 292"/>
                <a:gd name="T3" fmla="*/ 80 h 268"/>
                <a:gd name="T4" fmla="*/ 224 w 292"/>
                <a:gd name="T5" fmla="*/ 82 h 268"/>
                <a:gd name="T6" fmla="*/ 229 w 292"/>
                <a:gd name="T7" fmla="*/ 84 h 268"/>
                <a:gd name="T8" fmla="*/ 233 w 292"/>
                <a:gd name="T9" fmla="*/ 84 h 268"/>
                <a:gd name="T10" fmla="*/ 243 w 292"/>
                <a:gd name="T11" fmla="*/ 82 h 268"/>
                <a:gd name="T12" fmla="*/ 292 w 292"/>
                <a:gd name="T13" fmla="*/ 82 h 268"/>
                <a:gd name="T14" fmla="*/ 291 w 292"/>
                <a:gd name="T15" fmla="*/ 104 h 268"/>
                <a:gd name="T16" fmla="*/ 291 w 292"/>
                <a:gd name="T17" fmla="*/ 142 h 268"/>
                <a:gd name="T18" fmla="*/ 262 w 292"/>
                <a:gd name="T19" fmla="*/ 142 h 268"/>
                <a:gd name="T20" fmla="*/ 223 w 292"/>
                <a:gd name="T21" fmla="*/ 142 h 268"/>
                <a:gd name="T22" fmla="*/ 223 w 292"/>
                <a:gd name="T23" fmla="*/ 145 h 268"/>
                <a:gd name="T24" fmla="*/ 218 w 292"/>
                <a:gd name="T25" fmla="*/ 145 h 268"/>
                <a:gd name="T26" fmla="*/ 216 w 292"/>
                <a:gd name="T27" fmla="*/ 142 h 268"/>
                <a:gd name="T28" fmla="*/ 212 w 292"/>
                <a:gd name="T29" fmla="*/ 138 h 268"/>
                <a:gd name="T30" fmla="*/ 211 w 292"/>
                <a:gd name="T31" fmla="*/ 137 h 268"/>
                <a:gd name="T32" fmla="*/ 207 w 292"/>
                <a:gd name="T33" fmla="*/ 135 h 268"/>
                <a:gd name="T34" fmla="*/ 207 w 292"/>
                <a:gd name="T35" fmla="*/ 137 h 268"/>
                <a:gd name="T36" fmla="*/ 202 w 292"/>
                <a:gd name="T37" fmla="*/ 140 h 268"/>
                <a:gd name="T38" fmla="*/ 197 w 292"/>
                <a:gd name="T39" fmla="*/ 135 h 268"/>
                <a:gd name="T40" fmla="*/ 192 w 292"/>
                <a:gd name="T41" fmla="*/ 137 h 268"/>
                <a:gd name="T42" fmla="*/ 192 w 292"/>
                <a:gd name="T43" fmla="*/ 133 h 268"/>
                <a:gd name="T44" fmla="*/ 194 w 292"/>
                <a:gd name="T45" fmla="*/ 128 h 268"/>
                <a:gd name="T46" fmla="*/ 196 w 292"/>
                <a:gd name="T47" fmla="*/ 121 h 268"/>
                <a:gd name="T48" fmla="*/ 202 w 292"/>
                <a:gd name="T49" fmla="*/ 113 h 268"/>
                <a:gd name="T50" fmla="*/ 204 w 292"/>
                <a:gd name="T51" fmla="*/ 111 h 268"/>
                <a:gd name="T52" fmla="*/ 209 w 292"/>
                <a:gd name="T53" fmla="*/ 103 h 268"/>
                <a:gd name="T54" fmla="*/ 214 w 292"/>
                <a:gd name="T55" fmla="*/ 96 h 268"/>
                <a:gd name="T56" fmla="*/ 211 w 292"/>
                <a:gd name="T57" fmla="*/ 87 h 268"/>
                <a:gd name="T58" fmla="*/ 212 w 292"/>
                <a:gd name="T59" fmla="*/ 75 h 268"/>
                <a:gd name="T60" fmla="*/ 158 w 292"/>
                <a:gd name="T61" fmla="*/ 0 h 268"/>
                <a:gd name="T62" fmla="*/ 165 w 292"/>
                <a:gd name="T63" fmla="*/ 2 h 268"/>
                <a:gd name="T64" fmla="*/ 168 w 292"/>
                <a:gd name="T65" fmla="*/ 2 h 268"/>
                <a:gd name="T66" fmla="*/ 168 w 292"/>
                <a:gd name="T67" fmla="*/ 9 h 268"/>
                <a:gd name="T68" fmla="*/ 163 w 292"/>
                <a:gd name="T69" fmla="*/ 17 h 268"/>
                <a:gd name="T70" fmla="*/ 162 w 292"/>
                <a:gd name="T71" fmla="*/ 21 h 268"/>
                <a:gd name="T72" fmla="*/ 156 w 292"/>
                <a:gd name="T73" fmla="*/ 29 h 268"/>
                <a:gd name="T74" fmla="*/ 150 w 292"/>
                <a:gd name="T75" fmla="*/ 28 h 268"/>
                <a:gd name="T76" fmla="*/ 143 w 292"/>
                <a:gd name="T77" fmla="*/ 23 h 268"/>
                <a:gd name="T78" fmla="*/ 146 w 292"/>
                <a:gd name="T79" fmla="*/ 16 h 268"/>
                <a:gd name="T80" fmla="*/ 151 w 292"/>
                <a:gd name="T81" fmla="*/ 16 h 268"/>
                <a:gd name="T82" fmla="*/ 153 w 292"/>
                <a:gd name="T83" fmla="*/ 12 h 268"/>
                <a:gd name="T84" fmla="*/ 156 w 292"/>
                <a:gd name="T85" fmla="*/ 0 h 268"/>
                <a:gd name="T86" fmla="*/ 0 w 292"/>
                <a:gd name="T87" fmla="*/ 264 h 268"/>
                <a:gd name="T88" fmla="*/ 3 w 292"/>
                <a:gd name="T89" fmla="*/ 268 h 268"/>
                <a:gd name="T90" fmla="*/ 0 w 292"/>
                <a:gd name="T91" fmla="*/ 264 h 268"/>
                <a:gd name="T92" fmla="*/ 190 w 292"/>
                <a:gd name="T93" fmla="*/ 145 h 268"/>
                <a:gd name="T94" fmla="*/ 189 w 292"/>
                <a:gd name="T95" fmla="*/ 147 h 268"/>
                <a:gd name="T96" fmla="*/ 211 w 292"/>
                <a:gd name="T97" fmla="*/ 138 h 268"/>
                <a:gd name="T98" fmla="*/ 212 w 292"/>
                <a:gd name="T99" fmla="*/ 140 h 268"/>
                <a:gd name="T100" fmla="*/ 211 w 292"/>
                <a:gd name="T101" fmla="*/ 138 h 268"/>
                <a:gd name="T102" fmla="*/ 199 w 292"/>
                <a:gd name="T103" fmla="*/ 142 h 268"/>
                <a:gd name="T104" fmla="*/ 197 w 292"/>
                <a:gd name="T105"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68">
                  <a:moveTo>
                    <a:pt x="214" y="74"/>
                  </a:moveTo>
                  <a:lnTo>
                    <a:pt x="216" y="79"/>
                  </a:lnTo>
                  <a:lnTo>
                    <a:pt x="218" y="79"/>
                  </a:lnTo>
                  <a:lnTo>
                    <a:pt x="218" y="80"/>
                  </a:lnTo>
                  <a:lnTo>
                    <a:pt x="219" y="80"/>
                  </a:lnTo>
                  <a:lnTo>
                    <a:pt x="224" y="82"/>
                  </a:lnTo>
                  <a:lnTo>
                    <a:pt x="226" y="82"/>
                  </a:lnTo>
                  <a:lnTo>
                    <a:pt x="229" y="84"/>
                  </a:lnTo>
                  <a:lnTo>
                    <a:pt x="231" y="82"/>
                  </a:lnTo>
                  <a:lnTo>
                    <a:pt x="233" y="84"/>
                  </a:lnTo>
                  <a:lnTo>
                    <a:pt x="233" y="82"/>
                  </a:lnTo>
                  <a:lnTo>
                    <a:pt x="243" y="82"/>
                  </a:lnTo>
                  <a:lnTo>
                    <a:pt x="282" y="82"/>
                  </a:lnTo>
                  <a:lnTo>
                    <a:pt x="292" y="82"/>
                  </a:lnTo>
                  <a:lnTo>
                    <a:pt x="291" y="86"/>
                  </a:lnTo>
                  <a:lnTo>
                    <a:pt x="291" y="104"/>
                  </a:lnTo>
                  <a:lnTo>
                    <a:pt x="291" y="118"/>
                  </a:lnTo>
                  <a:lnTo>
                    <a:pt x="291" y="142"/>
                  </a:lnTo>
                  <a:lnTo>
                    <a:pt x="272" y="142"/>
                  </a:lnTo>
                  <a:lnTo>
                    <a:pt x="262" y="142"/>
                  </a:lnTo>
                  <a:lnTo>
                    <a:pt x="245" y="142"/>
                  </a:lnTo>
                  <a:lnTo>
                    <a:pt x="223" y="142"/>
                  </a:lnTo>
                  <a:lnTo>
                    <a:pt x="223" y="143"/>
                  </a:lnTo>
                  <a:lnTo>
                    <a:pt x="223" y="145"/>
                  </a:lnTo>
                  <a:lnTo>
                    <a:pt x="221" y="145"/>
                  </a:lnTo>
                  <a:lnTo>
                    <a:pt x="218" y="145"/>
                  </a:lnTo>
                  <a:lnTo>
                    <a:pt x="218" y="142"/>
                  </a:lnTo>
                  <a:lnTo>
                    <a:pt x="216" y="142"/>
                  </a:lnTo>
                  <a:lnTo>
                    <a:pt x="212" y="142"/>
                  </a:lnTo>
                  <a:lnTo>
                    <a:pt x="212" y="138"/>
                  </a:lnTo>
                  <a:lnTo>
                    <a:pt x="214" y="138"/>
                  </a:lnTo>
                  <a:lnTo>
                    <a:pt x="211" y="137"/>
                  </a:lnTo>
                  <a:lnTo>
                    <a:pt x="207" y="138"/>
                  </a:lnTo>
                  <a:lnTo>
                    <a:pt x="207" y="135"/>
                  </a:lnTo>
                  <a:lnTo>
                    <a:pt x="209" y="135"/>
                  </a:lnTo>
                  <a:lnTo>
                    <a:pt x="207" y="137"/>
                  </a:lnTo>
                  <a:lnTo>
                    <a:pt x="206" y="138"/>
                  </a:lnTo>
                  <a:lnTo>
                    <a:pt x="202" y="140"/>
                  </a:lnTo>
                  <a:lnTo>
                    <a:pt x="199" y="135"/>
                  </a:lnTo>
                  <a:lnTo>
                    <a:pt x="197" y="135"/>
                  </a:lnTo>
                  <a:lnTo>
                    <a:pt x="194" y="137"/>
                  </a:lnTo>
                  <a:lnTo>
                    <a:pt x="192" y="137"/>
                  </a:lnTo>
                  <a:lnTo>
                    <a:pt x="190" y="133"/>
                  </a:lnTo>
                  <a:lnTo>
                    <a:pt x="192" y="133"/>
                  </a:lnTo>
                  <a:lnTo>
                    <a:pt x="192" y="128"/>
                  </a:lnTo>
                  <a:lnTo>
                    <a:pt x="194" y="128"/>
                  </a:lnTo>
                  <a:lnTo>
                    <a:pt x="196" y="125"/>
                  </a:lnTo>
                  <a:lnTo>
                    <a:pt x="196" y="121"/>
                  </a:lnTo>
                  <a:lnTo>
                    <a:pt x="201" y="118"/>
                  </a:lnTo>
                  <a:lnTo>
                    <a:pt x="202" y="113"/>
                  </a:lnTo>
                  <a:lnTo>
                    <a:pt x="204" y="113"/>
                  </a:lnTo>
                  <a:lnTo>
                    <a:pt x="204" y="111"/>
                  </a:lnTo>
                  <a:lnTo>
                    <a:pt x="204" y="108"/>
                  </a:lnTo>
                  <a:lnTo>
                    <a:pt x="209" y="103"/>
                  </a:lnTo>
                  <a:lnTo>
                    <a:pt x="211" y="99"/>
                  </a:lnTo>
                  <a:lnTo>
                    <a:pt x="214" y="96"/>
                  </a:lnTo>
                  <a:lnTo>
                    <a:pt x="214" y="94"/>
                  </a:lnTo>
                  <a:lnTo>
                    <a:pt x="211" y="87"/>
                  </a:lnTo>
                  <a:lnTo>
                    <a:pt x="212" y="82"/>
                  </a:lnTo>
                  <a:lnTo>
                    <a:pt x="212" y="75"/>
                  </a:lnTo>
                  <a:lnTo>
                    <a:pt x="214" y="74"/>
                  </a:lnTo>
                  <a:close/>
                  <a:moveTo>
                    <a:pt x="158" y="0"/>
                  </a:moveTo>
                  <a:lnTo>
                    <a:pt x="160" y="2"/>
                  </a:lnTo>
                  <a:lnTo>
                    <a:pt x="165" y="2"/>
                  </a:lnTo>
                  <a:lnTo>
                    <a:pt x="167" y="2"/>
                  </a:lnTo>
                  <a:lnTo>
                    <a:pt x="168" y="2"/>
                  </a:lnTo>
                  <a:lnTo>
                    <a:pt x="170" y="4"/>
                  </a:lnTo>
                  <a:lnTo>
                    <a:pt x="168" y="9"/>
                  </a:lnTo>
                  <a:lnTo>
                    <a:pt x="165" y="12"/>
                  </a:lnTo>
                  <a:lnTo>
                    <a:pt x="163" y="17"/>
                  </a:lnTo>
                  <a:lnTo>
                    <a:pt x="163" y="19"/>
                  </a:lnTo>
                  <a:lnTo>
                    <a:pt x="162" y="21"/>
                  </a:lnTo>
                  <a:lnTo>
                    <a:pt x="162" y="24"/>
                  </a:lnTo>
                  <a:lnTo>
                    <a:pt x="156" y="29"/>
                  </a:lnTo>
                  <a:lnTo>
                    <a:pt x="151" y="28"/>
                  </a:lnTo>
                  <a:lnTo>
                    <a:pt x="150" y="28"/>
                  </a:lnTo>
                  <a:lnTo>
                    <a:pt x="145" y="26"/>
                  </a:lnTo>
                  <a:lnTo>
                    <a:pt x="143" y="23"/>
                  </a:lnTo>
                  <a:lnTo>
                    <a:pt x="145" y="19"/>
                  </a:lnTo>
                  <a:lnTo>
                    <a:pt x="146" y="16"/>
                  </a:lnTo>
                  <a:lnTo>
                    <a:pt x="151" y="17"/>
                  </a:lnTo>
                  <a:lnTo>
                    <a:pt x="151" y="16"/>
                  </a:lnTo>
                  <a:lnTo>
                    <a:pt x="151" y="14"/>
                  </a:lnTo>
                  <a:lnTo>
                    <a:pt x="153" y="12"/>
                  </a:lnTo>
                  <a:lnTo>
                    <a:pt x="153" y="7"/>
                  </a:lnTo>
                  <a:lnTo>
                    <a:pt x="156" y="0"/>
                  </a:lnTo>
                  <a:lnTo>
                    <a:pt x="158" y="0"/>
                  </a:lnTo>
                  <a:close/>
                  <a:moveTo>
                    <a:pt x="0" y="264"/>
                  </a:moveTo>
                  <a:lnTo>
                    <a:pt x="3" y="264"/>
                  </a:lnTo>
                  <a:lnTo>
                    <a:pt x="3" y="268"/>
                  </a:lnTo>
                  <a:lnTo>
                    <a:pt x="0" y="268"/>
                  </a:lnTo>
                  <a:lnTo>
                    <a:pt x="0" y="264"/>
                  </a:lnTo>
                  <a:close/>
                  <a:moveTo>
                    <a:pt x="189" y="145"/>
                  </a:moveTo>
                  <a:lnTo>
                    <a:pt x="190" y="145"/>
                  </a:lnTo>
                  <a:lnTo>
                    <a:pt x="190" y="147"/>
                  </a:lnTo>
                  <a:lnTo>
                    <a:pt x="189" y="147"/>
                  </a:lnTo>
                  <a:lnTo>
                    <a:pt x="189" y="145"/>
                  </a:lnTo>
                  <a:close/>
                  <a:moveTo>
                    <a:pt x="211" y="138"/>
                  </a:moveTo>
                  <a:lnTo>
                    <a:pt x="212" y="138"/>
                  </a:lnTo>
                  <a:lnTo>
                    <a:pt x="212" y="140"/>
                  </a:lnTo>
                  <a:lnTo>
                    <a:pt x="211" y="140"/>
                  </a:lnTo>
                  <a:lnTo>
                    <a:pt x="211" y="138"/>
                  </a:lnTo>
                  <a:close/>
                  <a:moveTo>
                    <a:pt x="197" y="142"/>
                  </a:moveTo>
                  <a:lnTo>
                    <a:pt x="199" y="142"/>
                  </a:lnTo>
                  <a:lnTo>
                    <a:pt x="199" y="143"/>
                  </a:lnTo>
                  <a:lnTo>
                    <a:pt x="197" y="143"/>
                  </a:lnTo>
                  <a:lnTo>
                    <a:pt x="197" y="1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8" name="Freeform 26">
              <a:extLst>
                <a:ext uri="{FF2B5EF4-FFF2-40B4-BE49-F238E27FC236}">
                  <a16:creationId xmlns:a16="http://schemas.microsoft.com/office/drawing/2014/main" id="{6C5BE5AC-DF0B-436A-8E63-8266F997C15B}"/>
                </a:ext>
              </a:extLst>
            </p:cNvPr>
            <p:cNvSpPr>
              <a:spLocks noEditPoints="1"/>
            </p:cNvSpPr>
            <p:nvPr/>
          </p:nvSpPr>
          <p:spPr bwMode="gray">
            <a:xfrm>
              <a:off x="2740739" y="3149606"/>
              <a:ext cx="256015" cy="212030"/>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59" name="Freeform 27">
              <a:extLst>
                <a:ext uri="{FF2B5EF4-FFF2-40B4-BE49-F238E27FC236}">
                  <a16:creationId xmlns:a16="http://schemas.microsoft.com/office/drawing/2014/main" id="{E69F9EE7-FAEA-4B4D-A09A-8E610B3A541F}"/>
                </a:ext>
              </a:extLst>
            </p:cNvPr>
            <p:cNvSpPr>
              <a:spLocks/>
            </p:cNvSpPr>
            <p:nvPr/>
          </p:nvSpPr>
          <p:spPr bwMode="gray">
            <a:xfrm>
              <a:off x="2608578" y="3265259"/>
              <a:ext cx="573959" cy="432956"/>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0" name="Freeform 28">
              <a:extLst>
                <a:ext uri="{FF2B5EF4-FFF2-40B4-BE49-F238E27FC236}">
                  <a16:creationId xmlns:a16="http://schemas.microsoft.com/office/drawing/2014/main" id="{ECA74049-7872-4CC4-8CFC-28747B5C3AA3}"/>
                </a:ext>
              </a:extLst>
            </p:cNvPr>
            <p:cNvSpPr>
              <a:spLocks noEditPoints="1"/>
            </p:cNvSpPr>
            <p:nvPr/>
          </p:nvSpPr>
          <p:spPr bwMode="gray">
            <a:xfrm>
              <a:off x="1680426" y="3738249"/>
              <a:ext cx="222031" cy="235754"/>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1" name="Freeform 29">
              <a:extLst>
                <a:ext uri="{FF2B5EF4-FFF2-40B4-BE49-F238E27FC236}">
                  <a16:creationId xmlns:a16="http://schemas.microsoft.com/office/drawing/2014/main" id="{6152B792-6830-40E6-BBB0-FF2191F4B31B}"/>
                </a:ext>
              </a:extLst>
            </p:cNvPr>
            <p:cNvSpPr>
              <a:spLocks/>
            </p:cNvSpPr>
            <p:nvPr/>
          </p:nvSpPr>
          <p:spPr bwMode="gray">
            <a:xfrm>
              <a:off x="704697" y="3306034"/>
              <a:ext cx="115547" cy="28913"/>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2" name="Freeform 30">
              <a:extLst>
                <a:ext uri="{FF2B5EF4-FFF2-40B4-BE49-F238E27FC236}">
                  <a16:creationId xmlns:a16="http://schemas.microsoft.com/office/drawing/2014/main" id="{9BE2D853-B196-4FC2-8F92-BC60F49F630E}"/>
                </a:ext>
              </a:extLst>
            </p:cNvPr>
            <p:cNvSpPr>
              <a:spLocks/>
            </p:cNvSpPr>
            <p:nvPr/>
          </p:nvSpPr>
          <p:spPr bwMode="gray">
            <a:xfrm>
              <a:off x="1222014" y="3405377"/>
              <a:ext cx="170677" cy="242426"/>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3" name="Freeform 31">
              <a:extLst>
                <a:ext uri="{FF2B5EF4-FFF2-40B4-BE49-F238E27FC236}">
                  <a16:creationId xmlns:a16="http://schemas.microsoft.com/office/drawing/2014/main" id="{44F7D6A7-6119-4902-BA84-07CA2E105F3B}"/>
                </a:ext>
              </a:extLst>
            </p:cNvPr>
            <p:cNvSpPr>
              <a:spLocks noEditPoints="1"/>
            </p:cNvSpPr>
            <p:nvPr/>
          </p:nvSpPr>
          <p:spPr bwMode="gray">
            <a:xfrm>
              <a:off x="770399" y="3349033"/>
              <a:ext cx="284713" cy="206840"/>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4" name="Freeform 32">
              <a:extLst>
                <a:ext uri="{FF2B5EF4-FFF2-40B4-BE49-F238E27FC236}">
                  <a16:creationId xmlns:a16="http://schemas.microsoft.com/office/drawing/2014/main" id="{728DA62D-2C87-4750-99FA-C373FD6A47A3}"/>
                </a:ext>
              </a:extLst>
            </p:cNvPr>
            <p:cNvSpPr>
              <a:spLocks noEditPoints="1"/>
            </p:cNvSpPr>
            <p:nvPr/>
          </p:nvSpPr>
          <p:spPr bwMode="gray">
            <a:xfrm>
              <a:off x="707718" y="3349033"/>
              <a:ext cx="117813" cy="66723"/>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5" name="Freeform 33">
              <a:extLst>
                <a:ext uri="{FF2B5EF4-FFF2-40B4-BE49-F238E27FC236}">
                  <a16:creationId xmlns:a16="http://schemas.microsoft.com/office/drawing/2014/main" id="{9F01899A-0D09-4996-978B-1C345C2138F7}"/>
                </a:ext>
              </a:extLst>
            </p:cNvPr>
            <p:cNvSpPr>
              <a:spLocks/>
            </p:cNvSpPr>
            <p:nvPr/>
          </p:nvSpPr>
          <p:spPr bwMode="gray">
            <a:xfrm>
              <a:off x="1018109" y="3421686"/>
              <a:ext cx="233359" cy="240202"/>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6" name="Freeform 34">
              <a:extLst>
                <a:ext uri="{FF2B5EF4-FFF2-40B4-BE49-F238E27FC236}">
                  <a16:creationId xmlns:a16="http://schemas.microsoft.com/office/drawing/2014/main" id="{9F672B5C-CD67-4252-9592-D67FC059C8E1}"/>
                </a:ext>
              </a:extLst>
            </p:cNvPr>
            <p:cNvSpPr>
              <a:spLocks noEditPoints="1"/>
            </p:cNvSpPr>
            <p:nvPr/>
          </p:nvSpPr>
          <p:spPr bwMode="gray">
            <a:xfrm>
              <a:off x="2644828" y="3618890"/>
              <a:ext cx="305104" cy="381802"/>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7" name="Freeform 35">
              <a:extLst>
                <a:ext uri="{FF2B5EF4-FFF2-40B4-BE49-F238E27FC236}">
                  <a16:creationId xmlns:a16="http://schemas.microsoft.com/office/drawing/2014/main" id="{7A7622E5-72B7-48EA-B3DA-0B8274DC1D50}"/>
                </a:ext>
              </a:extLst>
            </p:cNvPr>
            <p:cNvSpPr>
              <a:spLocks/>
            </p:cNvSpPr>
            <p:nvPr/>
          </p:nvSpPr>
          <p:spPr bwMode="gray">
            <a:xfrm>
              <a:off x="2380505" y="4898481"/>
              <a:ext cx="93647" cy="79326"/>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8" name="Freeform 36">
              <a:extLst>
                <a:ext uri="{FF2B5EF4-FFF2-40B4-BE49-F238E27FC236}">
                  <a16:creationId xmlns:a16="http://schemas.microsoft.com/office/drawing/2014/main" id="{50414F39-D35A-4BAA-AEDA-CF778D9B25C2}"/>
                </a:ext>
              </a:extLst>
            </p:cNvPr>
            <p:cNvSpPr>
              <a:spLocks/>
            </p:cNvSpPr>
            <p:nvPr/>
          </p:nvSpPr>
          <p:spPr bwMode="gray">
            <a:xfrm>
              <a:off x="907847" y="3503978"/>
              <a:ext cx="157838" cy="157910"/>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69" name="Freeform 37">
              <a:extLst>
                <a:ext uri="{FF2B5EF4-FFF2-40B4-BE49-F238E27FC236}">
                  <a16:creationId xmlns:a16="http://schemas.microsoft.com/office/drawing/2014/main" id="{690E27B3-2D54-4F3E-A260-878B0A7EE7F1}"/>
                </a:ext>
              </a:extLst>
            </p:cNvPr>
            <p:cNvSpPr>
              <a:spLocks/>
            </p:cNvSpPr>
            <p:nvPr/>
          </p:nvSpPr>
          <p:spPr bwMode="gray">
            <a:xfrm>
              <a:off x="1706102" y="2579498"/>
              <a:ext cx="601901" cy="513023"/>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0" name="Freeform 38">
              <a:extLst>
                <a:ext uri="{FF2B5EF4-FFF2-40B4-BE49-F238E27FC236}">
                  <a16:creationId xmlns:a16="http://schemas.microsoft.com/office/drawing/2014/main" id="{B19FF56C-11FB-4D5B-A0FE-2A7C34051690}"/>
                </a:ext>
              </a:extLst>
            </p:cNvPr>
            <p:cNvSpPr>
              <a:spLocks noEditPoints="1"/>
            </p:cNvSpPr>
            <p:nvPr/>
          </p:nvSpPr>
          <p:spPr bwMode="gray">
            <a:xfrm>
              <a:off x="3000530" y="4274254"/>
              <a:ext cx="277161" cy="513765"/>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1" name="Freeform 39">
              <a:extLst>
                <a:ext uri="{FF2B5EF4-FFF2-40B4-BE49-F238E27FC236}">
                  <a16:creationId xmlns:a16="http://schemas.microsoft.com/office/drawing/2014/main" id="{3981CFAB-B478-47B3-8849-4E3D00B57E13}"/>
                </a:ext>
              </a:extLst>
            </p:cNvPr>
            <p:cNvSpPr>
              <a:spLocks noEditPoints="1"/>
            </p:cNvSpPr>
            <p:nvPr/>
          </p:nvSpPr>
          <p:spPr bwMode="gray">
            <a:xfrm>
              <a:off x="2597250" y="4177136"/>
              <a:ext cx="123099" cy="291356"/>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2" name="Freeform 40">
              <a:extLst>
                <a:ext uri="{FF2B5EF4-FFF2-40B4-BE49-F238E27FC236}">
                  <a16:creationId xmlns:a16="http://schemas.microsoft.com/office/drawing/2014/main" id="{3DD284B2-93F1-4FAE-A4A2-EF5BAE3B7E9D}"/>
                </a:ext>
              </a:extLst>
            </p:cNvPr>
            <p:cNvSpPr>
              <a:spLocks/>
            </p:cNvSpPr>
            <p:nvPr/>
          </p:nvSpPr>
          <p:spPr bwMode="gray">
            <a:xfrm>
              <a:off x="879150" y="2885681"/>
              <a:ext cx="630599" cy="557505"/>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3" name="Freeform 41">
              <a:extLst>
                <a:ext uri="{FF2B5EF4-FFF2-40B4-BE49-F238E27FC236}">
                  <a16:creationId xmlns:a16="http://schemas.microsoft.com/office/drawing/2014/main" id="{C71FEF22-A1C2-4A1A-9B86-6DADEACACB3E}"/>
                </a:ext>
              </a:extLst>
            </p:cNvPr>
            <p:cNvSpPr>
              <a:spLocks noEditPoints="1"/>
            </p:cNvSpPr>
            <p:nvPr/>
          </p:nvSpPr>
          <p:spPr bwMode="gray">
            <a:xfrm>
              <a:off x="694878" y="2798942"/>
              <a:ext cx="468229" cy="472989"/>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4" name="Freeform 42">
              <a:extLst>
                <a:ext uri="{FF2B5EF4-FFF2-40B4-BE49-F238E27FC236}">
                  <a16:creationId xmlns:a16="http://schemas.microsoft.com/office/drawing/2014/main" id="{65D7FA64-FDFD-4988-A28D-F00CC21CD66F}"/>
                </a:ext>
              </a:extLst>
            </p:cNvPr>
            <p:cNvSpPr>
              <a:spLocks/>
            </p:cNvSpPr>
            <p:nvPr/>
          </p:nvSpPr>
          <p:spPr bwMode="gray">
            <a:xfrm>
              <a:off x="843655" y="2476449"/>
              <a:ext cx="464454" cy="309890"/>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5" name="Freeform 43">
              <a:extLst>
                <a:ext uri="{FF2B5EF4-FFF2-40B4-BE49-F238E27FC236}">
                  <a16:creationId xmlns:a16="http://schemas.microsoft.com/office/drawing/2014/main" id="{E119B83F-4BA7-4ADF-92D5-E9A269E0597E}"/>
                </a:ext>
              </a:extLst>
            </p:cNvPr>
            <p:cNvSpPr>
              <a:spLocks noEditPoints="1"/>
            </p:cNvSpPr>
            <p:nvPr/>
          </p:nvSpPr>
          <p:spPr bwMode="gray">
            <a:xfrm>
              <a:off x="2503603" y="4218651"/>
              <a:ext cx="405546" cy="616073"/>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6" name="Freeform 44">
              <a:extLst>
                <a:ext uri="{FF2B5EF4-FFF2-40B4-BE49-F238E27FC236}">
                  <a16:creationId xmlns:a16="http://schemas.microsoft.com/office/drawing/2014/main" id="{A3A34A9D-C3B1-4611-BB11-2B35C9675E7B}"/>
                </a:ext>
              </a:extLst>
            </p:cNvPr>
            <p:cNvSpPr>
              <a:spLocks noEditPoints="1"/>
            </p:cNvSpPr>
            <p:nvPr/>
          </p:nvSpPr>
          <p:spPr bwMode="gray">
            <a:xfrm>
              <a:off x="1795973" y="4462561"/>
              <a:ext cx="517317" cy="451490"/>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7" name="Freeform 45">
              <a:extLst>
                <a:ext uri="{FF2B5EF4-FFF2-40B4-BE49-F238E27FC236}">
                  <a16:creationId xmlns:a16="http://schemas.microsoft.com/office/drawing/2014/main" id="{A25D3A99-4F88-42D8-92FC-E20C0E18A8EC}"/>
                </a:ext>
              </a:extLst>
            </p:cNvPr>
            <p:cNvSpPr>
              <a:spLocks/>
            </p:cNvSpPr>
            <p:nvPr/>
          </p:nvSpPr>
          <p:spPr bwMode="gray">
            <a:xfrm>
              <a:off x="1353421" y="2941284"/>
              <a:ext cx="605677" cy="444077"/>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8" name="Freeform 46">
              <a:extLst>
                <a:ext uri="{FF2B5EF4-FFF2-40B4-BE49-F238E27FC236}">
                  <a16:creationId xmlns:a16="http://schemas.microsoft.com/office/drawing/2014/main" id="{F2ED2763-2BF3-4149-9F4D-B8DD37BC08F5}"/>
                </a:ext>
              </a:extLst>
            </p:cNvPr>
            <p:cNvSpPr>
              <a:spLocks noEditPoints="1"/>
            </p:cNvSpPr>
            <p:nvPr/>
          </p:nvSpPr>
          <p:spPr bwMode="gray">
            <a:xfrm>
              <a:off x="1449332" y="3304551"/>
              <a:ext cx="459922" cy="361044"/>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79" name="Freeform 47">
              <a:extLst>
                <a:ext uri="{FF2B5EF4-FFF2-40B4-BE49-F238E27FC236}">
                  <a16:creationId xmlns:a16="http://schemas.microsoft.com/office/drawing/2014/main" id="{D38D638E-329B-432A-9195-FDB6F74577DF}"/>
                </a:ext>
              </a:extLst>
            </p:cNvPr>
            <p:cNvSpPr>
              <a:spLocks/>
            </p:cNvSpPr>
            <p:nvPr/>
          </p:nvSpPr>
          <p:spPr bwMode="gray">
            <a:xfrm>
              <a:off x="2450739" y="3864280"/>
              <a:ext cx="78542" cy="67465"/>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0" name="Freeform 48">
              <a:extLst>
                <a:ext uri="{FF2B5EF4-FFF2-40B4-BE49-F238E27FC236}">
                  <a16:creationId xmlns:a16="http://schemas.microsoft.com/office/drawing/2014/main" id="{BD63197A-5F9C-42F9-81C4-9CAA4AF5A5E0}"/>
                </a:ext>
              </a:extLst>
            </p:cNvPr>
            <p:cNvSpPr>
              <a:spLocks noEditPoints="1"/>
            </p:cNvSpPr>
            <p:nvPr/>
          </p:nvSpPr>
          <p:spPr bwMode="gray">
            <a:xfrm>
              <a:off x="3068500" y="4299461"/>
              <a:ext cx="11328" cy="14086"/>
            </a:xfrm>
            <a:custGeom>
              <a:avLst/>
              <a:gdLst>
                <a:gd name="T0" fmla="*/ 5 w 15"/>
                <a:gd name="T1" fmla="*/ 2 h 19"/>
                <a:gd name="T2" fmla="*/ 7 w 15"/>
                <a:gd name="T3" fmla="*/ 4 h 19"/>
                <a:gd name="T4" fmla="*/ 7 w 15"/>
                <a:gd name="T5" fmla="*/ 5 h 19"/>
                <a:gd name="T6" fmla="*/ 8 w 15"/>
                <a:gd name="T7" fmla="*/ 5 h 19"/>
                <a:gd name="T8" fmla="*/ 10 w 15"/>
                <a:gd name="T9" fmla="*/ 5 h 19"/>
                <a:gd name="T10" fmla="*/ 12 w 15"/>
                <a:gd name="T11" fmla="*/ 7 h 19"/>
                <a:gd name="T12" fmla="*/ 12 w 15"/>
                <a:gd name="T13" fmla="*/ 9 h 19"/>
                <a:gd name="T14" fmla="*/ 10 w 15"/>
                <a:gd name="T15" fmla="*/ 11 h 19"/>
                <a:gd name="T16" fmla="*/ 10 w 15"/>
                <a:gd name="T17" fmla="*/ 12 h 19"/>
                <a:gd name="T18" fmla="*/ 12 w 15"/>
                <a:gd name="T19" fmla="*/ 12 h 19"/>
                <a:gd name="T20" fmla="*/ 10 w 15"/>
                <a:gd name="T21" fmla="*/ 14 h 19"/>
                <a:gd name="T22" fmla="*/ 10 w 15"/>
                <a:gd name="T23" fmla="*/ 16 h 19"/>
                <a:gd name="T24" fmla="*/ 8 w 15"/>
                <a:gd name="T25" fmla="*/ 16 h 19"/>
                <a:gd name="T26" fmla="*/ 8 w 15"/>
                <a:gd name="T27" fmla="*/ 17 h 19"/>
                <a:gd name="T28" fmla="*/ 10 w 15"/>
                <a:gd name="T29" fmla="*/ 17 h 19"/>
                <a:gd name="T30" fmla="*/ 8 w 15"/>
                <a:gd name="T31" fmla="*/ 19 h 19"/>
                <a:gd name="T32" fmla="*/ 8 w 15"/>
                <a:gd name="T33" fmla="*/ 17 h 19"/>
                <a:gd name="T34" fmla="*/ 7 w 15"/>
                <a:gd name="T35" fmla="*/ 19 h 19"/>
                <a:gd name="T36" fmla="*/ 5 w 15"/>
                <a:gd name="T37" fmla="*/ 19 h 19"/>
                <a:gd name="T38" fmla="*/ 5 w 15"/>
                <a:gd name="T39" fmla="*/ 17 h 19"/>
                <a:gd name="T40" fmla="*/ 3 w 15"/>
                <a:gd name="T41" fmla="*/ 17 h 19"/>
                <a:gd name="T42" fmla="*/ 5 w 15"/>
                <a:gd name="T43" fmla="*/ 16 h 19"/>
                <a:gd name="T44" fmla="*/ 3 w 15"/>
                <a:gd name="T45" fmla="*/ 14 h 19"/>
                <a:gd name="T46" fmla="*/ 5 w 15"/>
                <a:gd name="T47" fmla="*/ 14 h 19"/>
                <a:gd name="T48" fmla="*/ 5 w 15"/>
                <a:gd name="T49" fmla="*/ 16 h 19"/>
                <a:gd name="T50" fmla="*/ 7 w 15"/>
                <a:gd name="T51" fmla="*/ 16 h 19"/>
                <a:gd name="T52" fmla="*/ 7 w 15"/>
                <a:gd name="T53" fmla="*/ 14 h 19"/>
                <a:gd name="T54" fmla="*/ 5 w 15"/>
                <a:gd name="T55" fmla="*/ 12 h 19"/>
                <a:gd name="T56" fmla="*/ 5 w 15"/>
                <a:gd name="T57" fmla="*/ 11 h 19"/>
                <a:gd name="T58" fmla="*/ 5 w 15"/>
                <a:gd name="T59" fmla="*/ 7 h 19"/>
                <a:gd name="T60" fmla="*/ 1 w 15"/>
                <a:gd name="T61" fmla="*/ 7 h 19"/>
                <a:gd name="T62" fmla="*/ 3 w 15"/>
                <a:gd name="T63" fmla="*/ 5 h 19"/>
                <a:gd name="T64" fmla="*/ 1 w 15"/>
                <a:gd name="T65" fmla="*/ 5 h 19"/>
                <a:gd name="T66" fmla="*/ 1 w 15"/>
                <a:gd name="T67" fmla="*/ 4 h 19"/>
                <a:gd name="T68" fmla="*/ 3 w 15"/>
                <a:gd name="T69" fmla="*/ 4 h 19"/>
                <a:gd name="T70" fmla="*/ 5 w 15"/>
                <a:gd name="T71" fmla="*/ 2 h 19"/>
                <a:gd name="T72" fmla="*/ 12 w 15"/>
                <a:gd name="T73" fmla="*/ 7 h 19"/>
                <a:gd name="T74" fmla="*/ 15 w 15"/>
                <a:gd name="T75" fmla="*/ 7 h 19"/>
                <a:gd name="T76" fmla="*/ 15 w 15"/>
                <a:gd name="T77" fmla="*/ 11 h 19"/>
                <a:gd name="T78" fmla="*/ 12 w 15"/>
                <a:gd name="T79" fmla="*/ 11 h 19"/>
                <a:gd name="T80" fmla="*/ 12 w 15"/>
                <a:gd name="T81" fmla="*/ 7 h 19"/>
                <a:gd name="T82" fmla="*/ 0 w 15"/>
                <a:gd name="T83" fmla="*/ 0 h 19"/>
                <a:gd name="T84" fmla="*/ 1 w 15"/>
                <a:gd name="T85" fmla="*/ 0 h 19"/>
                <a:gd name="T86" fmla="*/ 1 w 15"/>
                <a:gd name="T87" fmla="*/ 2 h 19"/>
                <a:gd name="T88" fmla="*/ 0 w 15"/>
                <a:gd name="T89" fmla="*/ 2 h 19"/>
                <a:gd name="T90" fmla="*/ 0 w 15"/>
                <a:gd name="T9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19">
                  <a:moveTo>
                    <a:pt x="5" y="2"/>
                  </a:moveTo>
                  <a:lnTo>
                    <a:pt x="7" y="4"/>
                  </a:lnTo>
                  <a:lnTo>
                    <a:pt x="7" y="5"/>
                  </a:lnTo>
                  <a:lnTo>
                    <a:pt x="8" y="5"/>
                  </a:lnTo>
                  <a:lnTo>
                    <a:pt x="10" y="5"/>
                  </a:lnTo>
                  <a:lnTo>
                    <a:pt x="12" y="7"/>
                  </a:lnTo>
                  <a:lnTo>
                    <a:pt x="12" y="9"/>
                  </a:lnTo>
                  <a:lnTo>
                    <a:pt x="10" y="11"/>
                  </a:lnTo>
                  <a:lnTo>
                    <a:pt x="10" y="12"/>
                  </a:lnTo>
                  <a:lnTo>
                    <a:pt x="12" y="12"/>
                  </a:lnTo>
                  <a:lnTo>
                    <a:pt x="10" y="14"/>
                  </a:lnTo>
                  <a:lnTo>
                    <a:pt x="10" y="16"/>
                  </a:lnTo>
                  <a:lnTo>
                    <a:pt x="8" y="16"/>
                  </a:lnTo>
                  <a:lnTo>
                    <a:pt x="8" y="17"/>
                  </a:lnTo>
                  <a:lnTo>
                    <a:pt x="10" y="17"/>
                  </a:lnTo>
                  <a:lnTo>
                    <a:pt x="8" y="19"/>
                  </a:lnTo>
                  <a:lnTo>
                    <a:pt x="8" y="17"/>
                  </a:lnTo>
                  <a:lnTo>
                    <a:pt x="7" y="19"/>
                  </a:lnTo>
                  <a:lnTo>
                    <a:pt x="5" y="19"/>
                  </a:lnTo>
                  <a:lnTo>
                    <a:pt x="5" y="17"/>
                  </a:lnTo>
                  <a:lnTo>
                    <a:pt x="3" y="17"/>
                  </a:lnTo>
                  <a:lnTo>
                    <a:pt x="5" y="16"/>
                  </a:lnTo>
                  <a:lnTo>
                    <a:pt x="3" y="14"/>
                  </a:lnTo>
                  <a:lnTo>
                    <a:pt x="5" y="14"/>
                  </a:lnTo>
                  <a:lnTo>
                    <a:pt x="5" y="16"/>
                  </a:lnTo>
                  <a:lnTo>
                    <a:pt x="7" y="16"/>
                  </a:lnTo>
                  <a:lnTo>
                    <a:pt x="7" y="14"/>
                  </a:lnTo>
                  <a:lnTo>
                    <a:pt x="5" y="12"/>
                  </a:lnTo>
                  <a:lnTo>
                    <a:pt x="5" y="11"/>
                  </a:lnTo>
                  <a:lnTo>
                    <a:pt x="5" y="7"/>
                  </a:lnTo>
                  <a:lnTo>
                    <a:pt x="1" y="7"/>
                  </a:lnTo>
                  <a:lnTo>
                    <a:pt x="3" y="5"/>
                  </a:lnTo>
                  <a:lnTo>
                    <a:pt x="1" y="5"/>
                  </a:lnTo>
                  <a:lnTo>
                    <a:pt x="1" y="4"/>
                  </a:lnTo>
                  <a:lnTo>
                    <a:pt x="3" y="4"/>
                  </a:lnTo>
                  <a:lnTo>
                    <a:pt x="5" y="2"/>
                  </a:lnTo>
                  <a:close/>
                  <a:moveTo>
                    <a:pt x="12" y="7"/>
                  </a:moveTo>
                  <a:lnTo>
                    <a:pt x="15" y="7"/>
                  </a:lnTo>
                  <a:lnTo>
                    <a:pt x="15" y="11"/>
                  </a:lnTo>
                  <a:lnTo>
                    <a:pt x="12" y="11"/>
                  </a:lnTo>
                  <a:lnTo>
                    <a:pt x="12" y="7"/>
                  </a:lnTo>
                  <a:close/>
                  <a:moveTo>
                    <a:pt x="0" y="0"/>
                  </a:moveTo>
                  <a:lnTo>
                    <a:pt x="1" y="0"/>
                  </a:lnTo>
                  <a:lnTo>
                    <a:pt x="1" y="2"/>
                  </a:lnTo>
                  <a:lnTo>
                    <a:pt x="0" y="2"/>
                  </a:lnTo>
                  <a:lnTo>
                    <a:pt x="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1" name="Freeform 49">
              <a:extLst>
                <a:ext uri="{FF2B5EF4-FFF2-40B4-BE49-F238E27FC236}">
                  <a16:creationId xmlns:a16="http://schemas.microsoft.com/office/drawing/2014/main" id="{7C8877FD-C7FF-498F-9F4F-37F2080C3CCC}"/>
                </a:ext>
              </a:extLst>
            </p:cNvPr>
            <p:cNvSpPr>
              <a:spLocks noEditPoints="1"/>
            </p:cNvSpPr>
            <p:nvPr/>
          </p:nvSpPr>
          <p:spPr bwMode="gray">
            <a:xfrm>
              <a:off x="1594332" y="3761231"/>
              <a:ext cx="38516" cy="64499"/>
            </a:xfrm>
            <a:custGeom>
              <a:avLst/>
              <a:gdLst>
                <a:gd name="T0" fmla="*/ 12 w 51"/>
                <a:gd name="T1" fmla="*/ 66 h 87"/>
                <a:gd name="T2" fmla="*/ 14 w 51"/>
                <a:gd name="T3" fmla="*/ 68 h 87"/>
                <a:gd name="T4" fmla="*/ 12 w 51"/>
                <a:gd name="T5" fmla="*/ 68 h 87"/>
                <a:gd name="T6" fmla="*/ 14 w 51"/>
                <a:gd name="T7" fmla="*/ 70 h 87"/>
                <a:gd name="T8" fmla="*/ 16 w 51"/>
                <a:gd name="T9" fmla="*/ 71 h 87"/>
                <a:gd name="T10" fmla="*/ 14 w 51"/>
                <a:gd name="T11" fmla="*/ 73 h 87"/>
                <a:gd name="T12" fmla="*/ 14 w 51"/>
                <a:gd name="T13" fmla="*/ 75 h 87"/>
                <a:gd name="T14" fmla="*/ 9 w 51"/>
                <a:gd name="T15" fmla="*/ 80 h 87"/>
                <a:gd name="T16" fmla="*/ 10 w 51"/>
                <a:gd name="T17" fmla="*/ 82 h 87"/>
                <a:gd name="T18" fmla="*/ 7 w 51"/>
                <a:gd name="T19" fmla="*/ 83 h 87"/>
                <a:gd name="T20" fmla="*/ 5 w 51"/>
                <a:gd name="T21" fmla="*/ 82 h 87"/>
                <a:gd name="T22" fmla="*/ 5 w 51"/>
                <a:gd name="T23" fmla="*/ 85 h 87"/>
                <a:gd name="T24" fmla="*/ 4 w 51"/>
                <a:gd name="T25" fmla="*/ 83 h 87"/>
                <a:gd name="T26" fmla="*/ 4 w 51"/>
                <a:gd name="T27" fmla="*/ 85 h 87"/>
                <a:gd name="T28" fmla="*/ 2 w 51"/>
                <a:gd name="T29" fmla="*/ 83 h 87"/>
                <a:gd name="T30" fmla="*/ 4 w 51"/>
                <a:gd name="T31" fmla="*/ 82 h 87"/>
                <a:gd name="T32" fmla="*/ 2 w 51"/>
                <a:gd name="T33" fmla="*/ 82 h 87"/>
                <a:gd name="T34" fmla="*/ 0 w 51"/>
                <a:gd name="T35" fmla="*/ 76 h 87"/>
                <a:gd name="T36" fmla="*/ 0 w 51"/>
                <a:gd name="T37" fmla="*/ 73 h 87"/>
                <a:gd name="T38" fmla="*/ 2 w 51"/>
                <a:gd name="T39" fmla="*/ 70 h 87"/>
                <a:gd name="T40" fmla="*/ 4 w 51"/>
                <a:gd name="T41" fmla="*/ 68 h 87"/>
                <a:gd name="T42" fmla="*/ 5 w 51"/>
                <a:gd name="T43" fmla="*/ 68 h 87"/>
                <a:gd name="T44" fmla="*/ 7 w 51"/>
                <a:gd name="T45" fmla="*/ 66 h 87"/>
                <a:gd name="T46" fmla="*/ 12 w 51"/>
                <a:gd name="T47" fmla="*/ 66 h 87"/>
                <a:gd name="T48" fmla="*/ 51 w 51"/>
                <a:gd name="T49" fmla="*/ 2 h 87"/>
                <a:gd name="T50" fmla="*/ 50 w 51"/>
                <a:gd name="T51" fmla="*/ 3 h 87"/>
                <a:gd name="T52" fmla="*/ 51 w 51"/>
                <a:gd name="T53" fmla="*/ 5 h 87"/>
                <a:gd name="T54" fmla="*/ 50 w 51"/>
                <a:gd name="T55" fmla="*/ 5 h 87"/>
                <a:gd name="T56" fmla="*/ 50 w 51"/>
                <a:gd name="T57" fmla="*/ 8 h 87"/>
                <a:gd name="T58" fmla="*/ 48 w 51"/>
                <a:gd name="T59" fmla="*/ 8 h 87"/>
                <a:gd name="T60" fmla="*/ 46 w 51"/>
                <a:gd name="T61" fmla="*/ 7 h 87"/>
                <a:gd name="T62" fmla="*/ 44 w 51"/>
                <a:gd name="T63" fmla="*/ 8 h 87"/>
                <a:gd name="T64" fmla="*/ 44 w 51"/>
                <a:gd name="T65" fmla="*/ 5 h 87"/>
                <a:gd name="T66" fmla="*/ 46 w 51"/>
                <a:gd name="T67" fmla="*/ 5 h 87"/>
                <a:gd name="T68" fmla="*/ 46 w 51"/>
                <a:gd name="T69" fmla="*/ 2 h 87"/>
                <a:gd name="T70" fmla="*/ 48 w 51"/>
                <a:gd name="T71" fmla="*/ 0 h 87"/>
                <a:gd name="T72" fmla="*/ 51 w 51"/>
                <a:gd name="T73" fmla="*/ 2 h 87"/>
                <a:gd name="T74" fmla="*/ 2 w 51"/>
                <a:gd name="T75" fmla="*/ 87 h 87"/>
                <a:gd name="T76" fmla="*/ 4 w 51"/>
                <a:gd name="T77" fmla="*/ 87 h 87"/>
                <a:gd name="T78" fmla="*/ 2 w 51"/>
                <a:gd name="T7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87">
                  <a:moveTo>
                    <a:pt x="12" y="66"/>
                  </a:moveTo>
                  <a:lnTo>
                    <a:pt x="14" y="68"/>
                  </a:lnTo>
                  <a:lnTo>
                    <a:pt x="12" y="68"/>
                  </a:lnTo>
                  <a:lnTo>
                    <a:pt x="14" y="70"/>
                  </a:lnTo>
                  <a:lnTo>
                    <a:pt x="16" y="71"/>
                  </a:lnTo>
                  <a:lnTo>
                    <a:pt x="14" y="73"/>
                  </a:lnTo>
                  <a:lnTo>
                    <a:pt x="14" y="75"/>
                  </a:lnTo>
                  <a:lnTo>
                    <a:pt x="9" y="80"/>
                  </a:lnTo>
                  <a:lnTo>
                    <a:pt x="10" y="82"/>
                  </a:lnTo>
                  <a:lnTo>
                    <a:pt x="7" y="83"/>
                  </a:lnTo>
                  <a:lnTo>
                    <a:pt x="5" y="82"/>
                  </a:lnTo>
                  <a:lnTo>
                    <a:pt x="5" y="85"/>
                  </a:lnTo>
                  <a:lnTo>
                    <a:pt x="4" y="83"/>
                  </a:lnTo>
                  <a:lnTo>
                    <a:pt x="4" y="85"/>
                  </a:lnTo>
                  <a:lnTo>
                    <a:pt x="2" y="83"/>
                  </a:lnTo>
                  <a:lnTo>
                    <a:pt x="4" y="82"/>
                  </a:lnTo>
                  <a:lnTo>
                    <a:pt x="2" y="82"/>
                  </a:lnTo>
                  <a:lnTo>
                    <a:pt x="0" y="76"/>
                  </a:lnTo>
                  <a:lnTo>
                    <a:pt x="0" y="73"/>
                  </a:lnTo>
                  <a:lnTo>
                    <a:pt x="2" y="70"/>
                  </a:lnTo>
                  <a:lnTo>
                    <a:pt x="4" y="68"/>
                  </a:lnTo>
                  <a:lnTo>
                    <a:pt x="5" y="68"/>
                  </a:lnTo>
                  <a:lnTo>
                    <a:pt x="7" y="66"/>
                  </a:lnTo>
                  <a:lnTo>
                    <a:pt x="12" y="66"/>
                  </a:lnTo>
                  <a:close/>
                  <a:moveTo>
                    <a:pt x="51" y="2"/>
                  </a:moveTo>
                  <a:lnTo>
                    <a:pt x="50" y="3"/>
                  </a:lnTo>
                  <a:lnTo>
                    <a:pt x="51" y="5"/>
                  </a:lnTo>
                  <a:lnTo>
                    <a:pt x="50" y="5"/>
                  </a:lnTo>
                  <a:lnTo>
                    <a:pt x="50" y="8"/>
                  </a:lnTo>
                  <a:lnTo>
                    <a:pt x="48" y="8"/>
                  </a:lnTo>
                  <a:lnTo>
                    <a:pt x="46" y="7"/>
                  </a:lnTo>
                  <a:lnTo>
                    <a:pt x="44" y="8"/>
                  </a:lnTo>
                  <a:lnTo>
                    <a:pt x="44" y="5"/>
                  </a:lnTo>
                  <a:lnTo>
                    <a:pt x="46" y="5"/>
                  </a:lnTo>
                  <a:lnTo>
                    <a:pt x="46" y="2"/>
                  </a:lnTo>
                  <a:lnTo>
                    <a:pt x="48" y="0"/>
                  </a:lnTo>
                  <a:lnTo>
                    <a:pt x="51" y="2"/>
                  </a:lnTo>
                  <a:close/>
                  <a:moveTo>
                    <a:pt x="2" y="87"/>
                  </a:moveTo>
                  <a:lnTo>
                    <a:pt x="4" y="87"/>
                  </a:lnTo>
                  <a:lnTo>
                    <a:pt x="2" y="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2" name="Freeform 50">
              <a:extLst>
                <a:ext uri="{FF2B5EF4-FFF2-40B4-BE49-F238E27FC236}">
                  <a16:creationId xmlns:a16="http://schemas.microsoft.com/office/drawing/2014/main" id="{D75AB369-3BAF-423E-B690-CF506603FFEE}"/>
                </a:ext>
              </a:extLst>
            </p:cNvPr>
            <p:cNvSpPr>
              <a:spLocks noEditPoints="1"/>
            </p:cNvSpPr>
            <p:nvPr/>
          </p:nvSpPr>
          <p:spPr bwMode="gray">
            <a:xfrm>
              <a:off x="676754" y="3198536"/>
              <a:ext cx="236380" cy="163841"/>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3" name="Freeform 51">
              <a:extLst>
                <a:ext uri="{FF2B5EF4-FFF2-40B4-BE49-F238E27FC236}">
                  <a16:creationId xmlns:a16="http://schemas.microsoft.com/office/drawing/2014/main" id="{47E7351D-72F0-4E2C-870B-C0085E736BCE}"/>
                </a:ext>
              </a:extLst>
            </p:cNvPr>
            <p:cNvSpPr>
              <a:spLocks noEditPoints="1"/>
            </p:cNvSpPr>
            <p:nvPr/>
          </p:nvSpPr>
          <p:spPr bwMode="gray">
            <a:xfrm>
              <a:off x="838368" y="3449858"/>
              <a:ext cx="115547" cy="115653"/>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4" name="Freeform 52">
              <a:extLst>
                <a:ext uri="{FF2B5EF4-FFF2-40B4-BE49-F238E27FC236}">
                  <a16:creationId xmlns:a16="http://schemas.microsoft.com/office/drawing/2014/main" id="{2BF9B6F3-4184-4DE6-B32B-1136C17F331C}"/>
                </a:ext>
              </a:extLst>
            </p:cNvPr>
            <p:cNvSpPr>
              <a:spLocks noEditPoints="1"/>
            </p:cNvSpPr>
            <p:nvPr/>
          </p:nvSpPr>
          <p:spPr bwMode="gray">
            <a:xfrm>
              <a:off x="2915192" y="3374981"/>
              <a:ext cx="397995" cy="512282"/>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5" name="Freeform 53">
              <a:extLst>
                <a:ext uri="{FF2B5EF4-FFF2-40B4-BE49-F238E27FC236}">
                  <a16:creationId xmlns:a16="http://schemas.microsoft.com/office/drawing/2014/main" id="{9F88CA85-3BB7-483B-A64B-676088D5D7FA}"/>
                </a:ext>
              </a:extLst>
            </p:cNvPr>
            <p:cNvSpPr>
              <a:spLocks noEditPoints="1"/>
            </p:cNvSpPr>
            <p:nvPr/>
          </p:nvSpPr>
          <p:spPr bwMode="gray">
            <a:xfrm>
              <a:off x="1977223" y="4656798"/>
              <a:ext cx="627579" cy="477437"/>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6" name="Freeform 54">
              <a:extLst>
                <a:ext uri="{FF2B5EF4-FFF2-40B4-BE49-F238E27FC236}">
                  <a16:creationId xmlns:a16="http://schemas.microsoft.com/office/drawing/2014/main" id="{DF1B5A8C-D459-4BF5-8697-A76BE1A9391E}"/>
                </a:ext>
              </a:extLst>
            </p:cNvPr>
            <p:cNvSpPr>
              <a:spLocks/>
            </p:cNvSpPr>
            <p:nvPr/>
          </p:nvSpPr>
          <p:spPr bwMode="gray">
            <a:xfrm>
              <a:off x="2270999" y="3366826"/>
              <a:ext cx="425938" cy="327682"/>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7" name="Freeform 55">
              <a:extLst>
                <a:ext uri="{FF2B5EF4-FFF2-40B4-BE49-F238E27FC236}">
                  <a16:creationId xmlns:a16="http://schemas.microsoft.com/office/drawing/2014/main" id="{9B29E7E0-1A8E-484E-B7B4-5B1F2CEC65EF}"/>
                </a:ext>
              </a:extLst>
            </p:cNvPr>
            <p:cNvSpPr>
              <a:spLocks noEditPoints="1"/>
            </p:cNvSpPr>
            <p:nvPr/>
          </p:nvSpPr>
          <p:spPr bwMode="gray">
            <a:xfrm>
              <a:off x="2181130" y="2998368"/>
              <a:ext cx="644193" cy="500420"/>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88" name="Freeform 56">
              <a:extLst>
                <a:ext uri="{FF2B5EF4-FFF2-40B4-BE49-F238E27FC236}">
                  <a16:creationId xmlns:a16="http://schemas.microsoft.com/office/drawing/2014/main" id="{23A8ADD3-C113-4E6B-A996-080D0B097BE2}"/>
                </a:ext>
              </a:extLst>
            </p:cNvPr>
            <p:cNvSpPr>
              <a:spLocks/>
            </p:cNvSpPr>
            <p:nvPr/>
          </p:nvSpPr>
          <p:spPr bwMode="gray">
            <a:xfrm>
              <a:off x="2525504" y="4791725"/>
              <a:ext cx="51354" cy="60051"/>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91" name="Freeform 57">
              <a:extLst>
                <a:ext uri="{FF2B5EF4-FFF2-40B4-BE49-F238E27FC236}">
                  <a16:creationId xmlns:a16="http://schemas.microsoft.com/office/drawing/2014/main" id="{19FE26A0-600C-4BEB-81FC-32A12AC9937D}"/>
                </a:ext>
              </a:extLst>
            </p:cNvPr>
            <p:cNvSpPr>
              <a:spLocks noEditPoints="1"/>
            </p:cNvSpPr>
            <p:nvPr/>
          </p:nvSpPr>
          <p:spPr bwMode="gray">
            <a:xfrm>
              <a:off x="2471130" y="3862057"/>
              <a:ext cx="422917" cy="404784"/>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92" name="Freeform 58">
              <a:extLst>
                <a:ext uri="{FF2B5EF4-FFF2-40B4-BE49-F238E27FC236}">
                  <a16:creationId xmlns:a16="http://schemas.microsoft.com/office/drawing/2014/main" id="{FC09DB80-B543-4C14-B6F8-460F3674A16B}"/>
                </a:ext>
              </a:extLst>
            </p:cNvPr>
            <p:cNvSpPr>
              <a:spLocks/>
            </p:cNvSpPr>
            <p:nvPr/>
          </p:nvSpPr>
          <p:spPr bwMode="gray">
            <a:xfrm>
              <a:off x="1341338" y="3406859"/>
              <a:ext cx="74765" cy="189048"/>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93" name="Freeform 60">
              <a:extLst>
                <a:ext uri="{FF2B5EF4-FFF2-40B4-BE49-F238E27FC236}">
                  <a16:creationId xmlns:a16="http://schemas.microsoft.com/office/drawing/2014/main" id="{854D0826-ADC5-413A-AFFC-F9DAAC8B33CD}"/>
                </a:ext>
              </a:extLst>
            </p:cNvPr>
            <p:cNvSpPr>
              <a:spLocks/>
            </p:cNvSpPr>
            <p:nvPr/>
          </p:nvSpPr>
          <p:spPr bwMode="gray">
            <a:xfrm>
              <a:off x="2477926" y="3666336"/>
              <a:ext cx="209192" cy="214995"/>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94" name="Freeform 61">
              <a:extLst>
                <a:ext uri="{FF2B5EF4-FFF2-40B4-BE49-F238E27FC236}">
                  <a16:creationId xmlns:a16="http://schemas.microsoft.com/office/drawing/2014/main" id="{6407B54F-569D-4630-BF48-B004D29F2AD8}"/>
                </a:ext>
              </a:extLst>
            </p:cNvPr>
            <p:cNvSpPr>
              <a:spLocks/>
            </p:cNvSpPr>
            <p:nvPr/>
          </p:nvSpPr>
          <p:spPr bwMode="gray">
            <a:xfrm>
              <a:off x="693369" y="2784856"/>
              <a:ext cx="322474" cy="260218"/>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95" name="Freeform 62">
              <a:extLst>
                <a:ext uri="{FF2B5EF4-FFF2-40B4-BE49-F238E27FC236}">
                  <a16:creationId xmlns:a16="http://schemas.microsoft.com/office/drawing/2014/main" id="{8F641AAE-065F-4EB8-8BB0-8D5527741B31}"/>
                </a:ext>
              </a:extLst>
            </p:cNvPr>
            <p:cNvSpPr>
              <a:spLocks/>
            </p:cNvSpPr>
            <p:nvPr/>
          </p:nvSpPr>
          <p:spPr bwMode="gray">
            <a:xfrm>
              <a:off x="2188681" y="4134136"/>
              <a:ext cx="447083" cy="369940"/>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96" name="Freeform 63">
              <a:extLst>
                <a:ext uri="{FF2B5EF4-FFF2-40B4-BE49-F238E27FC236}">
                  <a16:creationId xmlns:a16="http://schemas.microsoft.com/office/drawing/2014/main" id="{E305B05A-354B-4896-B366-17DB81DE27D1}"/>
                </a:ext>
              </a:extLst>
            </p:cNvPr>
            <p:cNvSpPr>
              <a:spLocks/>
            </p:cNvSpPr>
            <p:nvPr/>
          </p:nvSpPr>
          <p:spPr bwMode="gray">
            <a:xfrm>
              <a:off x="2311781" y="4412147"/>
              <a:ext cx="299818" cy="255770"/>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97" name="Freeform 64">
              <a:extLst>
                <a:ext uri="{FF2B5EF4-FFF2-40B4-BE49-F238E27FC236}">
                  <a16:creationId xmlns:a16="http://schemas.microsoft.com/office/drawing/2014/main" id="{1A4CAB22-9115-4942-B1FF-16E7135AFCE1}"/>
                </a:ext>
              </a:extLst>
            </p:cNvPr>
            <p:cNvSpPr>
              <a:spLocks/>
            </p:cNvSpPr>
            <p:nvPr/>
          </p:nvSpPr>
          <p:spPr bwMode="gray">
            <a:xfrm>
              <a:off x="1126103" y="4421785"/>
              <a:ext cx="5287" cy="5190"/>
            </a:xfrm>
            <a:custGeom>
              <a:avLst/>
              <a:gdLst>
                <a:gd name="T0" fmla="*/ 7 w 7"/>
                <a:gd name="T1" fmla="*/ 2 h 7"/>
                <a:gd name="T2" fmla="*/ 7 w 7"/>
                <a:gd name="T3" fmla="*/ 4 h 7"/>
                <a:gd name="T4" fmla="*/ 1 w 7"/>
                <a:gd name="T5" fmla="*/ 7 h 7"/>
                <a:gd name="T6" fmla="*/ 0 w 7"/>
                <a:gd name="T7" fmla="*/ 5 h 7"/>
                <a:gd name="T8" fmla="*/ 3 w 7"/>
                <a:gd name="T9" fmla="*/ 0 h 7"/>
                <a:gd name="T10" fmla="*/ 7 w 7"/>
                <a:gd name="T11" fmla="*/ 2 h 7"/>
              </a:gdLst>
              <a:ahLst/>
              <a:cxnLst>
                <a:cxn ang="0">
                  <a:pos x="T0" y="T1"/>
                </a:cxn>
                <a:cxn ang="0">
                  <a:pos x="T2" y="T3"/>
                </a:cxn>
                <a:cxn ang="0">
                  <a:pos x="T4" y="T5"/>
                </a:cxn>
                <a:cxn ang="0">
                  <a:pos x="T6" y="T7"/>
                </a:cxn>
                <a:cxn ang="0">
                  <a:pos x="T8" y="T9"/>
                </a:cxn>
                <a:cxn ang="0">
                  <a:pos x="T10" y="T11"/>
                </a:cxn>
              </a:cxnLst>
              <a:rect l="0" t="0" r="r" b="b"/>
              <a:pathLst>
                <a:path w="7" h="7">
                  <a:moveTo>
                    <a:pt x="7" y="2"/>
                  </a:moveTo>
                  <a:lnTo>
                    <a:pt x="7" y="4"/>
                  </a:lnTo>
                  <a:lnTo>
                    <a:pt x="1" y="7"/>
                  </a:lnTo>
                  <a:lnTo>
                    <a:pt x="0" y="5"/>
                  </a:lnTo>
                  <a:lnTo>
                    <a:pt x="3" y="0"/>
                  </a:lnTo>
                  <a:lnTo>
                    <a:pt x="7"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grpSp>
      <p:pic>
        <p:nvPicPr>
          <p:cNvPr id="298" name="Picture 297">
            <a:extLst>
              <a:ext uri="{FF2B5EF4-FFF2-40B4-BE49-F238E27FC236}">
                <a16:creationId xmlns:a16="http://schemas.microsoft.com/office/drawing/2014/main" id="{B41C1CD5-7575-49D2-BDD6-BCCA0B31C2B9}"/>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rot="5400000">
            <a:off x="-291162" y="2935205"/>
            <a:ext cx="3407026" cy="2237889"/>
          </a:xfrm>
          <a:prstGeom prst="rect">
            <a:avLst/>
          </a:prstGeom>
          <a:noFill/>
          <a:ln>
            <a:noFill/>
          </a:ln>
        </p:spPr>
      </p:pic>
      <p:pic>
        <p:nvPicPr>
          <p:cNvPr id="301" name="Picture 300">
            <a:extLst>
              <a:ext uri="{FF2B5EF4-FFF2-40B4-BE49-F238E27FC236}">
                <a16:creationId xmlns:a16="http://schemas.microsoft.com/office/drawing/2014/main" id="{99C4DA1A-3966-47CE-8BC3-F97EE7DF0677}"/>
              </a:ext>
            </a:extLst>
          </p:cNvPr>
          <p:cNvPicPr/>
          <p:nvPr/>
        </p:nvPicPr>
        <p:blipFill>
          <a:blip r:embed="rId10" cstate="screen">
            <a:extLst>
              <a:ext uri="{28A0092B-C50C-407E-A947-70E740481C1C}">
                <a14:useLocalDpi xmlns:a14="http://schemas.microsoft.com/office/drawing/2010/main"/>
              </a:ext>
            </a:extLst>
          </a:blip>
          <a:stretch>
            <a:fillRect/>
          </a:stretch>
        </p:blipFill>
        <p:spPr bwMode="auto">
          <a:xfrm>
            <a:off x="5019458" y="4667469"/>
            <a:ext cx="4359736" cy="1964209"/>
          </a:xfrm>
          <a:prstGeom prst="rect">
            <a:avLst/>
          </a:prstGeom>
          <a:noFill/>
          <a:ln>
            <a:noFill/>
          </a:ln>
        </p:spPr>
      </p:pic>
      <p:pic>
        <p:nvPicPr>
          <p:cNvPr id="303" name="Picture 302" descr="A group of people in a room&#10;&#10;Description automatically generated">
            <a:extLst>
              <a:ext uri="{FF2B5EF4-FFF2-40B4-BE49-F238E27FC236}">
                <a16:creationId xmlns:a16="http://schemas.microsoft.com/office/drawing/2014/main" id="{199F4742-7EF0-4D3E-93EE-9C68AC6785EE}"/>
              </a:ext>
            </a:extLst>
          </p:cNvPr>
          <p:cNvPicPr/>
          <p:nvPr/>
        </p:nvPicPr>
        <p:blipFill>
          <a:blip r:embed="rId11" cstate="screen">
            <a:extLst>
              <a:ext uri="{28A0092B-C50C-407E-A947-70E740481C1C}">
                <a14:useLocalDpi xmlns:a14="http://schemas.microsoft.com/office/drawing/2010/main"/>
              </a:ext>
            </a:extLst>
          </a:blip>
          <a:stretch>
            <a:fillRect/>
          </a:stretch>
        </p:blipFill>
        <p:spPr>
          <a:xfrm>
            <a:off x="2758400" y="4648524"/>
            <a:ext cx="2013809" cy="1965494"/>
          </a:xfrm>
          <a:prstGeom prst="rect">
            <a:avLst/>
          </a:prstGeom>
        </p:spPr>
      </p:pic>
      <p:sp>
        <p:nvSpPr>
          <p:cNvPr id="213" name="Freeform 11">
            <a:extLst>
              <a:ext uri="{FF2B5EF4-FFF2-40B4-BE49-F238E27FC236}">
                <a16:creationId xmlns:a16="http://schemas.microsoft.com/office/drawing/2014/main" id="{57CBD95B-3FDA-4551-84A3-E6EBDFC64CAB}"/>
              </a:ext>
            </a:extLst>
          </p:cNvPr>
          <p:cNvSpPr>
            <a:spLocks noEditPoints="1"/>
          </p:cNvSpPr>
          <p:nvPr/>
        </p:nvSpPr>
        <p:spPr bwMode="gray">
          <a:xfrm>
            <a:off x="3335558" y="2620300"/>
            <a:ext cx="121319" cy="109722"/>
          </a:xfrm>
          <a:custGeom>
            <a:avLst/>
            <a:gdLst>
              <a:gd name="T0" fmla="*/ 85 w 136"/>
              <a:gd name="T1" fmla="*/ 99 h 123"/>
              <a:gd name="T2" fmla="*/ 91 w 136"/>
              <a:gd name="T3" fmla="*/ 106 h 123"/>
              <a:gd name="T4" fmla="*/ 97 w 136"/>
              <a:gd name="T5" fmla="*/ 111 h 123"/>
              <a:gd name="T6" fmla="*/ 95 w 136"/>
              <a:gd name="T7" fmla="*/ 117 h 123"/>
              <a:gd name="T8" fmla="*/ 83 w 136"/>
              <a:gd name="T9" fmla="*/ 112 h 123"/>
              <a:gd name="T10" fmla="*/ 80 w 136"/>
              <a:gd name="T11" fmla="*/ 104 h 123"/>
              <a:gd name="T12" fmla="*/ 81 w 136"/>
              <a:gd name="T13" fmla="*/ 97 h 123"/>
              <a:gd name="T14" fmla="*/ 17 w 136"/>
              <a:gd name="T15" fmla="*/ 2 h 123"/>
              <a:gd name="T16" fmla="*/ 18 w 136"/>
              <a:gd name="T17" fmla="*/ 9 h 123"/>
              <a:gd name="T18" fmla="*/ 8 w 136"/>
              <a:gd name="T19" fmla="*/ 15 h 123"/>
              <a:gd name="T20" fmla="*/ 1 w 136"/>
              <a:gd name="T21" fmla="*/ 14 h 123"/>
              <a:gd name="T22" fmla="*/ 1 w 136"/>
              <a:gd name="T23" fmla="*/ 7 h 123"/>
              <a:gd name="T24" fmla="*/ 13 w 136"/>
              <a:gd name="T25" fmla="*/ 0 h 123"/>
              <a:gd name="T26" fmla="*/ 129 w 136"/>
              <a:gd name="T27" fmla="*/ 51 h 123"/>
              <a:gd name="T28" fmla="*/ 136 w 136"/>
              <a:gd name="T29" fmla="*/ 54 h 123"/>
              <a:gd name="T30" fmla="*/ 131 w 136"/>
              <a:gd name="T31" fmla="*/ 63 h 123"/>
              <a:gd name="T32" fmla="*/ 120 w 136"/>
              <a:gd name="T33" fmla="*/ 61 h 123"/>
              <a:gd name="T34" fmla="*/ 124 w 136"/>
              <a:gd name="T35" fmla="*/ 53 h 123"/>
              <a:gd name="T36" fmla="*/ 52 w 136"/>
              <a:gd name="T37" fmla="*/ 111 h 123"/>
              <a:gd name="T38" fmla="*/ 52 w 136"/>
              <a:gd name="T39" fmla="*/ 121 h 123"/>
              <a:gd name="T40" fmla="*/ 42 w 136"/>
              <a:gd name="T41" fmla="*/ 116 h 123"/>
              <a:gd name="T42" fmla="*/ 52 w 136"/>
              <a:gd name="T43" fmla="*/ 111 h 123"/>
              <a:gd name="T44" fmla="*/ 61 w 136"/>
              <a:gd name="T45" fmla="*/ 31 h 123"/>
              <a:gd name="T46" fmla="*/ 68 w 136"/>
              <a:gd name="T47" fmla="*/ 34 h 123"/>
              <a:gd name="T48" fmla="*/ 57 w 136"/>
              <a:gd name="T49" fmla="*/ 32 h 123"/>
              <a:gd name="T50" fmla="*/ 51 w 136"/>
              <a:gd name="T51" fmla="*/ 32 h 123"/>
              <a:gd name="T52" fmla="*/ 51 w 136"/>
              <a:gd name="T53" fmla="*/ 27 h 123"/>
              <a:gd name="T54" fmla="*/ 112 w 136"/>
              <a:gd name="T55" fmla="*/ 95 h 123"/>
              <a:gd name="T56" fmla="*/ 115 w 136"/>
              <a:gd name="T57" fmla="*/ 102 h 123"/>
              <a:gd name="T58" fmla="*/ 108 w 136"/>
              <a:gd name="T59" fmla="*/ 106 h 123"/>
              <a:gd name="T60" fmla="*/ 107 w 136"/>
              <a:gd name="T61" fmla="*/ 99 h 123"/>
              <a:gd name="T62" fmla="*/ 110 w 136"/>
              <a:gd name="T63" fmla="*/ 95 h 123"/>
              <a:gd name="T64" fmla="*/ 22 w 136"/>
              <a:gd name="T65" fmla="*/ 17 h 123"/>
              <a:gd name="T66" fmla="*/ 18 w 136"/>
              <a:gd name="T67" fmla="*/ 22 h 123"/>
              <a:gd name="T68" fmla="*/ 18 w 136"/>
              <a:gd name="T69" fmla="*/ 17 h 123"/>
              <a:gd name="T70" fmla="*/ 22 w 136"/>
              <a:gd name="T71" fmla="*/ 15 h 123"/>
              <a:gd name="T72" fmla="*/ 125 w 136"/>
              <a:gd name="T73" fmla="*/ 22 h 123"/>
              <a:gd name="T74" fmla="*/ 124 w 136"/>
              <a:gd name="T75" fmla="*/ 29 h 123"/>
              <a:gd name="T76" fmla="*/ 124 w 136"/>
              <a:gd name="T77" fmla="*/ 32 h 123"/>
              <a:gd name="T78" fmla="*/ 120 w 136"/>
              <a:gd name="T79" fmla="*/ 26 h 123"/>
              <a:gd name="T80" fmla="*/ 120 w 136"/>
              <a:gd name="T81" fmla="*/ 20 h 123"/>
              <a:gd name="T82" fmla="*/ 35 w 136"/>
              <a:gd name="T83" fmla="*/ 121 h 123"/>
              <a:gd name="T84" fmla="*/ 30 w 136"/>
              <a:gd name="T85" fmla="*/ 119 h 123"/>
              <a:gd name="T86" fmla="*/ 34 w 136"/>
              <a:gd name="T87" fmla="*/ 117 h 123"/>
              <a:gd name="T88" fmla="*/ 32 w 136"/>
              <a:gd name="T89" fmla="*/ 24 h 123"/>
              <a:gd name="T90" fmla="*/ 29 w 136"/>
              <a:gd name="T91" fmla="*/ 22 h 123"/>
              <a:gd name="T92" fmla="*/ 37 w 136"/>
              <a:gd name="T93" fmla="*/ 31 h 123"/>
              <a:gd name="T94" fmla="*/ 34 w 136"/>
              <a:gd name="T95" fmla="*/ 27 h 123"/>
              <a:gd name="T96" fmla="*/ 34 w 136"/>
              <a:gd name="T97" fmla="*/ 29 h 123"/>
              <a:gd name="T98" fmla="*/ 124 w 136"/>
              <a:gd name="T99" fmla="*/ 53 h 123"/>
              <a:gd name="T100" fmla="*/ 37 w 136"/>
              <a:gd name="T10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23">
                <a:moveTo>
                  <a:pt x="85" y="95"/>
                </a:moveTo>
                <a:lnTo>
                  <a:pt x="85" y="97"/>
                </a:lnTo>
                <a:lnTo>
                  <a:pt x="85" y="99"/>
                </a:lnTo>
                <a:lnTo>
                  <a:pt x="88" y="100"/>
                </a:lnTo>
                <a:lnTo>
                  <a:pt x="90" y="104"/>
                </a:lnTo>
                <a:lnTo>
                  <a:pt x="91" y="106"/>
                </a:lnTo>
                <a:lnTo>
                  <a:pt x="93" y="106"/>
                </a:lnTo>
                <a:lnTo>
                  <a:pt x="95" y="109"/>
                </a:lnTo>
                <a:lnTo>
                  <a:pt x="97" y="111"/>
                </a:lnTo>
                <a:lnTo>
                  <a:pt x="97" y="112"/>
                </a:lnTo>
                <a:lnTo>
                  <a:pt x="97" y="114"/>
                </a:lnTo>
                <a:lnTo>
                  <a:pt x="95" y="117"/>
                </a:lnTo>
                <a:lnTo>
                  <a:pt x="93" y="117"/>
                </a:lnTo>
                <a:lnTo>
                  <a:pt x="88" y="117"/>
                </a:lnTo>
                <a:lnTo>
                  <a:pt x="83" y="112"/>
                </a:lnTo>
                <a:lnTo>
                  <a:pt x="80" y="109"/>
                </a:lnTo>
                <a:lnTo>
                  <a:pt x="81" y="106"/>
                </a:lnTo>
                <a:lnTo>
                  <a:pt x="80" y="104"/>
                </a:lnTo>
                <a:lnTo>
                  <a:pt x="81" y="100"/>
                </a:lnTo>
                <a:lnTo>
                  <a:pt x="80" y="97"/>
                </a:lnTo>
                <a:lnTo>
                  <a:pt x="81" y="97"/>
                </a:lnTo>
                <a:lnTo>
                  <a:pt x="81" y="95"/>
                </a:lnTo>
                <a:lnTo>
                  <a:pt x="85" y="95"/>
                </a:lnTo>
                <a:close/>
                <a:moveTo>
                  <a:pt x="17" y="2"/>
                </a:moveTo>
                <a:lnTo>
                  <a:pt x="18" y="5"/>
                </a:lnTo>
                <a:lnTo>
                  <a:pt x="20" y="5"/>
                </a:lnTo>
                <a:lnTo>
                  <a:pt x="18" y="9"/>
                </a:lnTo>
                <a:lnTo>
                  <a:pt x="15" y="10"/>
                </a:lnTo>
                <a:lnTo>
                  <a:pt x="13" y="10"/>
                </a:lnTo>
                <a:lnTo>
                  <a:pt x="8" y="15"/>
                </a:lnTo>
                <a:lnTo>
                  <a:pt x="5" y="15"/>
                </a:lnTo>
                <a:lnTo>
                  <a:pt x="3" y="15"/>
                </a:lnTo>
                <a:lnTo>
                  <a:pt x="1" y="14"/>
                </a:lnTo>
                <a:lnTo>
                  <a:pt x="1" y="10"/>
                </a:lnTo>
                <a:lnTo>
                  <a:pt x="0" y="9"/>
                </a:lnTo>
                <a:lnTo>
                  <a:pt x="1" y="7"/>
                </a:lnTo>
                <a:lnTo>
                  <a:pt x="5" y="5"/>
                </a:lnTo>
                <a:lnTo>
                  <a:pt x="8" y="3"/>
                </a:lnTo>
                <a:lnTo>
                  <a:pt x="13" y="0"/>
                </a:lnTo>
                <a:lnTo>
                  <a:pt x="17" y="2"/>
                </a:lnTo>
                <a:close/>
                <a:moveTo>
                  <a:pt x="125" y="51"/>
                </a:moveTo>
                <a:lnTo>
                  <a:pt x="129" y="51"/>
                </a:lnTo>
                <a:lnTo>
                  <a:pt x="131" y="49"/>
                </a:lnTo>
                <a:lnTo>
                  <a:pt x="134" y="51"/>
                </a:lnTo>
                <a:lnTo>
                  <a:pt x="136" y="54"/>
                </a:lnTo>
                <a:lnTo>
                  <a:pt x="136" y="58"/>
                </a:lnTo>
                <a:lnTo>
                  <a:pt x="136" y="60"/>
                </a:lnTo>
                <a:lnTo>
                  <a:pt x="131" y="63"/>
                </a:lnTo>
                <a:lnTo>
                  <a:pt x="129" y="63"/>
                </a:lnTo>
                <a:lnTo>
                  <a:pt x="125" y="63"/>
                </a:lnTo>
                <a:lnTo>
                  <a:pt x="120" y="61"/>
                </a:lnTo>
                <a:lnTo>
                  <a:pt x="122" y="58"/>
                </a:lnTo>
                <a:lnTo>
                  <a:pt x="124" y="56"/>
                </a:lnTo>
                <a:lnTo>
                  <a:pt x="124" y="53"/>
                </a:lnTo>
                <a:lnTo>
                  <a:pt x="124" y="49"/>
                </a:lnTo>
                <a:lnTo>
                  <a:pt x="125" y="51"/>
                </a:lnTo>
                <a:close/>
                <a:moveTo>
                  <a:pt x="52" y="111"/>
                </a:moveTo>
                <a:lnTo>
                  <a:pt x="54" y="112"/>
                </a:lnTo>
                <a:lnTo>
                  <a:pt x="54" y="119"/>
                </a:lnTo>
                <a:lnTo>
                  <a:pt x="52" y="121"/>
                </a:lnTo>
                <a:lnTo>
                  <a:pt x="49" y="123"/>
                </a:lnTo>
                <a:lnTo>
                  <a:pt x="44" y="119"/>
                </a:lnTo>
                <a:lnTo>
                  <a:pt x="42" y="116"/>
                </a:lnTo>
                <a:lnTo>
                  <a:pt x="44" y="112"/>
                </a:lnTo>
                <a:lnTo>
                  <a:pt x="49" y="111"/>
                </a:lnTo>
                <a:lnTo>
                  <a:pt x="52" y="111"/>
                </a:lnTo>
                <a:close/>
                <a:moveTo>
                  <a:pt x="54" y="29"/>
                </a:moveTo>
                <a:lnTo>
                  <a:pt x="57" y="29"/>
                </a:lnTo>
                <a:lnTo>
                  <a:pt x="61" y="31"/>
                </a:lnTo>
                <a:lnTo>
                  <a:pt x="66" y="31"/>
                </a:lnTo>
                <a:lnTo>
                  <a:pt x="68" y="32"/>
                </a:lnTo>
                <a:lnTo>
                  <a:pt x="68" y="34"/>
                </a:lnTo>
                <a:lnTo>
                  <a:pt x="63" y="34"/>
                </a:lnTo>
                <a:lnTo>
                  <a:pt x="59" y="32"/>
                </a:lnTo>
                <a:lnTo>
                  <a:pt x="57" y="32"/>
                </a:lnTo>
                <a:lnTo>
                  <a:pt x="54" y="34"/>
                </a:lnTo>
                <a:lnTo>
                  <a:pt x="52" y="37"/>
                </a:lnTo>
                <a:lnTo>
                  <a:pt x="51" y="32"/>
                </a:lnTo>
                <a:lnTo>
                  <a:pt x="47" y="31"/>
                </a:lnTo>
                <a:lnTo>
                  <a:pt x="47" y="29"/>
                </a:lnTo>
                <a:lnTo>
                  <a:pt x="51" y="27"/>
                </a:lnTo>
                <a:lnTo>
                  <a:pt x="54" y="29"/>
                </a:lnTo>
                <a:close/>
                <a:moveTo>
                  <a:pt x="110" y="95"/>
                </a:moveTo>
                <a:lnTo>
                  <a:pt x="112" y="95"/>
                </a:lnTo>
                <a:lnTo>
                  <a:pt x="112" y="97"/>
                </a:lnTo>
                <a:lnTo>
                  <a:pt x="114" y="97"/>
                </a:lnTo>
                <a:lnTo>
                  <a:pt x="115" y="102"/>
                </a:lnTo>
                <a:lnTo>
                  <a:pt x="115" y="104"/>
                </a:lnTo>
                <a:lnTo>
                  <a:pt x="112" y="107"/>
                </a:lnTo>
                <a:lnTo>
                  <a:pt x="108" y="106"/>
                </a:lnTo>
                <a:lnTo>
                  <a:pt x="107" y="104"/>
                </a:lnTo>
                <a:lnTo>
                  <a:pt x="108" y="100"/>
                </a:lnTo>
                <a:lnTo>
                  <a:pt x="107" y="99"/>
                </a:lnTo>
                <a:lnTo>
                  <a:pt x="108" y="97"/>
                </a:lnTo>
                <a:lnTo>
                  <a:pt x="110" y="97"/>
                </a:lnTo>
                <a:lnTo>
                  <a:pt x="110" y="95"/>
                </a:lnTo>
                <a:close/>
                <a:moveTo>
                  <a:pt x="22" y="15"/>
                </a:moveTo>
                <a:lnTo>
                  <a:pt x="23" y="15"/>
                </a:lnTo>
                <a:lnTo>
                  <a:pt x="22" y="17"/>
                </a:lnTo>
                <a:lnTo>
                  <a:pt x="25" y="19"/>
                </a:lnTo>
                <a:lnTo>
                  <a:pt x="25" y="20"/>
                </a:lnTo>
                <a:lnTo>
                  <a:pt x="18" y="22"/>
                </a:lnTo>
                <a:lnTo>
                  <a:pt x="13" y="20"/>
                </a:lnTo>
                <a:lnTo>
                  <a:pt x="15" y="17"/>
                </a:lnTo>
                <a:lnTo>
                  <a:pt x="18" y="17"/>
                </a:lnTo>
                <a:lnTo>
                  <a:pt x="18" y="15"/>
                </a:lnTo>
                <a:lnTo>
                  <a:pt x="20" y="15"/>
                </a:lnTo>
                <a:lnTo>
                  <a:pt x="22" y="15"/>
                </a:lnTo>
                <a:close/>
                <a:moveTo>
                  <a:pt x="125" y="19"/>
                </a:moveTo>
                <a:lnTo>
                  <a:pt x="124" y="20"/>
                </a:lnTo>
                <a:lnTo>
                  <a:pt x="125" y="22"/>
                </a:lnTo>
                <a:lnTo>
                  <a:pt x="124" y="24"/>
                </a:lnTo>
                <a:lnTo>
                  <a:pt x="125" y="27"/>
                </a:lnTo>
                <a:lnTo>
                  <a:pt x="124" y="29"/>
                </a:lnTo>
                <a:lnTo>
                  <a:pt x="125" y="32"/>
                </a:lnTo>
                <a:lnTo>
                  <a:pt x="124" y="31"/>
                </a:lnTo>
                <a:lnTo>
                  <a:pt x="124" y="32"/>
                </a:lnTo>
                <a:lnTo>
                  <a:pt x="122" y="29"/>
                </a:lnTo>
                <a:lnTo>
                  <a:pt x="122" y="27"/>
                </a:lnTo>
                <a:lnTo>
                  <a:pt x="120" y="26"/>
                </a:lnTo>
                <a:lnTo>
                  <a:pt x="120" y="24"/>
                </a:lnTo>
                <a:lnTo>
                  <a:pt x="119" y="22"/>
                </a:lnTo>
                <a:lnTo>
                  <a:pt x="120" y="20"/>
                </a:lnTo>
                <a:lnTo>
                  <a:pt x="124" y="19"/>
                </a:lnTo>
                <a:lnTo>
                  <a:pt x="125" y="19"/>
                </a:lnTo>
                <a:close/>
                <a:moveTo>
                  <a:pt x="35" y="121"/>
                </a:moveTo>
                <a:lnTo>
                  <a:pt x="34" y="123"/>
                </a:lnTo>
                <a:lnTo>
                  <a:pt x="30" y="121"/>
                </a:lnTo>
                <a:lnTo>
                  <a:pt x="30" y="119"/>
                </a:lnTo>
                <a:lnTo>
                  <a:pt x="32" y="119"/>
                </a:lnTo>
                <a:lnTo>
                  <a:pt x="32" y="117"/>
                </a:lnTo>
                <a:lnTo>
                  <a:pt x="34" y="117"/>
                </a:lnTo>
                <a:lnTo>
                  <a:pt x="35" y="121"/>
                </a:lnTo>
                <a:close/>
                <a:moveTo>
                  <a:pt x="30" y="22"/>
                </a:moveTo>
                <a:lnTo>
                  <a:pt x="32" y="24"/>
                </a:lnTo>
                <a:lnTo>
                  <a:pt x="34" y="24"/>
                </a:lnTo>
                <a:lnTo>
                  <a:pt x="30" y="24"/>
                </a:lnTo>
                <a:lnTo>
                  <a:pt x="29" y="22"/>
                </a:lnTo>
                <a:lnTo>
                  <a:pt x="29" y="20"/>
                </a:lnTo>
                <a:lnTo>
                  <a:pt x="30" y="22"/>
                </a:lnTo>
                <a:close/>
                <a:moveTo>
                  <a:pt x="37" y="31"/>
                </a:moveTo>
                <a:lnTo>
                  <a:pt x="39" y="31"/>
                </a:lnTo>
                <a:lnTo>
                  <a:pt x="37" y="31"/>
                </a:lnTo>
                <a:close/>
                <a:moveTo>
                  <a:pt x="34" y="27"/>
                </a:moveTo>
                <a:lnTo>
                  <a:pt x="35" y="27"/>
                </a:lnTo>
                <a:lnTo>
                  <a:pt x="35" y="29"/>
                </a:lnTo>
                <a:lnTo>
                  <a:pt x="34" y="29"/>
                </a:lnTo>
                <a:lnTo>
                  <a:pt x="34" y="27"/>
                </a:lnTo>
                <a:close/>
                <a:moveTo>
                  <a:pt x="122" y="53"/>
                </a:moveTo>
                <a:lnTo>
                  <a:pt x="124" y="53"/>
                </a:lnTo>
                <a:lnTo>
                  <a:pt x="122" y="53"/>
                </a:lnTo>
                <a:close/>
                <a:moveTo>
                  <a:pt x="35" y="114"/>
                </a:moveTo>
                <a:lnTo>
                  <a:pt x="37" y="114"/>
                </a:lnTo>
                <a:lnTo>
                  <a:pt x="35" y="114"/>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214" name="Freeform 11">
            <a:extLst>
              <a:ext uri="{FF2B5EF4-FFF2-40B4-BE49-F238E27FC236}">
                <a16:creationId xmlns:a16="http://schemas.microsoft.com/office/drawing/2014/main" id="{B05C6A49-D3FF-4B6C-A901-097C0E5FA8D8}"/>
              </a:ext>
            </a:extLst>
          </p:cNvPr>
          <p:cNvSpPr>
            <a:spLocks noEditPoints="1"/>
          </p:cNvSpPr>
          <p:nvPr/>
        </p:nvSpPr>
        <p:spPr bwMode="gray">
          <a:xfrm>
            <a:off x="6159605" y="2620300"/>
            <a:ext cx="121319" cy="109722"/>
          </a:xfrm>
          <a:custGeom>
            <a:avLst/>
            <a:gdLst>
              <a:gd name="T0" fmla="*/ 85 w 136"/>
              <a:gd name="T1" fmla="*/ 99 h 123"/>
              <a:gd name="T2" fmla="*/ 91 w 136"/>
              <a:gd name="T3" fmla="*/ 106 h 123"/>
              <a:gd name="T4" fmla="*/ 97 w 136"/>
              <a:gd name="T5" fmla="*/ 111 h 123"/>
              <a:gd name="T6" fmla="*/ 95 w 136"/>
              <a:gd name="T7" fmla="*/ 117 h 123"/>
              <a:gd name="T8" fmla="*/ 83 w 136"/>
              <a:gd name="T9" fmla="*/ 112 h 123"/>
              <a:gd name="T10" fmla="*/ 80 w 136"/>
              <a:gd name="T11" fmla="*/ 104 h 123"/>
              <a:gd name="T12" fmla="*/ 81 w 136"/>
              <a:gd name="T13" fmla="*/ 97 h 123"/>
              <a:gd name="T14" fmla="*/ 17 w 136"/>
              <a:gd name="T15" fmla="*/ 2 h 123"/>
              <a:gd name="T16" fmla="*/ 18 w 136"/>
              <a:gd name="T17" fmla="*/ 9 h 123"/>
              <a:gd name="T18" fmla="*/ 8 w 136"/>
              <a:gd name="T19" fmla="*/ 15 h 123"/>
              <a:gd name="T20" fmla="*/ 1 w 136"/>
              <a:gd name="T21" fmla="*/ 14 h 123"/>
              <a:gd name="T22" fmla="*/ 1 w 136"/>
              <a:gd name="T23" fmla="*/ 7 h 123"/>
              <a:gd name="T24" fmla="*/ 13 w 136"/>
              <a:gd name="T25" fmla="*/ 0 h 123"/>
              <a:gd name="T26" fmla="*/ 129 w 136"/>
              <a:gd name="T27" fmla="*/ 51 h 123"/>
              <a:gd name="T28" fmla="*/ 136 w 136"/>
              <a:gd name="T29" fmla="*/ 54 h 123"/>
              <a:gd name="T30" fmla="*/ 131 w 136"/>
              <a:gd name="T31" fmla="*/ 63 h 123"/>
              <a:gd name="T32" fmla="*/ 120 w 136"/>
              <a:gd name="T33" fmla="*/ 61 h 123"/>
              <a:gd name="T34" fmla="*/ 124 w 136"/>
              <a:gd name="T35" fmla="*/ 53 h 123"/>
              <a:gd name="T36" fmla="*/ 52 w 136"/>
              <a:gd name="T37" fmla="*/ 111 h 123"/>
              <a:gd name="T38" fmla="*/ 52 w 136"/>
              <a:gd name="T39" fmla="*/ 121 h 123"/>
              <a:gd name="T40" fmla="*/ 42 w 136"/>
              <a:gd name="T41" fmla="*/ 116 h 123"/>
              <a:gd name="T42" fmla="*/ 52 w 136"/>
              <a:gd name="T43" fmla="*/ 111 h 123"/>
              <a:gd name="T44" fmla="*/ 61 w 136"/>
              <a:gd name="T45" fmla="*/ 31 h 123"/>
              <a:gd name="T46" fmla="*/ 68 w 136"/>
              <a:gd name="T47" fmla="*/ 34 h 123"/>
              <a:gd name="T48" fmla="*/ 57 w 136"/>
              <a:gd name="T49" fmla="*/ 32 h 123"/>
              <a:gd name="T50" fmla="*/ 51 w 136"/>
              <a:gd name="T51" fmla="*/ 32 h 123"/>
              <a:gd name="T52" fmla="*/ 51 w 136"/>
              <a:gd name="T53" fmla="*/ 27 h 123"/>
              <a:gd name="T54" fmla="*/ 112 w 136"/>
              <a:gd name="T55" fmla="*/ 95 h 123"/>
              <a:gd name="T56" fmla="*/ 115 w 136"/>
              <a:gd name="T57" fmla="*/ 102 h 123"/>
              <a:gd name="T58" fmla="*/ 108 w 136"/>
              <a:gd name="T59" fmla="*/ 106 h 123"/>
              <a:gd name="T60" fmla="*/ 107 w 136"/>
              <a:gd name="T61" fmla="*/ 99 h 123"/>
              <a:gd name="T62" fmla="*/ 110 w 136"/>
              <a:gd name="T63" fmla="*/ 95 h 123"/>
              <a:gd name="T64" fmla="*/ 22 w 136"/>
              <a:gd name="T65" fmla="*/ 17 h 123"/>
              <a:gd name="T66" fmla="*/ 18 w 136"/>
              <a:gd name="T67" fmla="*/ 22 h 123"/>
              <a:gd name="T68" fmla="*/ 18 w 136"/>
              <a:gd name="T69" fmla="*/ 17 h 123"/>
              <a:gd name="T70" fmla="*/ 22 w 136"/>
              <a:gd name="T71" fmla="*/ 15 h 123"/>
              <a:gd name="T72" fmla="*/ 125 w 136"/>
              <a:gd name="T73" fmla="*/ 22 h 123"/>
              <a:gd name="T74" fmla="*/ 124 w 136"/>
              <a:gd name="T75" fmla="*/ 29 h 123"/>
              <a:gd name="T76" fmla="*/ 124 w 136"/>
              <a:gd name="T77" fmla="*/ 32 h 123"/>
              <a:gd name="T78" fmla="*/ 120 w 136"/>
              <a:gd name="T79" fmla="*/ 26 h 123"/>
              <a:gd name="T80" fmla="*/ 120 w 136"/>
              <a:gd name="T81" fmla="*/ 20 h 123"/>
              <a:gd name="T82" fmla="*/ 35 w 136"/>
              <a:gd name="T83" fmla="*/ 121 h 123"/>
              <a:gd name="T84" fmla="*/ 30 w 136"/>
              <a:gd name="T85" fmla="*/ 119 h 123"/>
              <a:gd name="T86" fmla="*/ 34 w 136"/>
              <a:gd name="T87" fmla="*/ 117 h 123"/>
              <a:gd name="T88" fmla="*/ 32 w 136"/>
              <a:gd name="T89" fmla="*/ 24 h 123"/>
              <a:gd name="T90" fmla="*/ 29 w 136"/>
              <a:gd name="T91" fmla="*/ 22 h 123"/>
              <a:gd name="T92" fmla="*/ 37 w 136"/>
              <a:gd name="T93" fmla="*/ 31 h 123"/>
              <a:gd name="T94" fmla="*/ 34 w 136"/>
              <a:gd name="T95" fmla="*/ 27 h 123"/>
              <a:gd name="T96" fmla="*/ 34 w 136"/>
              <a:gd name="T97" fmla="*/ 29 h 123"/>
              <a:gd name="T98" fmla="*/ 124 w 136"/>
              <a:gd name="T99" fmla="*/ 53 h 123"/>
              <a:gd name="T100" fmla="*/ 37 w 136"/>
              <a:gd name="T10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23">
                <a:moveTo>
                  <a:pt x="85" y="95"/>
                </a:moveTo>
                <a:lnTo>
                  <a:pt x="85" y="97"/>
                </a:lnTo>
                <a:lnTo>
                  <a:pt x="85" y="99"/>
                </a:lnTo>
                <a:lnTo>
                  <a:pt x="88" y="100"/>
                </a:lnTo>
                <a:lnTo>
                  <a:pt x="90" y="104"/>
                </a:lnTo>
                <a:lnTo>
                  <a:pt x="91" y="106"/>
                </a:lnTo>
                <a:lnTo>
                  <a:pt x="93" y="106"/>
                </a:lnTo>
                <a:lnTo>
                  <a:pt x="95" y="109"/>
                </a:lnTo>
                <a:lnTo>
                  <a:pt x="97" y="111"/>
                </a:lnTo>
                <a:lnTo>
                  <a:pt x="97" y="112"/>
                </a:lnTo>
                <a:lnTo>
                  <a:pt x="97" y="114"/>
                </a:lnTo>
                <a:lnTo>
                  <a:pt x="95" y="117"/>
                </a:lnTo>
                <a:lnTo>
                  <a:pt x="93" y="117"/>
                </a:lnTo>
                <a:lnTo>
                  <a:pt x="88" y="117"/>
                </a:lnTo>
                <a:lnTo>
                  <a:pt x="83" y="112"/>
                </a:lnTo>
                <a:lnTo>
                  <a:pt x="80" y="109"/>
                </a:lnTo>
                <a:lnTo>
                  <a:pt x="81" y="106"/>
                </a:lnTo>
                <a:lnTo>
                  <a:pt x="80" y="104"/>
                </a:lnTo>
                <a:lnTo>
                  <a:pt x="81" y="100"/>
                </a:lnTo>
                <a:lnTo>
                  <a:pt x="80" y="97"/>
                </a:lnTo>
                <a:lnTo>
                  <a:pt x="81" y="97"/>
                </a:lnTo>
                <a:lnTo>
                  <a:pt x="81" y="95"/>
                </a:lnTo>
                <a:lnTo>
                  <a:pt x="85" y="95"/>
                </a:lnTo>
                <a:close/>
                <a:moveTo>
                  <a:pt x="17" y="2"/>
                </a:moveTo>
                <a:lnTo>
                  <a:pt x="18" y="5"/>
                </a:lnTo>
                <a:lnTo>
                  <a:pt x="20" y="5"/>
                </a:lnTo>
                <a:lnTo>
                  <a:pt x="18" y="9"/>
                </a:lnTo>
                <a:lnTo>
                  <a:pt x="15" y="10"/>
                </a:lnTo>
                <a:lnTo>
                  <a:pt x="13" y="10"/>
                </a:lnTo>
                <a:lnTo>
                  <a:pt x="8" y="15"/>
                </a:lnTo>
                <a:lnTo>
                  <a:pt x="5" y="15"/>
                </a:lnTo>
                <a:lnTo>
                  <a:pt x="3" y="15"/>
                </a:lnTo>
                <a:lnTo>
                  <a:pt x="1" y="14"/>
                </a:lnTo>
                <a:lnTo>
                  <a:pt x="1" y="10"/>
                </a:lnTo>
                <a:lnTo>
                  <a:pt x="0" y="9"/>
                </a:lnTo>
                <a:lnTo>
                  <a:pt x="1" y="7"/>
                </a:lnTo>
                <a:lnTo>
                  <a:pt x="5" y="5"/>
                </a:lnTo>
                <a:lnTo>
                  <a:pt x="8" y="3"/>
                </a:lnTo>
                <a:lnTo>
                  <a:pt x="13" y="0"/>
                </a:lnTo>
                <a:lnTo>
                  <a:pt x="17" y="2"/>
                </a:lnTo>
                <a:close/>
                <a:moveTo>
                  <a:pt x="125" y="51"/>
                </a:moveTo>
                <a:lnTo>
                  <a:pt x="129" y="51"/>
                </a:lnTo>
                <a:lnTo>
                  <a:pt x="131" y="49"/>
                </a:lnTo>
                <a:lnTo>
                  <a:pt x="134" y="51"/>
                </a:lnTo>
                <a:lnTo>
                  <a:pt x="136" y="54"/>
                </a:lnTo>
                <a:lnTo>
                  <a:pt x="136" y="58"/>
                </a:lnTo>
                <a:lnTo>
                  <a:pt x="136" y="60"/>
                </a:lnTo>
                <a:lnTo>
                  <a:pt x="131" y="63"/>
                </a:lnTo>
                <a:lnTo>
                  <a:pt x="129" y="63"/>
                </a:lnTo>
                <a:lnTo>
                  <a:pt x="125" y="63"/>
                </a:lnTo>
                <a:lnTo>
                  <a:pt x="120" y="61"/>
                </a:lnTo>
                <a:lnTo>
                  <a:pt x="122" y="58"/>
                </a:lnTo>
                <a:lnTo>
                  <a:pt x="124" y="56"/>
                </a:lnTo>
                <a:lnTo>
                  <a:pt x="124" y="53"/>
                </a:lnTo>
                <a:lnTo>
                  <a:pt x="124" y="49"/>
                </a:lnTo>
                <a:lnTo>
                  <a:pt x="125" y="51"/>
                </a:lnTo>
                <a:close/>
                <a:moveTo>
                  <a:pt x="52" y="111"/>
                </a:moveTo>
                <a:lnTo>
                  <a:pt x="54" y="112"/>
                </a:lnTo>
                <a:lnTo>
                  <a:pt x="54" y="119"/>
                </a:lnTo>
                <a:lnTo>
                  <a:pt x="52" y="121"/>
                </a:lnTo>
                <a:lnTo>
                  <a:pt x="49" y="123"/>
                </a:lnTo>
                <a:lnTo>
                  <a:pt x="44" y="119"/>
                </a:lnTo>
                <a:lnTo>
                  <a:pt x="42" y="116"/>
                </a:lnTo>
                <a:lnTo>
                  <a:pt x="44" y="112"/>
                </a:lnTo>
                <a:lnTo>
                  <a:pt x="49" y="111"/>
                </a:lnTo>
                <a:lnTo>
                  <a:pt x="52" y="111"/>
                </a:lnTo>
                <a:close/>
                <a:moveTo>
                  <a:pt x="54" y="29"/>
                </a:moveTo>
                <a:lnTo>
                  <a:pt x="57" y="29"/>
                </a:lnTo>
                <a:lnTo>
                  <a:pt x="61" y="31"/>
                </a:lnTo>
                <a:lnTo>
                  <a:pt x="66" y="31"/>
                </a:lnTo>
                <a:lnTo>
                  <a:pt x="68" y="32"/>
                </a:lnTo>
                <a:lnTo>
                  <a:pt x="68" y="34"/>
                </a:lnTo>
                <a:lnTo>
                  <a:pt x="63" y="34"/>
                </a:lnTo>
                <a:lnTo>
                  <a:pt x="59" y="32"/>
                </a:lnTo>
                <a:lnTo>
                  <a:pt x="57" y="32"/>
                </a:lnTo>
                <a:lnTo>
                  <a:pt x="54" y="34"/>
                </a:lnTo>
                <a:lnTo>
                  <a:pt x="52" y="37"/>
                </a:lnTo>
                <a:lnTo>
                  <a:pt x="51" y="32"/>
                </a:lnTo>
                <a:lnTo>
                  <a:pt x="47" y="31"/>
                </a:lnTo>
                <a:lnTo>
                  <a:pt x="47" y="29"/>
                </a:lnTo>
                <a:lnTo>
                  <a:pt x="51" y="27"/>
                </a:lnTo>
                <a:lnTo>
                  <a:pt x="54" y="29"/>
                </a:lnTo>
                <a:close/>
                <a:moveTo>
                  <a:pt x="110" y="95"/>
                </a:moveTo>
                <a:lnTo>
                  <a:pt x="112" y="95"/>
                </a:lnTo>
                <a:lnTo>
                  <a:pt x="112" y="97"/>
                </a:lnTo>
                <a:lnTo>
                  <a:pt x="114" y="97"/>
                </a:lnTo>
                <a:lnTo>
                  <a:pt x="115" y="102"/>
                </a:lnTo>
                <a:lnTo>
                  <a:pt x="115" y="104"/>
                </a:lnTo>
                <a:lnTo>
                  <a:pt x="112" y="107"/>
                </a:lnTo>
                <a:lnTo>
                  <a:pt x="108" y="106"/>
                </a:lnTo>
                <a:lnTo>
                  <a:pt x="107" y="104"/>
                </a:lnTo>
                <a:lnTo>
                  <a:pt x="108" y="100"/>
                </a:lnTo>
                <a:lnTo>
                  <a:pt x="107" y="99"/>
                </a:lnTo>
                <a:lnTo>
                  <a:pt x="108" y="97"/>
                </a:lnTo>
                <a:lnTo>
                  <a:pt x="110" y="97"/>
                </a:lnTo>
                <a:lnTo>
                  <a:pt x="110" y="95"/>
                </a:lnTo>
                <a:close/>
                <a:moveTo>
                  <a:pt x="22" y="15"/>
                </a:moveTo>
                <a:lnTo>
                  <a:pt x="23" y="15"/>
                </a:lnTo>
                <a:lnTo>
                  <a:pt x="22" y="17"/>
                </a:lnTo>
                <a:lnTo>
                  <a:pt x="25" y="19"/>
                </a:lnTo>
                <a:lnTo>
                  <a:pt x="25" y="20"/>
                </a:lnTo>
                <a:lnTo>
                  <a:pt x="18" y="22"/>
                </a:lnTo>
                <a:lnTo>
                  <a:pt x="13" y="20"/>
                </a:lnTo>
                <a:lnTo>
                  <a:pt x="15" y="17"/>
                </a:lnTo>
                <a:lnTo>
                  <a:pt x="18" y="17"/>
                </a:lnTo>
                <a:lnTo>
                  <a:pt x="18" y="15"/>
                </a:lnTo>
                <a:lnTo>
                  <a:pt x="20" y="15"/>
                </a:lnTo>
                <a:lnTo>
                  <a:pt x="22" y="15"/>
                </a:lnTo>
                <a:close/>
                <a:moveTo>
                  <a:pt x="125" y="19"/>
                </a:moveTo>
                <a:lnTo>
                  <a:pt x="124" y="20"/>
                </a:lnTo>
                <a:lnTo>
                  <a:pt x="125" y="22"/>
                </a:lnTo>
                <a:lnTo>
                  <a:pt x="124" y="24"/>
                </a:lnTo>
                <a:lnTo>
                  <a:pt x="125" y="27"/>
                </a:lnTo>
                <a:lnTo>
                  <a:pt x="124" y="29"/>
                </a:lnTo>
                <a:lnTo>
                  <a:pt x="125" y="32"/>
                </a:lnTo>
                <a:lnTo>
                  <a:pt x="124" y="31"/>
                </a:lnTo>
                <a:lnTo>
                  <a:pt x="124" y="32"/>
                </a:lnTo>
                <a:lnTo>
                  <a:pt x="122" y="29"/>
                </a:lnTo>
                <a:lnTo>
                  <a:pt x="122" y="27"/>
                </a:lnTo>
                <a:lnTo>
                  <a:pt x="120" y="26"/>
                </a:lnTo>
                <a:lnTo>
                  <a:pt x="120" y="24"/>
                </a:lnTo>
                <a:lnTo>
                  <a:pt x="119" y="22"/>
                </a:lnTo>
                <a:lnTo>
                  <a:pt x="120" y="20"/>
                </a:lnTo>
                <a:lnTo>
                  <a:pt x="124" y="19"/>
                </a:lnTo>
                <a:lnTo>
                  <a:pt x="125" y="19"/>
                </a:lnTo>
                <a:close/>
                <a:moveTo>
                  <a:pt x="35" y="121"/>
                </a:moveTo>
                <a:lnTo>
                  <a:pt x="34" y="123"/>
                </a:lnTo>
                <a:lnTo>
                  <a:pt x="30" y="121"/>
                </a:lnTo>
                <a:lnTo>
                  <a:pt x="30" y="119"/>
                </a:lnTo>
                <a:lnTo>
                  <a:pt x="32" y="119"/>
                </a:lnTo>
                <a:lnTo>
                  <a:pt x="32" y="117"/>
                </a:lnTo>
                <a:lnTo>
                  <a:pt x="34" y="117"/>
                </a:lnTo>
                <a:lnTo>
                  <a:pt x="35" y="121"/>
                </a:lnTo>
                <a:close/>
                <a:moveTo>
                  <a:pt x="30" y="22"/>
                </a:moveTo>
                <a:lnTo>
                  <a:pt x="32" y="24"/>
                </a:lnTo>
                <a:lnTo>
                  <a:pt x="34" y="24"/>
                </a:lnTo>
                <a:lnTo>
                  <a:pt x="30" y="24"/>
                </a:lnTo>
                <a:lnTo>
                  <a:pt x="29" y="22"/>
                </a:lnTo>
                <a:lnTo>
                  <a:pt x="29" y="20"/>
                </a:lnTo>
                <a:lnTo>
                  <a:pt x="30" y="22"/>
                </a:lnTo>
                <a:close/>
                <a:moveTo>
                  <a:pt x="37" y="31"/>
                </a:moveTo>
                <a:lnTo>
                  <a:pt x="39" y="31"/>
                </a:lnTo>
                <a:lnTo>
                  <a:pt x="37" y="31"/>
                </a:lnTo>
                <a:close/>
                <a:moveTo>
                  <a:pt x="34" y="27"/>
                </a:moveTo>
                <a:lnTo>
                  <a:pt x="35" y="27"/>
                </a:lnTo>
                <a:lnTo>
                  <a:pt x="35" y="29"/>
                </a:lnTo>
                <a:lnTo>
                  <a:pt x="34" y="29"/>
                </a:lnTo>
                <a:lnTo>
                  <a:pt x="34" y="27"/>
                </a:lnTo>
                <a:close/>
                <a:moveTo>
                  <a:pt x="122" y="53"/>
                </a:moveTo>
                <a:lnTo>
                  <a:pt x="124" y="53"/>
                </a:lnTo>
                <a:lnTo>
                  <a:pt x="122" y="53"/>
                </a:lnTo>
                <a:close/>
                <a:moveTo>
                  <a:pt x="35" y="114"/>
                </a:moveTo>
                <a:lnTo>
                  <a:pt x="37" y="114"/>
                </a:lnTo>
                <a:lnTo>
                  <a:pt x="35" y="114"/>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grpSp>
        <p:nvGrpSpPr>
          <p:cNvPr id="225" name="Group 224">
            <a:extLst>
              <a:ext uri="{FF2B5EF4-FFF2-40B4-BE49-F238E27FC236}">
                <a16:creationId xmlns:a16="http://schemas.microsoft.com/office/drawing/2014/main" id="{FA890FCA-1046-440E-9971-739B13428EF0}"/>
              </a:ext>
            </a:extLst>
          </p:cNvPr>
          <p:cNvGrpSpPr/>
          <p:nvPr/>
        </p:nvGrpSpPr>
        <p:grpSpPr>
          <a:xfrm>
            <a:off x="9360715" y="2030676"/>
            <a:ext cx="2288853" cy="2050781"/>
            <a:chOff x="9360715" y="2030676"/>
            <a:chExt cx="2288853" cy="2050781"/>
          </a:xfrm>
        </p:grpSpPr>
        <p:sp>
          <p:nvSpPr>
            <p:cNvPr id="231" name="Oval 230">
              <a:extLst>
                <a:ext uri="{FF2B5EF4-FFF2-40B4-BE49-F238E27FC236}">
                  <a16:creationId xmlns:a16="http://schemas.microsoft.com/office/drawing/2014/main" id="{F485C409-574F-49ED-986B-1B0A7D9A5693}"/>
                </a:ext>
              </a:extLst>
            </p:cNvPr>
            <p:cNvSpPr/>
            <p:nvPr/>
          </p:nvSpPr>
          <p:spPr>
            <a:xfrm>
              <a:off x="9776260" y="2105597"/>
              <a:ext cx="1738236" cy="1738236"/>
            </a:xfrm>
            <a:prstGeom prst="ellipse">
              <a:avLst/>
            </a:prstGeom>
            <a:noFill/>
            <a:ln w="19050">
              <a:solidFill>
                <a:schemeClr val="accent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200" kern="1200" dirty="0" err="1">
                <a:solidFill>
                  <a:srgbClr val="000000"/>
                </a:solidFill>
              </a:endParaRPr>
            </a:p>
          </p:txBody>
        </p:sp>
        <p:sp>
          <p:nvSpPr>
            <p:cNvPr id="233" name="Freeform 50">
              <a:extLst>
                <a:ext uri="{FF2B5EF4-FFF2-40B4-BE49-F238E27FC236}">
                  <a16:creationId xmlns:a16="http://schemas.microsoft.com/office/drawing/2014/main" id="{A45140D7-8DD6-4E64-A122-D434C8286E3D}"/>
                </a:ext>
              </a:extLst>
            </p:cNvPr>
            <p:cNvSpPr>
              <a:spLocks noEditPoints="1"/>
            </p:cNvSpPr>
            <p:nvPr/>
          </p:nvSpPr>
          <p:spPr bwMode="gray">
            <a:xfrm>
              <a:off x="9584606" y="2621247"/>
              <a:ext cx="178315" cy="123595"/>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35" name="Freeform 9">
              <a:extLst>
                <a:ext uri="{FF2B5EF4-FFF2-40B4-BE49-F238E27FC236}">
                  <a16:creationId xmlns:a16="http://schemas.microsoft.com/office/drawing/2014/main" id="{D39FBA34-A61F-43B1-8A5C-1B3DDB0F53ED}"/>
                </a:ext>
              </a:extLst>
            </p:cNvPr>
            <p:cNvSpPr>
              <a:spLocks/>
            </p:cNvSpPr>
            <p:nvPr/>
          </p:nvSpPr>
          <p:spPr bwMode="gray">
            <a:xfrm>
              <a:off x="9840400" y="2042980"/>
              <a:ext cx="596473" cy="513953"/>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36" name="Freeform 59">
              <a:extLst>
                <a:ext uri="{FF2B5EF4-FFF2-40B4-BE49-F238E27FC236}">
                  <a16:creationId xmlns:a16="http://schemas.microsoft.com/office/drawing/2014/main" id="{B7B0F171-0EFD-4E0D-A1A4-167AE3E5E755}"/>
                </a:ext>
              </a:extLst>
            </p:cNvPr>
            <p:cNvSpPr>
              <a:spLocks noEditPoints="1"/>
            </p:cNvSpPr>
            <p:nvPr/>
          </p:nvSpPr>
          <p:spPr bwMode="gray">
            <a:xfrm>
              <a:off x="10308122" y="2030676"/>
              <a:ext cx="116788" cy="206364"/>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42" name="Freeform 10">
              <a:extLst>
                <a:ext uri="{FF2B5EF4-FFF2-40B4-BE49-F238E27FC236}">
                  <a16:creationId xmlns:a16="http://schemas.microsoft.com/office/drawing/2014/main" id="{6B3AF5A0-06B9-4C3C-B262-0611891ADAFC}"/>
                </a:ext>
              </a:extLst>
            </p:cNvPr>
            <p:cNvSpPr>
              <a:spLocks noEditPoints="1"/>
            </p:cNvSpPr>
            <p:nvPr/>
          </p:nvSpPr>
          <p:spPr bwMode="gray">
            <a:xfrm>
              <a:off x="10427188" y="3217970"/>
              <a:ext cx="358340" cy="387003"/>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243" name="Freeform 12">
              <a:extLst>
                <a:ext uri="{FF2B5EF4-FFF2-40B4-BE49-F238E27FC236}">
                  <a16:creationId xmlns:a16="http://schemas.microsoft.com/office/drawing/2014/main" id="{9E415F9A-07D3-47D6-AA28-926EC8539F13}"/>
                </a:ext>
              </a:extLst>
            </p:cNvPr>
            <p:cNvSpPr>
              <a:spLocks/>
            </p:cNvSpPr>
            <p:nvPr/>
          </p:nvSpPr>
          <p:spPr bwMode="gray">
            <a:xfrm>
              <a:off x="10113286" y="2742046"/>
              <a:ext cx="88304" cy="175047"/>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56" name="Freeform 13">
              <a:extLst>
                <a:ext uri="{FF2B5EF4-FFF2-40B4-BE49-F238E27FC236}">
                  <a16:creationId xmlns:a16="http://schemas.microsoft.com/office/drawing/2014/main" id="{19BE6F03-2CAE-4CD2-8FDE-3BC8904B5DEE}"/>
                </a:ext>
              </a:extLst>
            </p:cNvPr>
            <p:cNvSpPr>
              <a:spLocks/>
            </p:cNvSpPr>
            <p:nvPr/>
          </p:nvSpPr>
          <p:spPr bwMode="gray">
            <a:xfrm>
              <a:off x="10667031" y="3598263"/>
              <a:ext cx="270606" cy="257815"/>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57" name="Freeform 14">
              <a:extLst>
                <a:ext uri="{FF2B5EF4-FFF2-40B4-BE49-F238E27FC236}">
                  <a16:creationId xmlns:a16="http://schemas.microsoft.com/office/drawing/2014/main" id="{F92DD974-5DE5-44A5-9A63-3F8A758FB801}"/>
                </a:ext>
              </a:extLst>
            </p:cNvPr>
            <p:cNvSpPr>
              <a:spLocks/>
            </p:cNvSpPr>
            <p:nvPr/>
          </p:nvSpPr>
          <p:spPr bwMode="gray">
            <a:xfrm>
              <a:off x="9930981" y="2667106"/>
              <a:ext cx="229019" cy="160506"/>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58" name="Freeform 15">
              <a:extLst>
                <a:ext uri="{FF2B5EF4-FFF2-40B4-BE49-F238E27FC236}">
                  <a16:creationId xmlns:a16="http://schemas.microsoft.com/office/drawing/2014/main" id="{B39B1A52-651C-4811-8344-0D3FE2CB0B23}"/>
                </a:ext>
              </a:extLst>
            </p:cNvPr>
            <p:cNvSpPr>
              <a:spLocks/>
            </p:cNvSpPr>
            <p:nvPr/>
          </p:nvSpPr>
          <p:spPr bwMode="gray">
            <a:xfrm>
              <a:off x="10926813" y="3159808"/>
              <a:ext cx="52982" cy="60959"/>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59" name="Freeform 16">
              <a:extLst>
                <a:ext uri="{FF2B5EF4-FFF2-40B4-BE49-F238E27FC236}">
                  <a16:creationId xmlns:a16="http://schemas.microsoft.com/office/drawing/2014/main" id="{F59C0DB8-0B4D-4DC6-A11F-ADA860E0BFEB}"/>
                </a:ext>
              </a:extLst>
            </p:cNvPr>
            <p:cNvSpPr>
              <a:spLocks noEditPoints="1"/>
            </p:cNvSpPr>
            <p:nvPr/>
          </p:nvSpPr>
          <p:spPr bwMode="gray">
            <a:xfrm>
              <a:off x="10338885" y="2723032"/>
              <a:ext cx="218765" cy="324367"/>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0" name="Freeform 17">
              <a:extLst>
                <a:ext uri="{FF2B5EF4-FFF2-40B4-BE49-F238E27FC236}">
                  <a16:creationId xmlns:a16="http://schemas.microsoft.com/office/drawing/2014/main" id="{68C77DCC-C49C-40BB-A825-BAF7906A3733}"/>
                </a:ext>
              </a:extLst>
            </p:cNvPr>
            <p:cNvSpPr>
              <a:spLocks noEditPoints="1"/>
            </p:cNvSpPr>
            <p:nvPr/>
          </p:nvSpPr>
          <p:spPr bwMode="gray">
            <a:xfrm>
              <a:off x="10336037" y="2957359"/>
              <a:ext cx="5696" cy="9507"/>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1" name="Freeform 18">
              <a:extLst>
                <a:ext uri="{FF2B5EF4-FFF2-40B4-BE49-F238E27FC236}">
                  <a16:creationId xmlns:a16="http://schemas.microsoft.com/office/drawing/2014/main" id="{8801D845-C497-4274-A5D2-9857E44D09AD}"/>
                </a:ext>
              </a:extLst>
            </p:cNvPr>
            <p:cNvSpPr>
              <a:spLocks/>
            </p:cNvSpPr>
            <p:nvPr/>
          </p:nvSpPr>
          <p:spPr bwMode="gray">
            <a:xfrm>
              <a:off x="10506376" y="2782312"/>
              <a:ext cx="376001" cy="248868"/>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2" name="Freeform 19">
              <a:extLst>
                <a:ext uri="{FF2B5EF4-FFF2-40B4-BE49-F238E27FC236}">
                  <a16:creationId xmlns:a16="http://schemas.microsoft.com/office/drawing/2014/main" id="{97F13395-B02F-498F-98DA-94A6E55B5606}"/>
                </a:ext>
              </a:extLst>
            </p:cNvPr>
            <p:cNvSpPr>
              <a:spLocks/>
            </p:cNvSpPr>
            <p:nvPr/>
          </p:nvSpPr>
          <p:spPr bwMode="gray">
            <a:xfrm>
              <a:off x="10479032" y="2429424"/>
              <a:ext cx="303649" cy="453554"/>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3" name="Freeform 20">
              <a:extLst>
                <a:ext uri="{FF2B5EF4-FFF2-40B4-BE49-F238E27FC236}">
                  <a16:creationId xmlns:a16="http://schemas.microsoft.com/office/drawing/2014/main" id="{1C0B4F95-9947-41B0-B8AD-748F239BED2E}"/>
                </a:ext>
              </a:extLst>
            </p:cNvPr>
            <p:cNvSpPr>
              <a:spLocks noEditPoints="1"/>
            </p:cNvSpPr>
            <p:nvPr/>
          </p:nvSpPr>
          <p:spPr bwMode="gray">
            <a:xfrm>
              <a:off x="11337565" y="3415946"/>
              <a:ext cx="37600" cy="30199"/>
            </a:xfrm>
            <a:custGeom>
              <a:avLst/>
              <a:gdLst>
                <a:gd name="T0" fmla="*/ 8 w 66"/>
                <a:gd name="T1" fmla="*/ 1 h 54"/>
                <a:gd name="T2" fmla="*/ 10 w 66"/>
                <a:gd name="T3" fmla="*/ 3 h 54"/>
                <a:gd name="T4" fmla="*/ 8 w 66"/>
                <a:gd name="T5" fmla="*/ 15 h 54"/>
                <a:gd name="T6" fmla="*/ 12 w 66"/>
                <a:gd name="T7" fmla="*/ 20 h 54"/>
                <a:gd name="T8" fmla="*/ 12 w 66"/>
                <a:gd name="T9" fmla="*/ 23 h 54"/>
                <a:gd name="T10" fmla="*/ 15 w 66"/>
                <a:gd name="T11" fmla="*/ 27 h 54"/>
                <a:gd name="T12" fmla="*/ 13 w 66"/>
                <a:gd name="T13" fmla="*/ 29 h 54"/>
                <a:gd name="T14" fmla="*/ 12 w 66"/>
                <a:gd name="T15" fmla="*/ 30 h 54"/>
                <a:gd name="T16" fmla="*/ 10 w 66"/>
                <a:gd name="T17" fmla="*/ 29 h 54"/>
                <a:gd name="T18" fmla="*/ 8 w 66"/>
                <a:gd name="T19" fmla="*/ 25 h 54"/>
                <a:gd name="T20" fmla="*/ 3 w 66"/>
                <a:gd name="T21" fmla="*/ 25 h 54"/>
                <a:gd name="T22" fmla="*/ 0 w 66"/>
                <a:gd name="T23" fmla="*/ 20 h 54"/>
                <a:gd name="T24" fmla="*/ 0 w 66"/>
                <a:gd name="T25" fmla="*/ 18 h 54"/>
                <a:gd name="T26" fmla="*/ 1 w 66"/>
                <a:gd name="T27" fmla="*/ 17 h 54"/>
                <a:gd name="T28" fmla="*/ 1 w 66"/>
                <a:gd name="T29" fmla="*/ 3 h 54"/>
                <a:gd name="T30" fmla="*/ 3 w 66"/>
                <a:gd name="T31" fmla="*/ 1 h 54"/>
                <a:gd name="T32" fmla="*/ 6 w 66"/>
                <a:gd name="T33" fmla="*/ 0 h 54"/>
                <a:gd name="T34" fmla="*/ 8 w 66"/>
                <a:gd name="T35" fmla="*/ 1 h 54"/>
                <a:gd name="T36" fmla="*/ 66 w 66"/>
                <a:gd name="T37" fmla="*/ 46 h 54"/>
                <a:gd name="T38" fmla="*/ 66 w 66"/>
                <a:gd name="T39" fmla="*/ 47 h 54"/>
                <a:gd name="T40" fmla="*/ 66 w 66"/>
                <a:gd name="T41" fmla="*/ 51 h 54"/>
                <a:gd name="T42" fmla="*/ 66 w 66"/>
                <a:gd name="T43" fmla="*/ 52 h 54"/>
                <a:gd name="T44" fmla="*/ 64 w 66"/>
                <a:gd name="T45" fmla="*/ 52 h 54"/>
                <a:gd name="T46" fmla="*/ 64 w 66"/>
                <a:gd name="T47" fmla="*/ 51 h 54"/>
                <a:gd name="T48" fmla="*/ 59 w 66"/>
                <a:gd name="T49" fmla="*/ 47 h 54"/>
                <a:gd name="T50" fmla="*/ 59 w 66"/>
                <a:gd name="T51" fmla="*/ 46 h 54"/>
                <a:gd name="T52" fmla="*/ 56 w 66"/>
                <a:gd name="T53" fmla="*/ 46 h 54"/>
                <a:gd name="T54" fmla="*/ 49 w 66"/>
                <a:gd name="T55" fmla="*/ 40 h 54"/>
                <a:gd name="T56" fmla="*/ 54 w 66"/>
                <a:gd name="T57" fmla="*/ 42 h 54"/>
                <a:gd name="T58" fmla="*/ 57 w 66"/>
                <a:gd name="T59" fmla="*/ 42 h 54"/>
                <a:gd name="T60" fmla="*/ 61 w 66"/>
                <a:gd name="T61" fmla="*/ 40 h 54"/>
                <a:gd name="T62" fmla="*/ 61 w 66"/>
                <a:gd name="T63" fmla="*/ 39 h 54"/>
                <a:gd name="T64" fmla="*/ 61 w 66"/>
                <a:gd name="T65" fmla="*/ 37 h 54"/>
                <a:gd name="T66" fmla="*/ 63 w 66"/>
                <a:gd name="T67" fmla="*/ 35 h 54"/>
                <a:gd name="T68" fmla="*/ 64 w 66"/>
                <a:gd name="T69" fmla="*/ 37 h 54"/>
                <a:gd name="T70" fmla="*/ 64 w 66"/>
                <a:gd name="T71" fmla="*/ 39 h 54"/>
                <a:gd name="T72" fmla="*/ 66 w 66"/>
                <a:gd name="T73" fmla="*/ 46 h 54"/>
                <a:gd name="T74" fmla="*/ 25 w 66"/>
                <a:gd name="T75" fmla="*/ 46 h 54"/>
                <a:gd name="T76" fmla="*/ 32 w 66"/>
                <a:gd name="T77" fmla="*/ 51 h 54"/>
                <a:gd name="T78" fmla="*/ 32 w 66"/>
                <a:gd name="T79" fmla="*/ 52 h 54"/>
                <a:gd name="T80" fmla="*/ 29 w 66"/>
                <a:gd name="T81" fmla="*/ 51 h 54"/>
                <a:gd name="T82" fmla="*/ 27 w 66"/>
                <a:gd name="T83" fmla="*/ 52 h 54"/>
                <a:gd name="T84" fmla="*/ 27 w 66"/>
                <a:gd name="T85" fmla="*/ 51 h 54"/>
                <a:gd name="T86" fmla="*/ 22 w 66"/>
                <a:gd name="T87" fmla="*/ 51 h 54"/>
                <a:gd name="T88" fmla="*/ 22 w 66"/>
                <a:gd name="T89" fmla="*/ 49 h 54"/>
                <a:gd name="T90" fmla="*/ 20 w 66"/>
                <a:gd name="T91" fmla="*/ 49 h 54"/>
                <a:gd name="T92" fmla="*/ 20 w 66"/>
                <a:gd name="T93" fmla="*/ 46 h 54"/>
                <a:gd name="T94" fmla="*/ 22 w 66"/>
                <a:gd name="T95" fmla="*/ 46 h 54"/>
                <a:gd name="T96" fmla="*/ 25 w 66"/>
                <a:gd name="T97" fmla="*/ 46 h 54"/>
                <a:gd name="T98" fmla="*/ 22 w 66"/>
                <a:gd name="T99" fmla="*/ 52 h 54"/>
                <a:gd name="T100" fmla="*/ 22 w 66"/>
                <a:gd name="T101" fmla="*/ 54 h 54"/>
                <a:gd name="T102" fmla="*/ 22 w 66"/>
                <a:gd name="T103" fmla="*/ 52 h 54"/>
                <a:gd name="T104" fmla="*/ 23 w 66"/>
                <a:gd name="T105" fmla="*/ 52 h 54"/>
                <a:gd name="T106" fmla="*/ 25 w 66"/>
                <a:gd name="T107" fmla="*/ 52 h 54"/>
                <a:gd name="T108" fmla="*/ 25 w 66"/>
                <a:gd name="T109" fmla="*/ 54 h 54"/>
                <a:gd name="T110" fmla="*/ 23 w 66"/>
                <a:gd name="T111" fmla="*/ 54 h 54"/>
                <a:gd name="T112" fmla="*/ 23 w 66"/>
                <a:gd name="T113" fmla="*/ 52 h 54"/>
                <a:gd name="T114" fmla="*/ 25 w 66"/>
                <a:gd name="T115" fmla="*/ 52 h 54"/>
                <a:gd name="T116" fmla="*/ 25 w 66"/>
                <a:gd name="T117" fmla="*/ 54 h 54"/>
                <a:gd name="T118" fmla="*/ 25 w 66"/>
                <a:gd name="T11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54">
                  <a:moveTo>
                    <a:pt x="8" y="1"/>
                  </a:moveTo>
                  <a:lnTo>
                    <a:pt x="10" y="3"/>
                  </a:lnTo>
                  <a:lnTo>
                    <a:pt x="8" y="15"/>
                  </a:lnTo>
                  <a:lnTo>
                    <a:pt x="12" y="20"/>
                  </a:lnTo>
                  <a:lnTo>
                    <a:pt x="12" y="23"/>
                  </a:lnTo>
                  <a:lnTo>
                    <a:pt x="15" y="27"/>
                  </a:lnTo>
                  <a:lnTo>
                    <a:pt x="13" y="29"/>
                  </a:lnTo>
                  <a:lnTo>
                    <a:pt x="12" y="30"/>
                  </a:lnTo>
                  <a:lnTo>
                    <a:pt x="10" y="29"/>
                  </a:lnTo>
                  <a:lnTo>
                    <a:pt x="8" y="25"/>
                  </a:lnTo>
                  <a:lnTo>
                    <a:pt x="3" y="25"/>
                  </a:lnTo>
                  <a:lnTo>
                    <a:pt x="0" y="20"/>
                  </a:lnTo>
                  <a:lnTo>
                    <a:pt x="0" y="18"/>
                  </a:lnTo>
                  <a:lnTo>
                    <a:pt x="1" y="17"/>
                  </a:lnTo>
                  <a:lnTo>
                    <a:pt x="1" y="3"/>
                  </a:lnTo>
                  <a:lnTo>
                    <a:pt x="3" y="1"/>
                  </a:lnTo>
                  <a:lnTo>
                    <a:pt x="6" y="0"/>
                  </a:lnTo>
                  <a:lnTo>
                    <a:pt x="8" y="1"/>
                  </a:lnTo>
                  <a:close/>
                  <a:moveTo>
                    <a:pt x="66" y="46"/>
                  </a:moveTo>
                  <a:lnTo>
                    <a:pt x="66" y="47"/>
                  </a:lnTo>
                  <a:lnTo>
                    <a:pt x="66" y="51"/>
                  </a:lnTo>
                  <a:lnTo>
                    <a:pt x="66" y="52"/>
                  </a:lnTo>
                  <a:lnTo>
                    <a:pt x="64" y="52"/>
                  </a:lnTo>
                  <a:lnTo>
                    <a:pt x="64" y="51"/>
                  </a:lnTo>
                  <a:lnTo>
                    <a:pt x="59" y="47"/>
                  </a:lnTo>
                  <a:lnTo>
                    <a:pt x="59" y="46"/>
                  </a:lnTo>
                  <a:lnTo>
                    <a:pt x="56" y="46"/>
                  </a:lnTo>
                  <a:lnTo>
                    <a:pt x="49" y="40"/>
                  </a:lnTo>
                  <a:lnTo>
                    <a:pt x="54" y="42"/>
                  </a:lnTo>
                  <a:lnTo>
                    <a:pt x="57" y="42"/>
                  </a:lnTo>
                  <a:lnTo>
                    <a:pt x="61" y="40"/>
                  </a:lnTo>
                  <a:lnTo>
                    <a:pt x="61" y="39"/>
                  </a:lnTo>
                  <a:lnTo>
                    <a:pt x="61" y="37"/>
                  </a:lnTo>
                  <a:lnTo>
                    <a:pt x="63" y="35"/>
                  </a:lnTo>
                  <a:lnTo>
                    <a:pt x="64" y="37"/>
                  </a:lnTo>
                  <a:lnTo>
                    <a:pt x="64" y="39"/>
                  </a:lnTo>
                  <a:lnTo>
                    <a:pt x="66" y="46"/>
                  </a:lnTo>
                  <a:close/>
                  <a:moveTo>
                    <a:pt x="25" y="46"/>
                  </a:moveTo>
                  <a:lnTo>
                    <a:pt x="32" y="51"/>
                  </a:lnTo>
                  <a:lnTo>
                    <a:pt x="32" y="52"/>
                  </a:lnTo>
                  <a:lnTo>
                    <a:pt x="29" y="51"/>
                  </a:lnTo>
                  <a:lnTo>
                    <a:pt x="27" y="52"/>
                  </a:lnTo>
                  <a:lnTo>
                    <a:pt x="27" y="51"/>
                  </a:lnTo>
                  <a:lnTo>
                    <a:pt x="22" y="51"/>
                  </a:lnTo>
                  <a:lnTo>
                    <a:pt x="22" y="49"/>
                  </a:lnTo>
                  <a:lnTo>
                    <a:pt x="20" y="49"/>
                  </a:lnTo>
                  <a:lnTo>
                    <a:pt x="20" y="46"/>
                  </a:lnTo>
                  <a:lnTo>
                    <a:pt x="22" y="46"/>
                  </a:lnTo>
                  <a:lnTo>
                    <a:pt x="25" y="46"/>
                  </a:lnTo>
                  <a:close/>
                  <a:moveTo>
                    <a:pt x="22" y="52"/>
                  </a:moveTo>
                  <a:lnTo>
                    <a:pt x="22" y="54"/>
                  </a:lnTo>
                  <a:lnTo>
                    <a:pt x="22" y="52"/>
                  </a:lnTo>
                  <a:close/>
                  <a:moveTo>
                    <a:pt x="23" y="52"/>
                  </a:moveTo>
                  <a:lnTo>
                    <a:pt x="25" y="52"/>
                  </a:lnTo>
                  <a:lnTo>
                    <a:pt x="25" y="54"/>
                  </a:lnTo>
                  <a:lnTo>
                    <a:pt x="23" y="54"/>
                  </a:lnTo>
                  <a:lnTo>
                    <a:pt x="23" y="52"/>
                  </a:lnTo>
                  <a:close/>
                  <a:moveTo>
                    <a:pt x="25" y="52"/>
                  </a:moveTo>
                  <a:lnTo>
                    <a:pt x="25" y="54"/>
                  </a:lnTo>
                  <a:lnTo>
                    <a:pt x="25" y="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4" name="Freeform 21">
              <a:extLst>
                <a:ext uri="{FF2B5EF4-FFF2-40B4-BE49-F238E27FC236}">
                  <a16:creationId xmlns:a16="http://schemas.microsoft.com/office/drawing/2014/main" id="{23075109-4059-4597-96C0-E536858600A1}"/>
                </a:ext>
              </a:extLst>
            </p:cNvPr>
            <p:cNvSpPr>
              <a:spLocks/>
            </p:cNvSpPr>
            <p:nvPr/>
          </p:nvSpPr>
          <p:spPr bwMode="gray">
            <a:xfrm>
              <a:off x="10411237" y="2988677"/>
              <a:ext cx="217054" cy="248308"/>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5" name="Freeform 22">
              <a:extLst>
                <a:ext uri="{FF2B5EF4-FFF2-40B4-BE49-F238E27FC236}">
                  <a16:creationId xmlns:a16="http://schemas.microsoft.com/office/drawing/2014/main" id="{B2D8969B-3773-4B54-9C58-C556D05CE088}"/>
                </a:ext>
              </a:extLst>
            </p:cNvPr>
            <p:cNvSpPr>
              <a:spLocks noEditPoints="1"/>
            </p:cNvSpPr>
            <p:nvPr/>
          </p:nvSpPr>
          <p:spPr bwMode="gray">
            <a:xfrm>
              <a:off x="10442570" y="2941140"/>
              <a:ext cx="552037" cy="534646"/>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6" name="Freeform 23">
              <a:extLst>
                <a:ext uri="{FF2B5EF4-FFF2-40B4-BE49-F238E27FC236}">
                  <a16:creationId xmlns:a16="http://schemas.microsoft.com/office/drawing/2014/main" id="{61FC93B7-3A7B-4573-A985-1C5728D7B209}"/>
                </a:ext>
              </a:extLst>
            </p:cNvPr>
            <p:cNvSpPr>
              <a:spLocks noEditPoints="1"/>
            </p:cNvSpPr>
            <p:nvPr/>
          </p:nvSpPr>
          <p:spPr bwMode="gray">
            <a:xfrm>
              <a:off x="11295978" y="2733658"/>
              <a:ext cx="47285" cy="51451"/>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7" name="Freeform 24">
              <a:extLst>
                <a:ext uri="{FF2B5EF4-FFF2-40B4-BE49-F238E27FC236}">
                  <a16:creationId xmlns:a16="http://schemas.microsoft.com/office/drawing/2014/main" id="{CD70C43A-1A9B-4FA1-9A08-4E39DDBF1F4D}"/>
                </a:ext>
              </a:extLst>
            </p:cNvPr>
            <p:cNvSpPr>
              <a:spLocks noEditPoints="1"/>
            </p:cNvSpPr>
            <p:nvPr/>
          </p:nvSpPr>
          <p:spPr bwMode="gray">
            <a:xfrm>
              <a:off x="10802619" y="2196215"/>
              <a:ext cx="351504" cy="275152"/>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8" name="Freeform 25">
              <a:extLst>
                <a:ext uri="{FF2B5EF4-FFF2-40B4-BE49-F238E27FC236}">
                  <a16:creationId xmlns:a16="http://schemas.microsoft.com/office/drawing/2014/main" id="{CF58FDB9-E46A-4BEF-972F-F0B4AFD340D9}"/>
                </a:ext>
              </a:extLst>
            </p:cNvPr>
            <p:cNvSpPr>
              <a:spLocks noEditPoints="1"/>
            </p:cNvSpPr>
            <p:nvPr/>
          </p:nvSpPr>
          <p:spPr bwMode="gray">
            <a:xfrm>
              <a:off x="10251722" y="2986439"/>
              <a:ext cx="166351" cy="149880"/>
            </a:xfrm>
            <a:custGeom>
              <a:avLst/>
              <a:gdLst>
                <a:gd name="T0" fmla="*/ 216 w 292"/>
                <a:gd name="T1" fmla="*/ 79 h 268"/>
                <a:gd name="T2" fmla="*/ 218 w 292"/>
                <a:gd name="T3" fmla="*/ 80 h 268"/>
                <a:gd name="T4" fmla="*/ 224 w 292"/>
                <a:gd name="T5" fmla="*/ 82 h 268"/>
                <a:gd name="T6" fmla="*/ 229 w 292"/>
                <a:gd name="T7" fmla="*/ 84 h 268"/>
                <a:gd name="T8" fmla="*/ 233 w 292"/>
                <a:gd name="T9" fmla="*/ 84 h 268"/>
                <a:gd name="T10" fmla="*/ 243 w 292"/>
                <a:gd name="T11" fmla="*/ 82 h 268"/>
                <a:gd name="T12" fmla="*/ 292 w 292"/>
                <a:gd name="T13" fmla="*/ 82 h 268"/>
                <a:gd name="T14" fmla="*/ 291 w 292"/>
                <a:gd name="T15" fmla="*/ 104 h 268"/>
                <a:gd name="T16" fmla="*/ 291 w 292"/>
                <a:gd name="T17" fmla="*/ 142 h 268"/>
                <a:gd name="T18" fmla="*/ 262 w 292"/>
                <a:gd name="T19" fmla="*/ 142 h 268"/>
                <a:gd name="T20" fmla="*/ 223 w 292"/>
                <a:gd name="T21" fmla="*/ 142 h 268"/>
                <a:gd name="T22" fmla="*/ 223 w 292"/>
                <a:gd name="T23" fmla="*/ 145 h 268"/>
                <a:gd name="T24" fmla="*/ 218 w 292"/>
                <a:gd name="T25" fmla="*/ 145 h 268"/>
                <a:gd name="T26" fmla="*/ 216 w 292"/>
                <a:gd name="T27" fmla="*/ 142 h 268"/>
                <a:gd name="T28" fmla="*/ 212 w 292"/>
                <a:gd name="T29" fmla="*/ 138 h 268"/>
                <a:gd name="T30" fmla="*/ 211 w 292"/>
                <a:gd name="T31" fmla="*/ 137 h 268"/>
                <a:gd name="T32" fmla="*/ 207 w 292"/>
                <a:gd name="T33" fmla="*/ 135 h 268"/>
                <a:gd name="T34" fmla="*/ 207 w 292"/>
                <a:gd name="T35" fmla="*/ 137 h 268"/>
                <a:gd name="T36" fmla="*/ 202 w 292"/>
                <a:gd name="T37" fmla="*/ 140 h 268"/>
                <a:gd name="T38" fmla="*/ 197 w 292"/>
                <a:gd name="T39" fmla="*/ 135 h 268"/>
                <a:gd name="T40" fmla="*/ 192 w 292"/>
                <a:gd name="T41" fmla="*/ 137 h 268"/>
                <a:gd name="T42" fmla="*/ 192 w 292"/>
                <a:gd name="T43" fmla="*/ 133 h 268"/>
                <a:gd name="T44" fmla="*/ 194 w 292"/>
                <a:gd name="T45" fmla="*/ 128 h 268"/>
                <a:gd name="T46" fmla="*/ 196 w 292"/>
                <a:gd name="T47" fmla="*/ 121 h 268"/>
                <a:gd name="T48" fmla="*/ 202 w 292"/>
                <a:gd name="T49" fmla="*/ 113 h 268"/>
                <a:gd name="T50" fmla="*/ 204 w 292"/>
                <a:gd name="T51" fmla="*/ 111 h 268"/>
                <a:gd name="T52" fmla="*/ 209 w 292"/>
                <a:gd name="T53" fmla="*/ 103 h 268"/>
                <a:gd name="T54" fmla="*/ 214 w 292"/>
                <a:gd name="T55" fmla="*/ 96 h 268"/>
                <a:gd name="T56" fmla="*/ 211 w 292"/>
                <a:gd name="T57" fmla="*/ 87 h 268"/>
                <a:gd name="T58" fmla="*/ 212 w 292"/>
                <a:gd name="T59" fmla="*/ 75 h 268"/>
                <a:gd name="T60" fmla="*/ 158 w 292"/>
                <a:gd name="T61" fmla="*/ 0 h 268"/>
                <a:gd name="T62" fmla="*/ 165 w 292"/>
                <a:gd name="T63" fmla="*/ 2 h 268"/>
                <a:gd name="T64" fmla="*/ 168 w 292"/>
                <a:gd name="T65" fmla="*/ 2 h 268"/>
                <a:gd name="T66" fmla="*/ 168 w 292"/>
                <a:gd name="T67" fmla="*/ 9 h 268"/>
                <a:gd name="T68" fmla="*/ 163 w 292"/>
                <a:gd name="T69" fmla="*/ 17 h 268"/>
                <a:gd name="T70" fmla="*/ 162 w 292"/>
                <a:gd name="T71" fmla="*/ 21 h 268"/>
                <a:gd name="T72" fmla="*/ 156 w 292"/>
                <a:gd name="T73" fmla="*/ 29 h 268"/>
                <a:gd name="T74" fmla="*/ 150 w 292"/>
                <a:gd name="T75" fmla="*/ 28 h 268"/>
                <a:gd name="T76" fmla="*/ 143 w 292"/>
                <a:gd name="T77" fmla="*/ 23 h 268"/>
                <a:gd name="T78" fmla="*/ 146 w 292"/>
                <a:gd name="T79" fmla="*/ 16 h 268"/>
                <a:gd name="T80" fmla="*/ 151 w 292"/>
                <a:gd name="T81" fmla="*/ 16 h 268"/>
                <a:gd name="T82" fmla="*/ 153 w 292"/>
                <a:gd name="T83" fmla="*/ 12 h 268"/>
                <a:gd name="T84" fmla="*/ 156 w 292"/>
                <a:gd name="T85" fmla="*/ 0 h 268"/>
                <a:gd name="T86" fmla="*/ 0 w 292"/>
                <a:gd name="T87" fmla="*/ 264 h 268"/>
                <a:gd name="T88" fmla="*/ 3 w 292"/>
                <a:gd name="T89" fmla="*/ 268 h 268"/>
                <a:gd name="T90" fmla="*/ 0 w 292"/>
                <a:gd name="T91" fmla="*/ 264 h 268"/>
                <a:gd name="T92" fmla="*/ 190 w 292"/>
                <a:gd name="T93" fmla="*/ 145 h 268"/>
                <a:gd name="T94" fmla="*/ 189 w 292"/>
                <a:gd name="T95" fmla="*/ 147 h 268"/>
                <a:gd name="T96" fmla="*/ 211 w 292"/>
                <a:gd name="T97" fmla="*/ 138 h 268"/>
                <a:gd name="T98" fmla="*/ 212 w 292"/>
                <a:gd name="T99" fmla="*/ 140 h 268"/>
                <a:gd name="T100" fmla="*/ 211 w 292"/>
                <a:gd name="T101" fmla="*/ 138 h 268"/>
                <a:gd name="T102" fmla="*/ 199 w 292"/>
                <a:gd name="T103" fmla="*/ 142 h 268"/>
                <a:gd name="T104" fmla="*/ 197 w 292"/>
                <a:gd name="T105"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68">
                  <a:moveTo>
                    <a:pt x="214" y="74"/>
                  </a:moveTo>
                  <a:lnTo>
                    <a:pt x="216" y="79"/>
                  </a:lnTo>
                  <a:lnTo>
                    <a:pt x="218" y="79"/>
                  </a:lnTo>
                  <a:lnTo>
                    <a:pt x="218" y="80"/>
                  </a:lnTo>
                  <a:lnTo>
                    <a:pt x="219" y="80"/>
                  </a:lnTo>
                  <a:lnTo>
                    <a:pt x="224" y="82"/>
                  </a:lnTo>
                  <a:lnTo>
                    <a:pt x="226" y="82"/>
                  </a:lnTo>
                  <a:lnTo>
                    <a:pt x="229" y="84"/>
                  </a:lnTo>
                  <a:lnTo>
                    <a:pt x="231" y="82"/>
                  </a:lnTo>
                  <a:lnTo>
                    <a:pt x="233" y="84"/>
                  </a:lnTo>
                  <a:lnTo>
                    <a:pt x="233" y="82"/>
                  </a:lnTo>
                  <a:lnTo>
                    <a:pt x="243" y="82"/>
                  </a:lnTo>
                  <a:lnTo>
                    <a:pt x="282" y="82"/>
                  </a:lnTo>
                  <a:lnTo>
                    <a:pt x="292" y="82"/>
                  </a:lnTo>
                  <a:lnTo>
                    <a:pt x="291" y="86"/>
                  </a:lnTo>
                  <a:lnTo>
                    <a:pt x="291" y="104"/>
                  </a:lnTo>
                  <a:lnTo>
                    <a:pt x="291" y="118"/>
                  </a:lnTo>
                  <a:lnTo>
                    <a:pt x="291" y="142"/>
                  </a:lnTo>
                  <a:lnTo>
                    <a:pt x="272" y="142"/>
                  </a:lnTo>
                  <a:lnTo>
                    <a:pt x="262" y="142"/>
                  </a:lnTo>
                  <a:lnTo>
                    <a:pt x="245" y="142"/>
                  </a:lnTo>
                  <a:lnTo>
                    <a:pt x="223" y="142"/>
                  </a:lnTo>
                  <a:lnTo>
                    <a:pt x="223" y="143"/>
                  </a:lnTo>
                  <a:lnTo>
                    <a:pt x="223" y="145"/>
                  </a:lnTo>
                  <a:lnTo>
                    <a:pt x="221" y="145"/>
                  </a:lnTo>
                  <a:lnTo>
                    <a:pt x="218" y="145"/>
                  </a:lnTo>
                  <a:lnTo>
                    <a:pt x="218" y="142"/>
                  </a:lnTo>
                  <a:lnTo>
                    <a:pt x="216" y="142"/>
                  </a:lnTo>
                  <a:lnTo>
                    <a:pt x="212" y="142"/>
                  </a:lnTo>
                  <a:lnTo>
                    <a:pt x="212" y="138"/>
                  </a:lnTo>
                  <a:lnTo>
                    <a:pt x="214" y="138"/>
                  </a:lnTo>
                  <a:lnTo>
                    <a:pt x="211" y="137"/>
                  </a:lnTo>
                  <a:lnTo>
                    <a:pt x="207" y="138"/>
                  </a:lnTo>
                  <a:lnTo>
                    <a:pt x="207" y="135"/>
                  </a:lnTo>
                  <a:lnTo>
                    <a:pt x="209" y="135"/>
                  </a:lnTo>
                  <a:lnTo>
                    <a:pt x="207" y="137"/>
                  </a:lnTo>
                  <a:lnTo>
                    <a:pt x="206" y="138"/>
                  </a:lnTo>
                  <a:lnTo>
                    <a:pt x="202" y="140"/>
                  </a:lnTo>
                  <a:lnTo>
                    <a:pt x="199" y="135"/>
                  </a:lnTo>
                  <a:lnTo>
                    <a:pt x="197" y="135"/>
                  </a:lnTo>
                  <a:lnTo>
                    <a:pt x="194" y="137"/>
                  </a:lnTo>
                  <a:lnTo>
                    <a:pt x="192" y="137"/>
                  </a:lnTo>
                  <a:lnTo>
                    <a:pt x="190" y="133"/>
                  </a:lnTo>
                  <a:lnTo>
                    <a:pt x="192" y="133"/>
                  </a:lnTo>
                  <a:lnTo>
                    <a:pt x="192" y="128"/>
                  </a:lnTo>
                  <a:lnTo>
                    <a:pt x="194" y="128"/>
                  </a:lnTo>
                  <a:lnTo>
                    <a:pt x="196" y="125"/>
                  </a:lnTo>
                  <a:lnTo>
                    <a:pt x="196" y="121"/>
                  </a:lnTo>
                  <a:lnTo>
                    <a:pt x="201" y="118"/>
                  </a:lnTo>
                  <a:lnTo>
                    <a:pt x="202" y="113"/>
                  </a:lnTo>
                  <a:lnTo>
                    <a:pt x="204" y="113"/>
                  </a:lnTo>
                  <a:lnTo>
                    <a:pt x="204" y="111"/>
                  </a:lnTo>
                  <a:lnTo>
                    <a:pt x="204" y="108"/>
                  </a:lnTo>
                  <a:lnTo>
                    <a:pt x="209" y="103"/>
                  </a:lnTo>
                  <a:lnTo>
                    <a:pt x="211" y="99"/>
                  </a:lnTo>
                  <a:lnTo>
                    <a:pt x="214" y="96"/>
                  </a:lnTo>
                  <a:lnTo>
                    <a:pt x="214" y="94"/>
                  </a:lnTo>
                  <a:lnTo>
                    <a:pt x="211" y="87"/>
                  </a:lnTo>
                  <a:lnTo>
                    <a:pt x="212" y="82"/>
                  </a:lnTo>
                  <a:lnTo>
                    <a:pt x="212" y="75"/>
                  </a:lnTo>
                  <a:lnTo>
                    <a:pt x="214" y="74"/>
                  </a:lnTo>
                  <a:close/>
                  <a:moveTo>
                    <a:pt x="158" y="0"/>
                  </a:moveTo>
                  <a:lnTo>
                    <a:pt x="160" y="2"/>
                  </a:lnTo>
                  <a:lnTo>
                    <a:pt x="165" y="2"/>
                  </a:lnTo>
                  <a:lnTo>
                    <a:pt x="167" y="2"/>
                  </a:lnTo>
                  <a:lnTo>
                    <a:pt x="168" y="2"/>
                  </a:lnTo>
                  <a:lnTo>
                    <a:pt x="170" y="4"/>
                  </a:lnTo>
                  <a:lnTo>
                    <a:pt x="168" y="9"/>
                  </a:lnTo>
                  <a:lnTo>
                    <a:pt x="165" y="12"/>
                  </a:lnTo>
                  <a:lnTo>
                    <a:pt x="163" y="17"/>
                  </a:lnTo>
                  <a:lnTo>
                    <a:pt x="163" y="19"/>
                  </a:lnTo>
                  <a:lnTo>
                    <a:pt x="162" y="21"/>
                  </a:lnTo>
                  <a:lnTo>
                    <a:pt x="162" y="24"/>
                  </a:lnTo>
                  <a:lnTo>
                    <a:pt x="156" y="29"/>
                  </a:lnTo>
                  <a:lnTo>
                    <a:pt x="151" y="28"/>
                  </a:lnTo>
                  <a:lnTo>
                    <a:pt x="150" y="28"/>
                  </a:lnTo>
                  <a:lnTo>
                    <a:pt x="145" y="26"/>
                  </a:lnTo>
                  <a:lnTo>
                    <a:pt x="143" y="23"/>
                  </a:lnTo>
                  <a:lnTo>
                    <a:pt x="145" y="19"/>
                  </a:lnTo>
                  <a:lnTo>
                    <a:pt x="146" y="16"/>
                  </a:lnTo>
                  <a:lnTo>
                    <a:pt x="151" y="17"/>
                  </a:lnTo>
                  <a:lnTo>
                    <a:pt x="151" y="16"/>
                  </a:lnTo>
                  <a:lnTo>
                    <a:pt x="151" y="14"/>
                  </a:lnTo>
                  <a:lnTo>
                    <a:pt x="153" y="12"/>
                  </a:lnTo>
                  <a:lnTo>
                    <a:pt x="153" y="7"/>
                  </a:lnTo>
                  <a:lnTo>
                    <a:pt x="156" y="0"/>
                  </a:lnTo>
                  <a:lnTo>
                    <a:pt x="158" y="0"/>
                  </a:lnTo>
                  <a:close/>
                  <a:moveTo>
                    <a:pt x="0" y="264"/>
                  </a:moveTo>
                  <a:lnTo>
                    <a:pt x="3" y="264"/>
                  </a:lnTo>
                  <a:lnTo>
                    <a:pt x="3" y="268"/>
                  </a:lnTo>
                  <a:lnTo>
                    <a:pt x="0" y="268"/>
                  </a:lnTo>
                  <a:lnTo>
                    <a:pt x="0" y="264"/>
                  </a:lnTo>
                  <a:close/>
                  <a:moveTo>
                    <a:pt x="189" y="145"/>
                  </a:moveTo>
                  <a:lnTo>
                    <a:pt x="190" y="145"/>
                  </a:lnTo>
                  <a:lnTo>
                    <a:pt x="190" y="147"/>
                  </a:lnTo>
                  <a:lnTo>
                    <a:pt x="189" y="147"/>
                  </a:lnTo>
                  <a:lnTo>
                    <a:pt x="189" y="145"/>
                  </a:lnTo>
                  <a:close/>
                  <a:moveTo>
                    <a:pt x="211" y="138"/>
                  </a:moveTo>
                  <a:lnTo>
                    <a:pt x="212" y="138"/>
                  </a:lnTo>
                  <a:lnTo>
                    <a:pt x="212" y="140"/>
                  </a:lnTo>
                  <a:lnTo>
                    <a:pt x="211" y="140"/>
                  </a:lnTo>
                  <a:lnTo>
                    <a:pt x="211" y="138"/>
                  </a:lnTo>
                  <a:close/>
                  <a:moveTo>
                    <a:pt x="197" y="142"/>
                  </a:moveTo>
                  <a:lnTo>
                    <a:pt x="199" y="142"/>
                  </a:lnTo>
                  <a:lnTo>
                    <a:pt x="199" y="143"/>
                  </a:lnTo>
                  <a:lnTo>
                    <a:pt x="197" y="143"/>
                  </a:lnTo>
                  <a:lnTo>
                    <a:pt x="197" y="1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69" name="Freeform 26">
              <a:extLst>
                <a:ext uri="{FF2B5EF4-FFF2-40B4-BE49-F238E27FC236}">
                  <a16:creationId xmlns:a16="http://schemas.microsoft.com/office/drawing/2014/main" id="{98E1C85F-DFBD-4853-9B5A-B19125A866B2}"/>
                </a:ext>
              </a:extLst>
            </p:cNvPr>
            <p:cNvSpPr>
              <a:spLocks noEditPoints="1"/>
            </p:cNvSpPr>
            <p:nvPr/>
          </p:nvSpPr>
          <p:spPr bwMode="gray">
            <a:xfrm>
              <a:off x="11141589" y="2584336"/>
              <a:ext cx="193127" cy="159947"/>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0" name="Freeform 27">
              <a:extLst>
                <a:ext uri="{FF2B5EF4-FFF2-40B4-BE49-F238E27FC236}">
                  <a16:creationId xmlns:a16="http://schemas.microsoft.com/office/drawing/2014/main" id="{A7A1DB2E-ED23-4D34-A41E-15870E0BB01B}"/>
                </a:ext>
              </a:extLst>
            </p:cNvPr>
            <p:cNvSpPr>
              <a:spLocks/>
            </p:cNvSpPr>
            <p:nvPr/>
          </p:nvSpPr>
          <p:spPr bwMode="gray">
            <a:xfrm>
              <a:off x="11041893" y="2671580"/>
              <a:ext cx="432970" cy="326604"/>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1" name="Freeform 28">
              <a:extLst>
                <a:ext uri="{FF2B5EF4-FFF2-40B4-BE49-F238E27FC236}">
                  <a16:creationId xmlns:a16="http://schemas.microsoft.com/office/drawing/2014/main" id="{100A3247-7CA8-44F0-A35D-A22B6A68AE4E}"/>
                </a:ext>
              </a:extLst>
            </p:cNvPr>
            <p:cNvSpPr>
              <a:spLocks noEditPoints="1"/>
            </p:cNvSpPr>
            <p:nvPr/>
          </p:nvSpPr>
          <p:spPr bwMode="gray">
            <a:xfrm>
              <a:off x="10341734" y="3028384"/>
              <a:ext cx="167491" cy="177843"/>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2" name="Freeform 29">
              <a:extLst>
                <a:ext uri="{FF2B5EF4-FFF2-40B4-BE49-F238E27FC236}">
                  <a16:creationId xmlns:a16="http://schemas.microsoft.com/office/drawing/2014/main" id="{A2441678-D027-4668-A0A3-2CCFCB024E2B}"/>
                </a:ext>
              </a:extLst>
            </p:cNvPr>
            <p:cNvSpPr>
              <a:spLocks/>
            </p:cNvSpPr>
            <p:nvPr/>
          </p:nvSpPr>
          <p:spPr bwMode="gray">
            <a:xfrm>
              <a:off x="9605685" y="2702339"/>
              <a:ext cx="87164" cy="21811"/>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3" name="Freeform 30">
              <a:extLst>
                <a:ext uri="{FF2B5EF4-FFF2-40B4-BE49-F238E27FC236}">
                  <a16:creationId xmlns:a16="http://schemas.microsoft.com/office/drawing/2014/main" id="{4EABA820-1696-41AC-A3E5-645A70F9DFDC}"/>
                </a:ext>
              </a:extLst>
            </p:cNvPr>
            <p:cNvSpPr>
              <a:spLocks/>
            </p:cNvSpPr>
            <p:nvPr/>
          </p:nvSpPr>
          <p:spPr bwMode="gray">
            <a:xfrm>
              <a:off x="9995927" y="2777279"/>
              <a:ext cx="128752" cy="182876"/>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4" name="Freeform 31">
              <a:extLst>
                <a:ext uri="{FF2B5EF4-FFF2-40B4-BE49-F238E27FC236}">
                  <a16:creationId xmlns:a16="http://schemas.microsoft.com/office/drawing/2014/main" id="{271869B2-1313-48A4-81BE-93D7B0DECBA3}"/>
                </a:ext>
              </a:extLst>
            </p:cNvPr>
            <p:cNvSpPr>
              <a:spLocks noEditPoints="1"/>
            </p:cNvSpPr>
            <p:nvPr/>
          </p:nvSpPr>
          <p:spPr bwMode="gray">
            <a:xfrm>
              <a:off x="9655248" y="2734776"/>
              <a:ext cx="214775" cy="156031"/>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5" name="Freeform 32">
              <a:extLst>
                <a:ext uri="{FF2B5EF4-FFF2-40B4-BE49-F238E27FC236}">
                  <a16:creationId xmlns:a16="http://schemas.microsoft.com/office/drawing/2014/main" id="{777EA259-5538-4411-A8D2-78D3A86C09C0}"/>
                </a:ext>
              </a:extLst>
            </p:cNvPr>
            <p:cNvSpPr>
              <a:spLocks noEditPoints="1"/>
            </p:cNvSpPr>
            <p:nvPr/>
          </p:nvSpPr>
          <p:spPr bwMode="gray">
            <a:xfrm>
              <a:off x="9607964" y="2734776"/>
              <a:ext cx="88873" cy="50333"/>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6" name="Freeform 33">
              <a:extLst>
                <a:ext uri="{FF2B5EF4-FFF2-40B4-BE49-F238E27FC236}">
                  <a16:creationId xmlns:a16="http://schemas.microsoft.com/office/drawing/2014/main" id="{9CEABED1-EACF-44F3-93AA-BD9AB9B9FBB9}"/>
                </a:ext>
              </a:extLst>
            </p:cNvPr>
            <p:cNvSpPr>
              <a:spLocks/>
            </p:cNvSpPr>
            <p:nvPr/>
          </p:nvSpPr>
          <p:spPr bwMode="gray">
            <a:xfrm>
              <a:off x="9842110" y="2789582"/>
              <a:ext cx="176036" cy="181198"/>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7" name="Freeform 34">
              <a:extLst>
                <a:ext uri="{FF2B5EF4-FFF2-40B4-BE49-F238E27FC236}">
                  <a16:creationId xmlns:a16="http://schemas.microsoft.com/office/drawing/2014/main" id="{71198D3A-8DA1-4717-A152-B114D59D5B2F}"/>
                </a:ext>
              </a:extLst>
            </p:cNvPr>
            <p:cNvSpPr>
              <a:spLocks noEditPoints="1"/>
            </p:cNvSpPr>
            <p:nvPr/>
          </p:nvSpPr>
          <p:spPr bwMode="gray">
            <a:xfrm>
              <a:off x="11069238" y="2938344"/>
              <a:ext cx="230158" cy="288015"/>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8" name="Freeform 35">
              <a:extLst>
                <a:ext uri="{FF2B5EF4-FFF2-40B4-BE49-F238E27FC236}">
                  <a16:creationId xmlns:a16="http://schemas.microsoft.com/office/drawing/2014/main" id="{21683550-2CDF-4048-8D92-F5925EAB33F8}"/>
                </a:ext>
              </a:extLst>
            </p:cNvPr>
            <p:cNvSpPr>
              <a:spLocks/>
            </p:cNvSpPr>
            <p:nvPr/>
          </p:nvSpPr>
          <p:spPr bwMode="gray">
            <a:xfrm>
              <a:off x="10869844" y="3903614"/>
              <a:ext cx="70643" cy="59840"/>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79" name="Freeform 36">
              <a:extLst>
                <a:ext uri="{FF2B5EF4-FFF2-40B4-BE49-F238E27FC236}">
                  <a16:creationId xmlns:a16="http://schemas.microsoft.com/office/drawing/2014/main" id="{425DF4FD-F40F-4084-98C2-72E0523353A1}"/>
                </a:ext>
              </a:extLst>
            </p:cNvPr>
            <p:cNvSpPr>
              <a:spLocks/>
            </p:cNvSpPr>
            <p:nvPr/>
          </p:nvSpPr>
          <p:spPr bwMode="gray">
            <a:xfrm>
              <a:off x="9758933" y="2851660"/>
              <a:ext cx="119066" cy="119121"/>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0" name="Freeform 37">
              <a:extLst>
                <a:ext uri="{FF2B5EF4-FFF2-40B4-BE49-F238E27FC236}">
                  <a16:creationId xmlns:a16="http://schemas.microsoft.com/office/drawing/2014/main" id="{141113C9-0C4A-4BF7-9CE7-945C71287A29}"/>
                </a:ext>
              </a:extLst>
            </p:cNvPr>
            <p:cNvSpPr>
              <a:spLocks/>
            </p:cNvSpPr>
            <p:nvPr/>
          </p:nvSpPr>
          <p:spPr bwMode="gray">
            <a:xfrm>
              <a:off x="10361103" y="2154271"/>
              <a:ext cx="454049" cy="387003"/>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1" name="Freeform 38">
              <a:extLst>
                <a:ext uri="{FF2B5EF4-FFF2-40B4-BE49-F238E27FC236}">
                  <a16:creationId xmlns:a16="http://schemas.microsoft.com/office/drawing/2014/main" id="{657550A0-BA7D-4A56-B9E5-7775155D18F0}"/>
                </a:ext>
              </a:extLst>
            </p:cNvPr>
            <p:cNvSpPr>
              <a:spLocks noEditPoints="1"/>
            </p:cNvSpPr>
            <p:nvPr/>
          </p:nvSpPr>
          <p:spPr bwMode="gray">
            <a:xfrm>
              <a:off x="11337565" y="3432723"/>
              <a:ext cx="209079" cy="387563"/>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2" name="Freeform 39">
              <a:extLst>
                <a:ext uri="{FF2B5EF4-FFF2-40B4-BE49-F238E27FC236}">
                  <a16:creationId xmlns:a16="http://schemas.microsoft.com/office/drawing/2014/main" id="{415D3FE6-D7B7-457E-AA34-B3D8B54674D8}"/>
                </a:ext>
              </a:extLst>
            </p:cNvPr>
            <p:cNvSpPr>
              <a:spLocks noEditPoints="1"/>
            </p:cNvSpPr>
            <p:nvPr/>
          </p:nvSpPr>
          <p:spPr bwMode="gray">
            <a:xfrm>
              <a:off x="11033347" y="3359462"/>
              <a:ext cx="92861" cy="219787"/>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3" name="Freeform 40">
              <a:extLst>
                <a:ext uri="{FF2B5EF4-FFF2-40B4-BE49-F238E27FC236}">
                  <a16:creationId xmlns:a16="http://schemas.microsoft.com/office/drawing/2014/main" id="{AEB5D7AF-B9A7-409D-A1A8-7120C7AB6FFB}"/>
                </a:ext>
              </a:extLst>
            </p:cNvPr>
            <p:cNvSpPr>
              <a:spLocks/>
            </p:cNvSpPr>
            <p:nvPr/>
          </p:nvSpPr>
          <p:spPr bwMode="gray">
            <a:xfrm>
              <a:off x="9737285" y="2385242"/>
              <a:ext cx="475697" cy="420558"/>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4" name="Freeform 41">
              <a:extLst>
                <a:ext uri="{FF2B5EF4-FFF2-40B4-BE49-F238E27FC236}">
                  <a16:creationId xmlns:a16="http://schemas.microsoft.com/office/drawing/2014/main" id="{E65D2AC2-27E9-477C-92BC-A07F705A65E1}"/>
                </a:ext>
              </a:extLst>
            </p:cNvPr>
            <p:cNvSpPr>
              <a:spLocks noEditPoints="1"/>
            </p:cNvSpPr>
            <p:nvPr/>
          </p:nvSpPr>
          <p:spPr bwMode="gray">
            <a:xfrm>
              <a:off x="9598278" y="2319810"/>
              <a:ext cx="353212" cy="356803"/>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5" name="Freeform 42">
              <a:extLst>
                <a:ext uri="{FF2B5EF4-FFF2-40B4-BE49-F238E27FC236}">
                  <a16:creationId xmlns:a16="http://schemas.microsoft.com/office/drawing/2014/main" id="{8D148478-EECA-476A-A7B2-A680CC2DAEEE}"/>
                </a:ext>
              </a:extLst>
            </p:cNvPr>
            <p:cNvSpPr>
              <a:spLocks/>
            </p:cNvSpPr>
            <p:nvPr/>
          </p:nvSpPr>
          <p:spPr bwMode="gray">
            <a:xfrm>
              <a:off x="9710509" y="2076535"/>
              <a:ext cx="350365" cy="233768"/>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6" name="Freeform 43">
              <a:extLst>
                <a:ext uri="{FF2B5EF4-FFF2-40B4-BE49-F238E27FC236}">
                  <a16:creationId xmlns:a16="http://schemas.microsoft.com/office/drawing/2014/main" id="{AB21B96F-D59F-489C-A705-B05B27138D90}"/>
                </a:ext>
              </a:extLst>
            </p:cNvPr>
            <p:cNvSpPr>
              <a:spLocks noEditPoints="1"/>
            </p:cNvSpPr>
            <p:nvPr/>
          </p:nvSpPr>
          <p:spPr bwMode="gray">
            <a:xfrm>
              <a:off x="10962704" y="3390779"/>
              <a:ext cx="305927" cy="464740"/>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7" name="Freeform 44">
              <a:extLst>
                <a:ext uri="{FF2B5EF4-FFF2-40B4-BE49-F238E27FC236}">
                  <a16:creationId xmlns:a16="http://schemas.microsoft.com/office/drawing/2014/main" id="{0379C9E0-47ED-468D-9834-42F61D4B9DF7}"/>
                </a:ext>
              </a:extLst>
            </p:cNvPr>
            <p:cNvSpPr>
              <a:spLocks noEditPoints="1"/>
            </p:cNvSpPr>
            <p:nvPr/>
          </p:nvSpPr>
          <p:spPr bwMode="gray">
            <a:xfrm>
              <a:off x="10428898" y="3574774"/>
              <a:ext cx="390242" cy="340585"/>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8" name="Freeform 45">
              <a:extLst>
                <a:ext uri="{FF2B5EF4-FFF2-40B4-BE49-F238E27FC236}">
                  <a16:creationId xmlns:a16="http://schemas.microsoft.com/office/drawing/2014/main" id="{3473E80D-5659-4271-A490-A42EC2239675}"/>
                </a:ext>
              </a:extLst>
            </p:cNvPr>
            <p:cNvSpPr>
              <a:spLocks/>
            </p:cNvSpPr>
            <p:nvPr/>
          </p:nvSpPr>
          <p:spPr bwMode="gray">
            <a:xfrm>
              <a:off x="10095055" y="2427187"/>
              <a:ext cx="456897" cy="334993"/>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89" name="Freeform 46">
              <a:extLst>
                <a:ext uri="{FF2B5EF4-FFF2-40B4-BE49-F238E27FC236}">
                  <a16:creationId xmlns:a16="http://schemas.microsoft.com/office/drawing/2014/main" id="{2935DD9D-37BE-4641-9BDB-1C1A813D33AB}"/>
                </a:ext>
              </a:extLst>
            </p:cNvPr>
            <p:cNvSpPr>
              <a:spLocks noEditPoints="1"/>
            </p:cNvSpPr>
            <p:nvPr/>
          </p:nvSpPr>
          <p:spPr bwMode="gray">
            <a:xfrm>
              <a:off x="10167406" y="2701220"/>
              <a:ext cx="346946" cy="272356"/>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0" name="Freeform 47">
              <a:extLst>
                <a:ext uri="{FF2B5EF4-FFF2-40B4-BE49-F238E27FC236}">
                  <a16:creationId xmlns:a16="http://schemas.microsoft.com/office/drawing/2014/main" id="{6B07220D-932E-4F34-B31A-FA2142B527C7}"/>
                </a:ext>
              </a:extLst>
            </p:cNvPr>
            <p:cNvSpPr>
              <a:spLocks/>
            </p:cNvSpPr>
            <p:nvPr/>
          </p:nvSpPr>
          <p:spPr bwMode="gray">
            <a:xfrm>
              <a:off x="10922826" y="3123456"/>
              <a:ext cx="59249" cy="50893"/>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1" name="Freeform 48">
              <a:extLst>
                <a:ext uri="{FF2B5EF4-FFF2-40B4-BE49-F238E27FC236}">
                  <a16:creationId xmlns:a16="http://schemas.microsoft.com/office/drawing/2014/main" id="{EE6206D0-352D-4098-8ACB-7253F994AE9A}"/>
                </a:ext>
              </a:extLst>
            </p:cNvPr>
            <p:cNvSpPr>
              <a:spLocks noEditPoints="1"/>
            </p:cNvSpPr>
            <p:nvPr/>
          </p:nvSpPr>
          <p:spPr bwMode="gray">
            <a:xfrm>
              <a:off x="11388838" y="3451739"/>
              <a:ext cx="8545" cy="10626"/>
            </a:xfrm>
            <a:custGeom>
              <a:avLst/>
              <a:gdLst>
                <a:gd name="T0" fmla="*/ 5 w 15"/>
                <a:gd name="T1" fmla="*/ 2 h 19"/>
                <a:gd name="T2" fmla="*/ 7 w 15"/>
                <a:gd name="T3" fmla="*/ 4 h 19"/>
                <a:gd name="T4" fmla="*/ 7 w 15"/>
                <a:gd name="T5" fmla="*/ 5 h 19"/>
                <a:gd name="T6" fmla="*/ 8 w 15"/>
                <a:gd name="T7" fmla="*/ 5 h 19"/>
                <a:gd name="T8" fmla="*/ 10 w 15"/>
                <a:gd name="T9" fmla="*/ 5 h 19"/>
                <a:gd name="T10" fmla="*/ 12 w 15"/>
                <a:gd name="T11" fmla="*/ 7 h 19"/>
                <a:gd name="T12" fmla="*/ 12 w 15"/>
                <a:gd name="T13" fmla="*/ 9 h 19"/>
                <a:gd name="T14" fmla="*/ 10 w 15"/>
                <a:gd name="T15" fmla="*/ 11 h 19"/>
                <a:gd name="T16" fmla="*/ 10 w 15"/>
                <a:gd name="T17" fmla="*/ 12 h 19"/>
                <a:gd name="T18" fmla="*/ 12 w 15"/>
                <a:gd name="T19" fmla="*/ 12 h 19"/>
                <a:gd name="T20" fmla="*/ 10 w 15"/>
                <a:gd name="T21" fmla="*/ 14 h 19"/>
                <a:gd name="T22" fmla="*/ 10 w 15"/>
                <a:gd name="T23" fmla="*/ 16 h 19"/>
                <a:gd name="T24" fmla="*/ 8 w 15"/>
                <a:gd name="T25" fmla="*/ 16 h 19"/>
                <a:gd name="T26" fmla="*/ 8 w 15"/>
                <a:gd name="T27" fmla="*/ 17 h 19"/>
                <a:gd name="T28" fmla="*/ 10 w 15"/>
                <a:gd name="T29" fmla="*/ 17 h 19"/>
                <a:gd name="T30" fmla="*/ 8 w 15"/>
                <a:gd name="T31" fmla="*/ 19 h 19"/>
                <a:gd name="T32" fmla="*/ 8 w 15"/>
                <a:gd name="T33" fmla="*/ 17 h 19"/>
                <a:gd name="T34" fmla="*/ 7 w 15"/>
                <a:gd name="T35" fmla="*/ 19 h 19"/>
                <a:gd name="T36" fmla="*/ 5 w 15"/>
                <a:gd name="T37" fmla="*/ 19 h 19"/>
                <a:gd name="T38" fmla="*/ 5 w 15"/>
                <a:gd name="T39" fmla="*/ 17 h 19"/>
                <a:gd name="T40" fmla="*/ 3 w 15"/>
                <a:gd name="T41" fmla="*/ 17 h 19"/>
                <a:gd name="T42" fmla="*/ 5 w 15"/>
                <a:gd name="T43" fmla="*/ 16 h 19"/>
                <a:gd name="T44" fmla="*/ 3 w 15"/>
                <a:gd name="T45" fmla="*/ 14 h 19"/>
                <a:gd name="T46" fmla="*/ 5 w 15"/>
                <a:gd name="T47" fmla="*/ 14 h 19"/>
                <a:gd name="T48" fmla="*/ 5 w 15"/>
                <a:gd name="T49" fmla="*/ 16 h 19"/>
                <a:gd name="T50" fmla="*/ 7 w 15"/>
                <a:gd name="T51" fmla="*/ 16 h 19"/>
                <a:gd name="T52" fmla="*/ 7 w 15"/>
                <a:gd name="T53" fmla="*/ 14 h 19"/>
                <a:gd name="T54" fmla="*/ 5 w 15"/>
                <a:gd name="T55" fmla="*/ 12 h 19"/>
                <a:gd name="T56" fmla="*/ 5 w 15"/>
                <a:gd name="T57" fmla="*/ 11 h 19"/>
                <a:gd name="T58" fmla="*/ 5 w 15"/>
                <a:gd name="T59" fmla="*/ 7 h 19"/>
                <a:gd name="T60" fmla="*/ 1 w 15"/>
                <a:gd name="T61" fmla="*/ 7 h 19"/>
                <a:gd name="T62" fmla="*/ 3 w 15"/>
                <a:gd name="T63" fmla="*/ 5 h 19"/>
                <a:gd name="T64" fmla="*/ 1 w 15"/>
                <a:gd name="T65" fmla="*/ 5 h 19"/>
                <a:gd name="T66" fmla="*/ 1 w 15"/>
                <a:gd name="T67" fmla="*/ 4 h 19"/>
                <a:gd name="T68" fmla="*/ 3 w 15"/>
                <a:gd name="T69" fmla="*/ 4 h 19"/>
                <a:gd name="T70" fmla="*/ 5 w 15"/>
                <a:gd name="T71" fmla="*/ 2 h 19"/>
                <a:gd name="T72" fmla="*/ 12 w 15"/>
                <a:gd name="T73" fmla="*/ 7 h 19"/>
                <a:gd name="T74" fmla="*/ 15 w 15"/>
                <a:gd name="T75" fmla="*/ 7 h 19"/>
                <a:gd name="T76" fmla="*/ 15 w 15"/>
                <a:gd name="T77" fmla="*/ 11 h 19"/>
                <a:gd name="T78" fmla="*/ 12 w 15"/>
                <a:gd name="T79" fmla="*/ 11 h 19"/>
                <a:gd name="T80" fmla="*/ 12 w 15"/>
                <a:gd name="T81" fmla="*/ 7 h 19"/>
                <a:gd name="T82" fmla="*/ 0 w 15"/>
                <a:gd name="T83" fmla="*/ 0 h 19"/>
                <a:gd name="T84" fmla="*/ 1 w 15"/>
                <a:gd name="T85" fmla="*/ 0 h 19"/>
                <a:gd name="T86" fmla="*/ 1 w 15"/>
                <a:gd name="T87" fmla="*/ 2 h 19"/>
                <a:gd name="T88" fmla="*/ 0 w 15"/>
                <a:gd name="T89" fmla="*/ 2 h 19"/>
                <a:gd name="T90" fmla="*/ 0 w 15"/>
                <a:gd name="T9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19">
                  <a:moveTo>
                    <a:pt x="5" y="2"/>
                  </a:moveTo>
                  <a:lnTo>
                    <a:pt x="7" y="4"/>
                  </a:lnTo>
                  <a:lnTo>
                    <a:pt x="7" y="5"/>
                  </a:lnTo>
                  <a:lnTo>
                    <a:pt x="8" y="5"/>
                  </a:lnTo>
                  <a:lnTo>
                    <a:pt x="10" y="5"/>
                  </a:lnTo>
                  <a:lnTo>
                    <a:pt x="12" y="7"/>
                  </a:lnTo>
                  <a:lnTo>
                    <a:pt x="12" y="9"/>
                  </a:lnTo>
                  <a:lnTo>
                    <a:pt x="10" y="11"/>
                  </a:lnTo>
                  <a:lnTo>
                    <a:pt x="10" y="12"/>
                  </a:lnTo>
                  <a:lnTo>
                    <a:pt x="12" y="12"/>
                  </a:lnTo>
                  <a:lnTo>
                    <a:pt x="10" y="14"/>
                  </a:lnTo>
                  <a:lnTo>
                    <a:pt x="10" y="16"/>
                  </a:lnTo>
                  <a:lnTo>
                    <a:pt x="8" y="16"/>
                  </a:lnTo>
                  <a:lnTo>
                    <a:pt x="8" y="17"/>
                  </a:lnTo>
                  <a:lnTo>
                    <a:pt x="10" y="17"/>
                  </a:lnTo>
                  <a:lnTo>
                    <a:pt x="8" y="19"/>
                  </a:lnTo>
                  <a:lnTo>
                    <a:pt x="8" y="17"/>
                  </a:lnTo>
                  <a:lnTo>
                    <a:pt x="7" y="19"/>
                  </a:lnTo>
                  <a:lnTo>
                    <a:pt x="5" y="19"/>
                  </a:lnTo>
                  <a:lnTo>
                    <a:pt x="5" y="17"/>
                  </a:lnTo>
                  <a:lnTo>
                    <a:pt x="3" y="17"/>
                  </a:lnTo>
                  <a:lnTo>
                    <a:pt x="5" y="16"/>
                  </a:lnTo>
                  <a:lnTo>
                    <a:pt x="3" y="14"/>
                  </a:lnTo>
                  <a:lnTo>
                    <a:pt x="5" y="14"/>
                  </a:lnTo>
                  <a:lnTo>
                    <a:pt x="5" y="16"/>
                  </a:lnTo>
                  <a:lnTo>
                    <a:pt x="7" y="16"/>
                  </a:lnTo>
                  <a:lnTo>
                    <a:pt x="7" y="14"/>
                  </a:lnTo>
                  <a:lnTo>
                    <a:pt x="5" y="12"/>
                  </a:lnTo>
                  <a:lnTo>
                    <a:pt x="5" y="11"/>
                  </a:lnTo>
                  <a:lnTo>
                    <a:pt x="5" y="7"/>
                  </a:lnTo>
                  <a:lnTo>
                    <a:pt x="1" y="7"/>
                  </a:lnTo>
                  <a:lnTo>
                    <a:pt x="3" y="5"/>
                  </a:lnTo>
                  <a:lnTo>
                    <a:pt x="1" y="5"/>
                  </a:lnTo>
                  <a:lnTo>
                    <a:pt x="1" y="4"/>
                  </a:lnTo>
                  <a:lnTo>
                    <a:pt x="3" y="4"/>
                  </a:lnTo>
                  <a:lnTo>
                    <a:pt x="5" y="2"/>
                  </a:lnTo>
                  <a:close/>
                  <a:moveTo>
                    <a:pt x="12" y="7"/>
                  </a:moveTo>
                  <a:lnTo>
                    <a:pt x="15" y="7"/>
                  </a:lnTo>
                  <a:lnTo>
                    <a:pt x="15" y="11"/>
                  </a:lnTo>
                  <a:lnTo>
                    <a:pt x="12" y="11"/>
                  </a:lnTo>
                  <a:lnTo>
                    <a:pt x="12" y="7"/>
                  </a:lnTo>
                  <a:close/>
                  <a:moveTo>
                    <a:pt x="0" y="0"/>
                  </a:moveTo>
                  <a:lnTo>
                    <a:pt x="1" y="0"/>
                  </a:lnTo>
                  <a:lnTo>
                    <a:pt x="1" y="2"/>
                  </a:lnTo>
                  <a:lnTo>
                    <a:pt x="0" y="2"/>
                  </a:lnTo>
                  <a:lnTo>
                    <a:pt x="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2" name="Freeform 49">
              <a:extLst>
                <a:ext uri="{FF2B5EF4-FFF2-40B4-BE49-F238E27FC236}">
                  <a16:creationId xmlns:a16="http://schemas.microsoft.com/office/drawing/2014/main" id="{8CF28436-0592-4391-A9C8-466CA873764D}"/>
                </a:ext>
              </a:extLst>
            </p:cNvPr>
            <p:cNvSpPr>
              <a:spLocks noEditPoints="1"/>
            </p:cNvSpPr>
            <p:nvPr/>
          </p:nvSpPr>
          <p:spPr bwMode="gray">
            <a:xfrm>
              <a:off x="10276788" y="3045720"/>
              <a:ext cx="29055" cy="48655"/>
            </a:xfrm>
            <a:custGeom>
              <a:avLst/>
              <a:gdLst>
                <a:gd name="T0" fmla="*/ 12 w 51"/>
                <a:gd name="T1" fmla="*/ 66 h 87"/>
                <a:gd name="T2" fmla="*/ 14 w 51"/>
                <a:gd name="T3" fmla="*/ 68 h 87"/>
                <a:gd name="T4" fmla="*/ 12 w 51"/>
                <a:gd name="T5" fmla="*/ 68 h 87"/>
                <a:gd name="T6" fmla="*/ 14 w 51"/>
                <a:gd name="T7" fmla="*/ 70 h 87"/>
                <a:gd name="T8" fmla="*/ 16 w 51"/>
                <a:gd name="T9" fmla="*/ 71 h 87"/>
                <a:gd name="T10" fmla="*/ 14 w 51"/>
                <a:gd name="T11" fmla="*/ 73 h 87"/>
                <a:gd name="T12" fmla="*/ 14 w 51"/>
                <a:gd name="T13" fmla="*/ 75 h 87"/>
                <a:gd name="T14" fmla="*/ 9 w 51"/>
                <a:gd name="T15" fmla="*/ 80 h 87"/>
                <a:gd name="T16" fmla="*/ 10 w 51"/>
                <a:gd name="T17" fmla="*/ 82 h 87"/>
                <a:gd name="T18" fmla="*/ 7 w 51"/>
                <a:gd name="T19" fmla="*/ 83 h 87"/>
                <a:gd name="T20" fmla="*/ 5 w 51"/>
                <a:gd name="T21" fmla="*/ 82 h 87"/>
                <a:gd name="T22" fmla="*/ 5 w 51"/>
                <a:gd name="T23" fmla="*/ 85 h 87"/>
                <a:gd name="T24" fmla="*/ 4 w 51"/>
                <a:gd name="T25" fmla="*/ 83 h 87"/>
                <a:gd name="T26" fmla="*/ 4 w 51"/>
                <a:gd name="T27" fmla="*/ 85 h 87"/>
                <a:gd name="T28" fmla="*/ 2 w 51"/>
                <a:gd name="T29" fmla="*/ 83 h 87"/>
                <a:gd name="T30" fmla="*/ 4 w 51"/>
                <a:gd name="T31" fmla="*/ 82 h 87"/>
                <a:gd name="T32" fmla="*/ 2 w 51"/>
                <a:gd name="T33" fmla="*/ 82 h 87"/>
                <a:gd name="T34" fmla="*/ 0 w 51"/>
                <a:gd name="T35" fmla="*/ 76 h 87"/>
                <a:gd name="T36" fmla="*/ 0 w 51"/>
                <a:gd name="T37" fmla="*/ 73 h 87"/>
                <a:gd name="T38" fmla="*/ 2 w 51"/>
                <a:gd name="T39" fmla="*/ 70 h 87"/>
                <a:gd name="T40" fmla="*/ 4 w 51"/>
                <a:gd name="T41" fmla="*/ 68 h 87"/>
                <a:gd name="T42" fmla="*/ 5 w 51"/>
                <a:gd name="T43" fmla="*/ 68 h 87"/>
                <a:gd name="T44" fmla="*/ 7 w 51"/>
                <a:gd name="T45" fmla="*/ 66 h 87"/>
                <a:gd name="T46" fmla="*/ 12 w 51"/>
                <a:gd name="T47" fmla="*/ 66 h 87"/>
                <a:gd name="T48" fmla="*/ 51 w 51"/>
                <a:gd name="T49" fmla="*/ 2 h 87"/>
                <a:gd name="T50" fmla="*/ 50 w 51"/>
                <a:gd name="T51" fmla="*/ 3 h 87"/>
                <a:gd name="T52" fmla="*/ 51 w 51"/>
                <a:gd name="T53" fmla="*/ 5 h 87"/>
                <a:gd name="T54" fmla="*/ 50 w 51"/>
                <a:gd name="T55" fmla="*/ 5 h 87"/>
                <a:gd name="T56" fmla="*/ 50 w 51"/>
                <a:gd name="T57" fmla="*/ 8 h 87"/>
                <a:gd name="T58" fmla="*/ 48 w 51"/>
                <a:gd name="T59" fmla="*/ 8 h 87"/>
                <a:gd name="T60" fmla="*/ 46 w 51"/>
                <a:gd name="T61" fmla="*/ 7 h 87"/>
                <a:gd name="T62" fmla="*/ 44 w 51"/>
                <a:gd name="T63" fmla="*/ 8 h 87"/>
                <a:gd name="T64" fmla="*/ 44 w 51"/>
                <a:gd name="T65" fmla="*/ 5 h 87"/>
                <a:gd name="T66" fmla="*/ 46 w 51"/>
                <a:gd name="T67" fmla="*/ 5 h 87"/>
                <a:gd name="T68" fmla="*/ 46 w 51"/>
                <a:gd name="T69" fmla="*/ 2 h 87"/>
                <a:gd name="T70" fmla="*/ 48 w 51"/>
                <a:gd name="T71" fmla="*/ 0 h 87"/>
                <a:gd name="T72" fmla="*/ 51 w 51"/>
                <a:gd name="T73" fmla="*/ 2 h 87"/>
                <a:gd name="T74" fmla="*/ 2 w 51"/>
                <a:gd name="T75" fmla="*/ 87 h 87"/>
                <a:gd name="T76" fmla="*/ 4 w 51"/>
                <a:gd name="T77" fmla="*/ 87 h 87"/>
                <a:gd name="T78" fmla="*/ 2 w 51"/>
                <a:gd name="T7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87">
                  <a:moveTo>
                    <a:pt x="12" y="66"/>
                  </a:moveTo>
                  <a:lnTo>
                    <a:pt x="14" y="68"/>
                  </a:lnTo>
                  <a:lnTo>
                    <a:pt x="12" y="68"/>
                  </a:lnTo>
                  <a:lnTo>
                    <a:pt x="14" y="70"/>
                  </a:lnTo>
                  <a:lnTo>
                    <a:pt x="16" y="71"/>
                  </a:lnTo>
                  <a:lnTo>
                    <a:pt x="14" y="73"/>
                  </a:lnTo>
                  <a:lnTo>
                    <a:pt x="14" y="75"/>
                  </a:lnTo>
                  <a:lnTo>
                    <a:pt x="9" y="80"/>
                  </a:lnTo>
                  <a:lnTo>
                    <a:pt x="10" y="82"/>
                  </a:lnTo>
                  <a:lnTo>
                    <a:pt x="7" y="83"/>
                  </a:lnTo>
                  <a:lnTo>
                    <a:pt x="5" y="82"/>
                  </a:lnTo>
                  <a:lnTo>
                    <a:pt x="5" y="85"/>
                  </a:lnTo>
                  <a:lnTo>
                    <a:pt x="4" y="83"/>
                  </a:lnTo>
                  <a:lnTo>
                    <a:pt x="4" y="85"/>
                  </a:lnTo>
                  <a:lnTo>
                    <a:pt x="2" y="83"/>
                  </a:lnTo>
                  <a:lnTo>
                    <a:pt x="4" y="82"/>
                  </a:lnTo>
                  <a:lnTo>
                    <a:pt x="2" y="82"/>
                  </a:lnTo>
                  <a:lnTo>
                    <a:pt x="0" y="76"/>
                  </a:lnTo>
                  <a:lnTo>
                    <a:pt x="0" y="73"/>
                  </a:lnTo>
                  <a:lnTo>
                    <a:pt x="2" y="70"/>
                  </a:lnTo>
                  <a:lnTo>
                    <a:pt x="4" y="68"/>
                  </a:lnTo>
                  <a:lnTo>
                    <a:pt x="5" y="68"/>
                  </a:lnTo>
                  <a:lnTo>
                    <a:pt x="7" y="66"/>
                  </a:lnTo>
                  <a:lnTo>
                    <a:pt x="12" y="66"/>
                  </a:lnTo>
                  <a:close/>
                  <a:moveTo>
                    <a:pt x="51" y="2"/>
                  </a:moveTo>
                  <a:lnTo>
                    <a:pt x="50" y="3"/>
                  </a:lnTo>
                  <a:lnTo>
                    <a:pt x="51" y="5"/>
                  </a:lnTo>
                  <a:lnTo>
                    <a:pt x="50" y="5"/>
                  </a:lnTo>
                  <a:lnTo>
                    <a:pt x="50" y="8"/>
                  </a:lnTo>
                  <a:lnTo>
                    <a:pt x="48" y="8"/>
                  </a:lnTo>
                  <a:lnTo>
                    <a:pt x="46" y="7"/>
                  </a:lnTo>
                  <a:lnTo>
                    <a:pt x="44" y="8"/>
                  </a:lnTo>
                  <a:lnTo>
                    <a:pt x="44" y="5"/>
                  </a:lnTo>
                  <a:lnTo>
                    <a:pt x="46" y="5"/>
                  </a:lnTo>
                  <a:lnTo>
                    <a:pt x="46" y="2"/>
                  </a:lnTo>
                  <a:lnTo>
                    <a:pt x="48" y="0"/>
                  </a:lnTo>
                  <a:lnTo>
                    <a:pt x="51" y="2"/>
                  </a:lnTo>
                  <a:close/>
                  <a:moveTo>
                    <a:pt x="2" y="87"/>
                  </a:moveTo>
                  <a:lnTo>
                    <a:pt x="4" y="87"/>
                  </a:lnTo>
                  <a:lnTo>
                    <a:pt x="2" y="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3" name="Freeform 51">
              <a:extLst>
                <a:ext uri="{FF2B5EF4-FFF2-40B4-BE49-F238E27FC236}">
                  <a16:creationId xmlns:a16="http://schemas.microsoft.com/office/drawing/2014/main" id="{F482989A-C0C4-488B-A652-6FBD2992FBCF}"/>
                </a:ext>
              </a:extLst>
            </p:cNvPr>
            <p:cNvSpPr>
              <a:spLocks noEditPoints="1"/>
            </p:cNvSpPr>
            <p:nvPr/>
          </p:nvSpPr>
          <p:spPr bwMode="gray">
            <a:xfrm>
              <a:off x="9706521" y="2810834"/>
              <a:ext cx="87164" cy="87244"/>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4" name="Freeform 52">
              <a:extLst>
                <a:ext uri="{FF2B5EF4-FFF2-40B4-BE49-F238E27FC236}">
                  <a16:creationId xmlns:a16="http://schemas.microsoft.com/office/drawing/2014/main" id="{2EBDB754-2FE7-47D3-A913-DFC7FAE1D824}"/>
                </a:ext>
              </a:extLst>
            </p:cNvPr>
            <p:cNvSpPr>
              <a:spLocks noEditPoints="1"/>
            </p:cNvSpPr>
            <p:nvPr/>
          </p:nvSpPr>
          <p:spPr bwMode="gray">
            <a:xfrm>
              <a:off x="11273189" y="2754350"/>
              <a:ext cx="300231" cy="386444"/>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5" name="Freeform 53">
              <a:extLst>
                <a:ext uri="{FF2B5EF4-FFF2-40B4-BE49-F238E27FC236}">
                  <a16:creationId xmlns:a16="http://schemas.microsoft.com/office/drawing/2014/main" id="{229EFC7E-BEC8-4F5D-9C5E-E7518F967757}"/>
                </a:ext>
              </a:extLst>
            </p:cNvPr>
            <p:cNvSpPr>
              <a:spLocks noEditPoints="1"/>
            </p:cNvSpPr>
            <p:nvPr/>
          </p:nvSpPr>
          <p:spPr bwMode="gray">
            <a:xfrm>
              <a:off x="10565625" y="3721299"/>
              <a:ext cx="473419" cy="360158"/>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6" name="Freeform 54">
              <a:extLst>
                <a:ext uri="{FF2B5EF4-FFF2-40B4-BE49-F238E27FC236}">
                  <a16:creationId xmlns:a16="http://schemas.microsoft.com/office/drawing/2014/main" id="{B4A183AE-5226-4125-8F46-ED5992424839}"/>
                </a:ext>
              </a:extLst>
            </p:cNvPr>
            <p:cNvSpPr>
              <a:spLocks/>
            </p:cNvSpPr>
            <p:nvPr/>
          </p:nvSpPr>
          <p:spPr bwMode="gray">
            <a:xfrm>
              <a:off x="10787237" y="2748198"/>
              <a:ext cx="321310" cy="247190"/>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7" name="Freeform 55">
              <a:extLst>
                <a:ext uri="{FF2B5EF4-FFF2-40B4-BE49-F238E27FC236}">
                  <a16:creationId xmlns:a16="http://schemas.microsoft.com/office/drawing/2014/main" id="{7EC198E7-9DED-4165-904E-F68F923D0162}"/>
                </a:ext>
              </a:extLst>
            </p:cNvPr>
            <p:cNvSpPr>
              <a:spLocks noEditPoints="1"/>
            </p:cNvSpPr>
            <p:nvPr/>
          </p:nvSpPr>
          <p:spPr bwMode="gray">
            <a:xfrm>
              <a:off x="10719444" y="2470249"/>
              <a:ext cx="485952" cy="377496"/>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8" name="Freeform 56">
              <a:extLst>
                <a:ext uri="{FF2B5EF4-FFF2-40B4-BE49-F238E27FC236}">
                  <a16:creationId xmlns:a16="http://schemas.microsoft.com/office/drawing/2014/main" id="{937DD39D-1882-4103-AF0B-E88321B84191}"/>
                </a:ext>
              </a:extLst>
            </p:cNvPr>
            <p:cNvSpPr>
              <a:spLocks/>
            </p:cNvSpPr>
            <p:nvPr/>
          </p:nvSpPr>
          <p:spPr bwMode="gray">
            <a:xfrm>
              <a:off x="10979225" y="3823082"/>
              <a:ext cx="38739" cy="45300"/>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399" name="Freeform 57">
              <a:extLst>
                <a:ext uri="{FF2B5EF4-FFF2-40B4-BE49-F238E27FC236}">
                  <a16:creationId xmlns:a16="http://schemas.microsoft.com/office/drawing/2014/main" id="{58F1DD88-B38A-405C-9496-736D7D0CF261}"/>
                </a:ext>
              </a:extLst>
            </p:cNvPr>
            <p:cNvSpPr>
              <a:spLocks noEditPoints="1"/>
            </p:cNvSpPr>
            <p:nvPr/>
          </p:nvSpPr>
          <p:spPr bwMode="gray">
            <a:xfrm>
              <a:off x="10938208" y="3121779"/>
              <a:ext cx="319031" cy="305352"/>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00" name="Freeform 58">
              <a:extLst>
                <a:ext uri="{FF2B5EF4-FFF2-40B4-BE49-F238E27FC236}">
                  <a16:creationId xmlns:a16="http://schemas.microsoft.com/office/drawing/2014/main" id="{E0612498-8778-43ED-9D04-EBC66E1834B7}"/>
                </a:ext>
              </a:extLst>
            </p:cNvPr>
            <p:cNvSpPr>
              <a:spLocks/>
            </p:cNvSpPr>
            <p:nvPr/>
          </p:nvSpPr>
          <p:spPr bwMode="gray">
            <a:xfrm>
              <a:off x="10085940" y="2778397"/>
              <a:ext cx="56400" cy="142610"/>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01" name="Freeform 60">
              <a:extLst>
                <a:ext uri="{FF2B5EF4-FFF2-40B4-BE49-F238E27FC236}">
                  <a16:creationId xmlns:a16="http://schemas.microsoft.com/office/drawing/2014/main" id="{ED0C3848-A9F7-419B-B17E-760887D605E6}"/>
                </a:ext>
              </a:extLst>
            </p:cNvPr>
            <p:cNvSpPr>
              <a:spLocks/>
            </p:cNvSpPr>
            <p:nvPr/>
          </p:nvSpPr>
          <p:spPr bwMode="gray">
            <a:xfrm>
              <a:off x="10943334" y="2974136"/>
              <a:ext cx="157806" cy="162183"/>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02" name="Freeform 61">
              <a:extLst>
                <a:ext uri="{FF2B5EF4-FFF2-40B4-BE49-F238E27FC236}">
                  <a16:creationId xmlns:a16="http://schemas.microsoft.com/office/drawing/2014/main" id="{0BB470D4-EDC0-45B7-BB1D-7C110F4EAC59}"/>
                </a:ext>
              </a:extLst>
            </p:cNvPr>
            <p:cNvSpPr>
              <a:spLocks/>
            </p:cNvSpPr>
            <p:nvPr/>
          </p:nvSpPr>
          <p:spPr bwMode="gray">
            <a:xfrm>
              <a:off x="9597140" y="2309184"/>
              <a:ext cx="243261" cy="196298"/>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03" name="Freeform 62">
              <a:extLst>
                <a:ext uri="{FF2B5EF4-FFF2-40B4-BE49-F238E27FC236}">
                  <a16:creationId xmlns:a16="http://schemas.microsoft.com/office/drawing/2014/main" id="{DFCF9998-0A9E-4E36-BAA9-AF3192DE994D}"/>
                </a:ext>
              </a:extLst>
            </p:cNvPr>
            <p:cNvSpPr>
              <a:spLocks/>
            </p:cNvSpPr>
            <p:nvPr/>
          </p:nvSpPr>
          <p:spPr bwMode="gray">
            <a:xfrm>
              <a:off x="10725140" y="3327024"/>
              <a:ext cx="337261" cy="279067"/>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04" name="Freeform 63">
              <a:extLst>
                <a:ext uri="{FF2B5EF4-FFF2-40B4-BE49-F238E27FC236}">
                  <a16:creationId xmlns:a16="http://schemas.microsoft.com/office/drawing/2014/main" id="{8ED317A0-CCAC-414D-AB19-309E871AD027}"/>
                </a:ext>
              </a:extLst>
            </p:cNvPr>
            <p:cNvSpPr>
              <a:spLocks/>
            </p:cNvSpPr>
            <p:nvPr/>
          </p:nvSpPr>
          <p:spPr bwMode="gray">
            <a:xfrm>
              <a:off x="10818001" y="3536744"/>
              <a:ext cx="226170" cy="192942"/>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05" name="Freeform 64">
              <a:extLst>
                <a:ext uri="{FF2B5EF4-FFF2-40B4-BE49-F238E27FC236}">
                  <a16:creationId xmlns:a16="http://schemas.microsoft.com/office/drawing/2014/main" id="{2C71D1DF-8FE0-47D5-B526-43D01561DFED}"/>
                </a:ext>
              </a:extLst>
            </p:cNvPr>
            <p:cNvSpPr>
              <a:spLocks/>
            </p:cNvSpPr>
            <p:nvPr/>
          </p:nvSpPr>
          <p:spPr bwMode="gray">
            <a:xfrm>
              <a:off x="9923576" y="3544015"/>
              <a:ext cx="3988" cy="3915"/>
            </a:xfrm>
            <a:custGeom>
              <a:avLst/>
              <a:gdLst>
                <a:gd name="T0" fmla="*/ 7 w 7"/>
                <a:gd name="T1" fmla="*/ 2 h 7"/>
                <a:gd name="T2" fmla="*/ 7 w 7"/>
                <a:gd name="T3" fmla="*/ 4 h 7"/>
                <a:gd name="T4" fmla="*/ 1 w 7"/>
                <a:gd name="T5" fmla="*/ 7 h 7"/>
                <a:gd name="T6" fmla="*/ 0 w 7"/>
                <a:gd name="T7" fmla="*/ 5 h 7"/>
                <a:gd name="T8" fmla="*/ 3 w 7"/>
                <a:gd name="T9" fmla="*/ 0 h 7"/>
                <a:gd name="T10" fmla="*/ 7 w 7"/>
                <a:gd name="T11" fmla="*/ 2 h 7"/>
              </a:gdLst>
              <a:ahLst/>
              <a:cxnLst>
                <a:cxn ang="0">
                  <a:pos x="T0" y="T1"/>
                </a:cxn>
                <a:cxn ang="0">
                  <a:pos x="T2" y="T3"/>
                </a:cxn>
                <a:cxn ang="0">
                  <a:pos x="T4" y="T5"/>
                </a:cxn>
                <a:cxn ang="0">
                  <a:pos x="T6" y="T7"/>
                </a:cxn>
                <a:cxn ang="0">
                  <a:pos x="T8" y="T9"/>
                </a:cxn>
                <a:cxn ang="0">
                  <a:pos x="T10" y="T11"/>
                </a:cxn>
              </a:cxnLst>
              <a:rect l="0" t="0" r="r" b="b"/>
              <a:pathLst>
                <a:path w="7" h="7">
                  <a:moveTo>
                    <a:pt x="7" y="2"/>
                  </a:moveTo>
                  <a:lnTo>
                    <a:pt x="7" y="4"/>
                  </a:lnTo>
                  <a:lnTo>
                    <a:pt x="1" y="7"/>
                  </a:lnTo>
                  <a:lnTo>
                    <a:pt x="0" y="5"/>
                  </a:lnTo>
                  <a:lnTo>
                    <a:pt x="3" y="0"/>
                  </a:lnTo>
                  <a:lnTo>
                    <a:pt x="7"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kern="1200" dirty="0">
                <a:latin typeface="Arial" charset="0"/>
                <a:ea typeface="+mn-ea"/>
                <a:cs typeface="+mn-cs"/>
              </a:endParaRPr>
            </a:p>
          </p:txBody>
        </p:sp>
        <p:sp>
          <p:nvSpPr>
            <p:cNvPr id="406" name="Google Shape;1005;p93">
              <a:extLst>
                <a:ext uri="{FF2B5EF4-FFF2-40B4-BE49-F238E27FC236}">
                  <a16:creationId xmlns:a16="http://schemas.microsoft.com/office/drawing/2014/main" id="{279B3FB1-EE7A-4008-ABE8-6E368DA0EFAC}"/>
                </a:ext>
              </a:extLst>
            </p:cNvPr>
            <p:cNvSpPr/>
            <p:nvPr/>
          </p:nvSpPr>
          <p:spPr>
            <a:xfrm rot="1885795">
              <a:off x="11625794" y="3639937"/>
              <a:ext cx="23774" cy="27914"/>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kern="1200">
                <a:latin typeface="Arial" charset="0"/>
                <a:ea typeface="+mn-ea"/>
                <a:cs typeface="+mn-cs"/>
                <a:sym typeface="Calibri"/>
              </a:endParaRPr>
            </a:p>
          </p:txBody>
        </p:sp>
        <p:sp>
          <p:nvSpPr>
            <p:cNvPr id="407" name="Google Shape;1006;p93">
              <a:extLst>
                <a:ext uri="{FF2B5EF4-FFF2-40B4-BE49-F238E27FC236}">
                  <a16:creationId xmlns:a16="http://schemas.microsoft.com/office/drawing/2014/main" id="{0813A89C-2852-4BDF-9A64-D79C6364ED18}"/>
                </a:ext>
              </a:extLst>
            </p:cNvPr>
            <p:cNvSpPr/>
            <p:nvPr/>
          </p:nvSpPr>
          <p:spPr>
            <a:xfrm rot="16635490">
              <a:off x="11583370" y="3659833"/>
              <a:ext cx="24040" cy="27605"/>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kern="1200">
                <a:latin typeface="Arial" charset="0"/>
                <a:ea typeface="+mn-ea"/>
                <a:cs typeface="+mn-cs"/>
                <a:sym typeface="Calibri"/>
              </a:endParaRPr>
            </a:p>
          </p:txBody>
        </p:sp>
        <p:sp>
          <p:nvSpPr>
            <p:cNvPr id="408" name="Freeform 11">
              <a:extLst>
                <a:ext uri="{FF2B5EF4-FFF2-40B4-BE49-F238E27FC236}">
                  <a16:creationId xmlns:a16="http://schemas.microsoft.com/office/drawing/2014/main" id="{B483C3AB-168C-4DB6-A4F9-8786A753DFDD}"/>
                </a:ext>
              </a:extLst>
            </p:cNvPr>
            <p:cNvSpPr>
              <a:spLocks noEditPoints="1"/>
            </p:cNvSpPr>
            <p:nvPr/>
          </p:nvSpPr>
          <p:spPr bwMode="gray">
            <a:xfrm>
              <a:off x="9360715" y="2620300"/>
              <a:ext cx="121319" cy="109722"/>
            </a:xfrm>
            <a:custGeom>
              <a:avLst/>
              <a:gdLst>
                <a:gd name="T0" fmla="*/ 85 w 136"/>
                <a:gd name="T1" fmla="*/ 99 h 123"/>
                <a:gd name="T2" fmla="*/ 91 w 136"/>
                <a:gd name="T3" fmla="*/ 106 h 123"/>
                <a:gd name="T4" fmla="*/ 97 w 136"/>
                <a:gd name="T5" fmla="*/ 111 h 123"/>
                <a:gd name="T6" fmla="*/ 95 w 136"/>
                <a:gd name="T7" fmla="*/ 117 h 123"/>
                <a:gd name="T8" fmla="*/ 83 w 136"/>
                <a:gd name="T9" fmla="*/ 112 h 123"/>
                <a:gd name="T10" fmla="*/ 80 w 136"/>
                <a:gd name="T11" fmla="*/ 104 h 123"/>
                <a:gd name="T12" fmla="*/ 81 w 136"/>
                <a:gd name="T13" fmla="*/ 97 h 123"/>
                <a:gd name="T14" fmla="*/ 17 w 136"/>
                <a:gd name="T15" fmla="*/ 2 h 123"/>
                <a:gd name="T16" fmla="*/ 18 w 136"/>
                <a:gd name="T17" fmla="*/ 9 h 123"/>
                <a:gd name="T18" fmla="*/ 8 w 136"/>
                <a:gd name="T19" fmla="*/ 15 h 123"/>
                <a:gd name="T20" fmla="*/ 1 w 136"/>
                <a:gd name="T21" fmla="*/ 14 h 123"/>
                <a:gd name="T22" fmla="*/ 1 w 136"/>
                <a:gd name="T23" fmla="*/ 7 h 123"/>
                <a:gd name="T24" fmla="*/ 13 w 136"/>
                <a:gd name="T25" fmla="*/ 0 h 123"/>
                <a:gd name="T26" fmla="*/ 129 w 136"/>
                <a:gd name="T27" fmla="*/ 51 h 123"/>
                <a:gd name="T28" fmla="*/ 136 w 136"/>
                <a:gd name="T29" fmla="*/ 54 h 123"/>
                <a:gd name="T30" fmla="*/ 131 w 136"/>
                <a:gd name="T31" fmla="*/ 63 h 123"/>
                <a:gd name="T32" fmla="*/ 120 w 136"/>
                <a:gd name="T33" fmla="*/ 61 h 123"/>
                <a:gd name="T34" fmla="*/ 124 w 136"/>
                <a:gd name="T35" fmla="*/ 53 h 123"/>
                <a:gd name="T36" fmla="*/ 52 w 136"/>
                <a:gd name="T37" fmla="*/ 111 h 123"/>
                <a:gd name="T38" fmla="*/ 52 w 136"/>
                <a:gd name="T39" fmla="*/ 121 h 123"/>
                <a:gd name="T40" fmla="*/ 42 w 136"/>
                <a:gd name="T41" fmla="*/ 116 h 123"/>
                <a:gd name="T42" fmla="*/ 52 w 136"/>
                <a:gd name="T43" fmla="*/ 111 h 123"/>
                <a:gd name="T44" fmla="*/ 61 w 136"/>
                <a:gd name="T45" fmla="*/ 31 h 123"/>
                <a:gd name="T46" fmla="*/ 68 w 136"/>
                <a:gd name="T47" fmla="*/ 34 h 123"/>
                <a:gd name="T48" fmla="*/ 57 w 136"/>
                <a:gd name="T49" fmla="*/ 32 h 123"/>
                <a:gd name="T50" fmla="*/ 51 w 136"/>
                <a:gd name="T51" fmla="*/ 32 h 123"/>
                <a:gd name="T52" fmla="*/ 51 w 136"/>
                <a:gd name="T53" fmla="*/ 27 h 123"/>
                <a:gd name="T54" fmla="*/ 112 w 136"/>
                <a:gd name="T55" fmla="*/ 95 h 123"/>
                <a:gd name="T56" fmla="*/ 115 w 136"/>
                <a:gd name="T57" fmla="*/ 102 h 123"/>
                <a:gd name="T58" fmla="*/ 108 w 136"/>
                <a:gd name="T59" fmla="*/ 106 h 123"/>
                <a:gd name="T60" fmla="*/ 107 w 136"/>
                <a:gd name="T61" fmla="*/ 99 h 123"/>
                <a:gd name="T62" fmla="*/ 110 w 136"/>
                <a:gd name="T63" fmla="*/ 95 h 123"/>
                <a:gd name="T64" fmla="*/ 22 w 136"/>
                <a:gd name="T65" fmla="*/ 17 h 123"/>
                <a:gd name="T66" fmla="*/ 18 w 136"/>
                <a:gd name="T67" fmla="*/ 22 h 123"/>
                <a:gd name="T68" fmla="*/ 18 w 136"/>
                <a:gd name="T69" fmla="*/ 17 h 123"/>
                <a:gd name="T70" fmla="*/ 22 w 136"/>
                <a:gd name="T71" fmla="*/ 15 h 123"/>
                <a:gd name="T72" fmla="*/ 125 w 136"/>
                <a:gd name="T73" fmla="*/ 22 h 123"/>
                <a:gd name="T74" fmla="*/ 124 w 136"/>
                <a:gd name="T75" fmla="*/ 29 h 123"/>
                <a:gd name="T76" fmla="*/ 124 w 136"/>
                <a:gd name="T77" fmla="*/ 32 h 123"/>
                <a:gd name="T78" fmla="*/ 120 w 136"/>
                <a:gd name="T79" fmla="*/ 26 h 123"/>
                <a:gd name="T80" fmla="*/ 120 w 136"/>
                <a:gd name="T81" fmla="*/ 20 h 123"/>
                <a:gd name="T82" fmla="*/ 35 w 136"/>
                <a:gd name="T83" fmla="*/ 121 h 123"/>
                <a:gd name="T84" fmla="*/ 30 w 136"/>
                <a:gd name="T85" fmla="*/ 119 h 123"/>
                <a:gd name="T86" fmla="*/ 34 w 136"/>
                <a:gd name="T87" fmla="*/ 117 h 123"/>
                <a:gd name="T88" fmla="*/ 32 w 136"/>
                <a:gd name="T89" fmla="*/ 24 h 123"/>
                <a:gd name="T90" fmla="*/ 29 w 136"/>
                <a:gd name="T91" fmla="*/ 22 h 123"/>
                <a:gd name="T92" fmla="*/ 37 w 136"/>
                <a:gd name="T93" fmla="*/ 31 h 123"/>
                <a:gd name="T94" fmla="*/ 34 w 136"/>
                <a:gd name="T95" fmla="*/ 27 h 123"/>
                <a:gd name="T96" fmla="*/ 34 w 136"/>
                <a:gd name="T97" fmla="*/ 29 h 123"/>
                <a:gd name="T98" fmla="*/ 124 w 136"/>
                <a:gd name="T99" fmla="*/ 53 h 123"/>
                <a:gd name="T100" fmla="*/ 37 w 136"/>
                <a:gd name="T10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23">
                  <a:moveTo>
                    <a:pt x="85" y="95"/>
                  </a:moveTo>
                  <a:lnTo>
                    <a:pt x="85" y="97"/>
                  </a:lnTo>
                  <a:lnTo>
                    <a:pt x="85" y="99"/>
                  </a:lnTo>
                  <a:lnTo>
                    <a:pt x="88" y="100"/>
                  </a:lnTo>
                  <a:lnTo>
                    <a:pt x="90" y="104"/>
                  </a:lnTo>
                  <a:lnTo>
                    <a:pt x="91" y="106"/>
                  </a:lnTo>
                  <a:lnTo>
                    <a:pt x="93" y="106"/>
                  </a:lnTo>
                  <a:lnTo>
                    <a:pt x="95" y="109"/>
                  </a:lnTo>
                  <a:lnTo>
                    <a:pt x="97" y="111"/>
                  </a:lnTo>
                  <a:lnTo>
                    <a:pt x="97" y="112"/>
                  </a:lnTo>
                  <a:lnTo>
                    <a:pt x="97" y="114"/>
                  </a:lnTo>
                  <a:lnTo>
                    <a:pt x="95" y="117"/>
                  </a:lnTo>
                  <a:lnTo>
                    <a:pt x="93" y="117"/>
                  </a:lnTo>
                  <a:lnTo>
                    <a:pt x="88" y="117"/>
                  </a:lnTo>
                  <a:lnTo>
                    <a:pt x="83" y="112"/>
                  </a:lnTo>
                  <a:lnTo>
                    <a:pt x="80" y="109"/>
                  </a:lnTo>
                  <a:lnTo>
                    <a:pt x="81" y="106"/>
                  </a:lnTo>
                  <a:lnTo>
                    <a:pt x="80" y="104"/>
                  </a:lnTo>
                  <a:lnTo>
                    <a:pt x="81" y="100"/>
                  </a:lnTo>
                  <a:lnTo>
                    <a:pt x="80" y="97"/>
                  </a:lnTo>
                  <a:lnTo>
                    <a:pt x="81" y="97"/>
                  </a:lnTo>
                  <a:lnTo>
                    <a:pt x="81" y="95"/>
                  </a:lnTo>
                  <a:lnTo>
                    <a:pt x="85" y="95"/>
                  </a:lnTo>
                  <a:close/>
                  <a:moveTo>
                    <a:pt x="17" y="2"/>
                  </a:moveTo>
                  <a:lnTo>
                    <a:pt x="18" y="5"/>
                  </a:lnTo>
                  <a:lnTo>
                    <a:pt x="20" y="5"/>
                  </a:lnTo>
                  <a:lnTo>
                    <a:pt x="18" y="9"/>
                  </a:lnTo>
                  <a:lnTo>
                    <a:pt x="15" y="10"/>
                  </a:lnTo>
                  <a:lnTo>
                    <a:pt x="13" y="10"/>
                  </a:lnTo>
                  <a:lnTo>
                    <a:pt x="8" y="15"/>
                  </a:lnTo>
                  <a:lnTo>
                    <a:pt x="5" y="15"/>
                  </a:lnTo>
                  <a:lnTo>
                    <a:pt x="3" y="15"/>
                  </a:lnTo>
                  <a:lnTo>
                    <a:pt x="1" y="14"/>
                  </a:lnTo>
                  <a:lnTo>
                    <a:pt x="1" y="10"/>
                  </a:lnTo>
                  <a:lnTo>
                    <a:pt x="0" y="9"/>
                  </a:lnTo>
                  <a:lnTo>
                    <a:pt x="1" y="7"/>
                  </a:lnTo>
                  <a:lnTo>
                    <a:pt x="5" y="5"/>
                  </a:lnTo>
                  <a:lnTo>
                    <a:pt x="8" y="3"/>
                  </a:lnTo>
                  <a:lnTo>
                    <a:pt x="13" y="0"/>
                  </a:lnTo>
                  <a:lnTo>
                    <a:pt x="17" y="2"/>
                  </a:lnTo>
                  <a:close/>
                  <a:moveTo>
                    <a:pt x="125" y="51"/>
                  </a:moveTo>
                  <a:lnTo>
                    <a:pt x="129" y="51"/>
                  </a:lnTo>
                  <a:lnTo>
                    <a:pt x="131" y="49"/>
                  </a:lnTo>
                  <a:lnTo>
                    <a:pt x="134" y="51"/>
                  </a:lnTo>
                  <a:lnTo>
                    <a:pt x="136" y="54"/>
                  </a:lnTo>
                  <a:lnTo>
                    <a:pt x="136" y="58"/>
                  </a:lnTo>
                  <a:lnTo>
                    <a:pt x="136" y="60"/>
                  </a:lnTo>
                  <a:lnTo>
                    <a:pt x="131" y="63"/>
                  </a:lnTo>
                  <a:lnTo>
                    <a:pt x="129" y="63"/>
                  </a:lnTo>
                  <a:lnTo>
                    <a:pt x="125" y="63"/>
                  </a:lnTo>
                  <a:lnTo>
                    <a:pt x="120" y="61"/>
                  </a:lnTo>
                  <a:lnTo>
                    <a:pt x="122" y="58"/>
                  </a:lnTo>
                  <a:lnTo>
                    <a:pt x="124" y="56"/>
                  </a:lnTo>
                  <a:lnTo>
                    <a:pt x="124" y="53"/>
                  </a:lnTo>
                  <a:lnTo>
                    <a:pt x="124" y="49"/>
                  </a:lnTo>
                  <a:lnTo>
                    <a:pt x="125" y="51"/>
                  </a:lnTo>
                  <a:close/>
                  <a:moveTo>
                    <a:pt x="52" y="111"/>
                  </a:moveTo>
                  <a:lnTo>
                    <a:pt x="54" y="112"/>
                  </a:lnTo>
                  <a:lnTo>
                    <a:pt x="54" y="119"/>
                  </a:lnTo>
                  <a:lnTo>
                    <a:pt x="52" y="121"/>
                  </a:lnTo>
                  <a:lnTo>
                    <a:pt x="49" y="123"/>
                  </a:lnTo>
                  <a:lnTo>
                    <a:pt x="44" y="119"/>
                  </a:lnTo>
                  <a:lnTo>
                    <a:pt x="42" y="116"/>
                  </a:lnTo>
                  <a:lnTo>
                    <a:pt x="44" y="112"/>
                  </a:lnTo>
                  <a:lnTo>
                    <a:pt x="49" y="111"/>
                  </a:lnTo>
                  <a:lnTo>
                    <a:pt x="52" y="111"/>
                  </a:lnTo>
                  <a:close/>
                  <a:moveTo>
                    <a:pt x="54" y="29"/>
                  </a:moveTo>
                  <a:lnTo>
                    <a:pt x="57" y="29"/>
                  </a:lnTo>
                  <a:lnTo>
                    <a:pt x="61" y="31"/>
                  </a:lnTo>
                  <a:lnTo>
                    <a:pt x="66" y="31"/>
                  </a:lnTo>
                  <a:lnTo>
                    <a:pt x="68" y="32"/>
                  </a:lnTo>
                  <a:lnTo>
                    <a:pt x="68" y="34"/>
                  </a:lnTo>
                  <a:lnTo>
                    <a:pt x="63" y="34"/>
                  </a:lnTo>
                  <a:lnTo>
                    <a:pt x="59" y="32"/>
                  </a:lnTo>
                  <a:lnTo>
                    <a:pt x="57" y="32"/>
                  </a:lnTo>
                  <a:lnTo>
                    <a:pt x="54" y="34"/>
                  </a:lnTo>
                  <a:lnTo>
                    <a:pt x="52" y="37"/>
                  </a:lnTo>
                  <a:lnTo>
                    <a:pt x="51" y="32"/>
                  </a:lnTo>
                  <a:lnTo>
                    <a:pt x="47" y="31"/>
                  </a:lnTo>
                  <a:lnTo>
                    <a:pt x="47" y="29"/>
                  </a:lnTo>
                  <a:lnTo>
                    <a:pt x="51" y="27"/>
                  </a:lnTo>
                  <a:lnTo>
                    <a:pt x="54" y="29"/>
                  </a:lnTo>
                  <a:close/>
                  <a:moveTo>
                    <a:pt x="110" y="95"/>
                  </a:moveTo>
                  <a:lnTo>
                    <a:pt x="112" y="95"/>
                  </a:lnTo>
                  <a:lnTo>
                    <a:pt x="112" y="97"/>
                  </a:lnTo>
                  <a:lnTo>
                    <a:pt x="114" y="97"/>
                  </a:lnTo>
                  <a:lnTo>
                    <a:pt x="115" y="102"/>
                  </a:lnTo>
                  <a:lnTo>
                    <a:pt x="115" y="104"/>
                  </a:lnTo>
                  <a:lnTo>
                    <a:pt x="112" y="107"/>
                  </a:lnTo>
                  <a:lnTo>
                    <a:pt x="108" y="106"/>
                  </a:lnTo>
                  <a:lnTo>
                    <a:pt x="107" y="104"/>
                  </a:lnTo>
                  <a:lnTo>
                    <a:pt x="108" y="100"/>
                  </a:lnTo>
                  <a:lnTo>
                    <a:pt x="107" y="99"/>
                  </a:lnTo>
                  <a:lnTo>
                    <a:pt x="108" y="97"/>
                  </a:lnTo>
                  <a:lnTo>
                    <a:pt x="110" y="97"/>
                  </a:lnTo>
                  <a:lnTo>
                    <a:pt x="110" y="95"/>
                  </a:lnTo>
                  <a:close/>
                  <a:moveTo>
                    <a:pt x="22" y="15"/>
                  </a:moveTo>
                  <a:lnTo>
                    <a:pt x="23" y="15"/>
                  </a:lnTo>
                  <a:lnTo>
                    <a:pt x="22" y="17"/>
                  </a:lnTo>
                  <a:lnTo>
                    <a:pt x="25" y="19"/>
                  </a:lnTo>
                  <a:lnTo>
                    <a:pt x="25" y="20"/>
                  </a:lnTo>
                  <a:lnTo>
                    <a:pt x="18" y="22"/>
                  </a:lnTo>
                  <a:lnTo>
                    <a:pt x="13" y="20"/>
                  </a:lnTo>
                  <a:lnTo>
                    <a:pt x="15" y="17"/>
                  </a:lnTo>
                  <a:lnTo>
                    <a:pt x="18" y="17"/>
                  </a:lnTo>
                  <a:lnTo>
                    <a:pt x="18" y="15"/>
                  </a:lnTo>
                  <a:lnTo>
                    <a:pt x="20" y="15"/>
                  </a:lnTo>
                  <a:lnTo>
                    <a:pt x="22" y="15"/>
                  </a:lnTo>
                  <a:close/>
                  <a:moveTo>
                    <a:pt x="125" y="19"/>
                  </a:moveTo>
                  <a:lnTo>
                    <a:pt x="124" y="20"/>
                  </a:lnTo>
                  <a:lnTo>
                    <a:pt x="125" y="22"/>
                  </a:lnTo>
                  <a:lnTo>
                    <a:pt x="124" y="24"/>
                  </a:lnTo>
                  <a:lnTo>
                    <a:pt x="125" y="27"/>
                  </a:lnTo>
                  <a:lnTo>
                    <a:pt x="124" y="29"/>
                  </a:lnTo>
                  <a:lnTo>
                    <a:pt x="125" y="32"/>
                  </a:lnTo>
                  <a:lnTo>
                    <a:pt x="124" y="31"/>
                  </a:lnTo>
                  <a:lnTo>
                    <a:pt x="124" y="32"/>
                  </a:lnTo>
                  <a:lnTo>
                    <a:pt x="122" y="29"/>
                  </a:lnTo>
                  <a:lnTo>
                    <a:pt x="122" y="27"/>
                  </a:lnTo>
                  <a:lnTo>
                    <a:pt x="120" y="26"/>
                  </a:lnTo>
                  <a:lnTo>
                    <a:pt x="120" y="24"/>
                  </a:lnTo>
                  <a:lnTo>
                    <a:pt x="119" y="22"/>
                  </a:lnTo>
                  <a:lnTo>
                    <a:pt x="120" y="20"/>
                  </a:lnTo>
                  <a:lnTo>
                    <a:pt x="124" y="19"/>
                  </a:lnTo>
                  <a:lnTo>
                    <a:pt x="125" y="19"/>
                  </a:lnTo>
                  <a:close/>
                  <a:moveTo>
                    <a:pt x="35" y="121"/>
                  </a:moveTo>
                  <a:lnTo>
                    <a:pt x="34" y="123"/>
                  </a:lnTo>
                  <a:lnTo>
                    <a:pt x="30" y="121"/>
                  </a:lnTo>
                  <a:lnTo>
                    <a:pt x="30" y="119"/>
                  </a:lnTo>
                  <a:lnTo>
                    <a:pt x="32" y="119"/>
                  </a:lnTo>
                  <a:lnTo>
                    <a:pt x="32" y="117"/>
                  </a:lnTo>
                  <a:lnTo>
                    <a:pt x="34" y="117"/>
                  </a:lnTo>
                  <a:lnTo>
                    <a:pt x="35" y="121"/>
                  </a:lnTo>
                  <a:close/>
                  <a:moveTo>
                    <a:pt x="30" y="22"/>
                  </a:moveTo>
                  <a:lnTo>
                    <a:pt x="32" y="24"/>
                  </a:lnTo>
                  <a:lnTo>
                    <a:pt x="34" y="24"/>
                  </a:lnTo>
                  <a:lnTo>
                    <a:pt x="30" y="24"/>
                  </a:lnTo>
                  <a:lnTo>
                    <a:pt x="29" y="22"/>
                  </a:lnTo>
                  <a:lnTo>
                    <a:pt x="29" y="20"/>
                  </a:lnTo>
                  <a:lnTo>
                    <a:pt x="30" y="22"/>
                  </a:lnTo>
                  <a:close/>
                  <a:moveTo>
                    <a:pt x="37" y="31"/>
                  </a:moveTo>
                  <a:lnTo>
                    <a:pt x="39" y="31"/>
                  </a:lnTo>
                  <a:lnTo>
                    <a:pt x="37" y="31"/>
                  </a:lnTo>
                  <a:close/>
                  <a:moveTo>
                    <a:pt x="34" y="27"/>
                  </a:moveTo>
                  <a:lnTo>
                    <a:pt x="35" y="27"/>
                  </a:lnTo>
                  <a:lnTo>
                    <a:pt x="35" y="29"/>
                  </a:lnTo>
                  <a:lnTo>
                    <a:pt x="34" y="29"/>
                  </a:lnTo>
                  <a:lnTo>
                    <a:pt x="34" y="27"/>
                  </a:lnTo>
                  <a:close/>
                  <a:moveTo>
                    <a:pt x="122" y="53"/>
                  </a:moveTo>
                  <a:lnTo>
                    <a:pt x="124" y="53"/>
                  </a:lnTo>
                  <a:lnTo>
                    <a:pt x="122" y="53"/>
                  </a:lnTo>
                  <a:close/>
                  <a:moveTo>
                    <a:pt x="35" y="114"/>
                  </a:moveTo>
                  <a:lnTo>
                    <a:pt x="37" y="114"/>
                  </a:lnTo>
                  <a:lnTo>
                    <a:pt x="35" y="114"/>
                  </a:lnTo>
                  <a:close/>
                </a:path>
              </a:pathLst>
            </a:custGeom>
            <a:solidFill>
              <a:schemeClr val="accent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800" kern="1200" dirty="0">
                <a:latin typeface="Arial" charset="0"/>
                <a:ea typeface="+mn-ea"/>
                <a:cs typeface="+mn-cs"/>
              </a:endParaRPr>
            </a:p>
          </p:txBody>
        </p:sp>
        <p:sp>
          <p:nvSpPr>
            <p:cNvPr id="409" name="Google Shape;1005;p93">
              <a:extLst>
                <a:ext uri="{FF2B5EF4-FFF2-40B4-BE49-F238E27FC236}">
                  <a16:creationId xmlns:a16="http://schemas.microsoft.com/office/drawing/2014/main" id="{B81674DA-D1BD-4684-BCAB-03D356D57D7A}"/>
                </a:ext>
              </a:extLst>
            </p:cNvPr>
            <p:cNvSpPr/>
            <p:nvPr/>
          </p:nvSpPr>
          <p:spPr>
            <a:xfrm rot="1885795">
              <a:off x="11578954" y="3206810"/>
              <a:ext cx="23774" cy="27914"/>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kern="1200">
                <a:latin typeface="Arial" charset="0"/>
                <a:ea typeface="+mn-ea"/>
                <a:cs typeface="+mn-cs"/>
                <a:sym typeface="Calibri"/>
              </a:endParaRPr>
            </a:p>
          </p:txBody>
        </p:sp>
      </p:grpSp>
    </p:spTree>
    <p:extLst>
      <p:ext uri="{BB962C8B-B14F-4D97-AF65-F5344CB8AC3E}">
        <p14:creationId xmlns:p14="http://schemas.microsoft.com/office/powerpoint/2010/main" val="32179075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9C9538-35D8-4FF4-9335-2040FA42689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5" name="think-cell Slide" r:id="rId10" imgW="451" imgH="450" progId="TCLayout.ActiveDocument.1">
                  <p:embed/>
                </p:oleObj>
              </mc:Choice>
              <mc:Fallback>
                <p:oleObj name="think-cell Slide" r:id="rId10" imgW="451" imgH="45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1" name="Rectangle 70" hidden="1">
            <a:extLst>
              <a:ext uri="{FF2B5EF4-FFF2-40B4-BE49-F238E27FC236}">
                <a16:creationId xmlns:a16="http://schemas.microsoft.com/office/drawing/2014/main" id="{F8B856F8-CA7C-4455-ACC0-8FB872446C0E}"/>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err="1">
              <a:solidFill>
                <a:srgbClr val="000000"/>
              </a:solidFill>
              <a:sym typeface="Arial" panose="020B0604020202020204" pitchFamily="34" charset="0"/>
            </a:endParaRPr>
          </a:p>
        </p:txBody>
      </p:sp>
      <p:sp>
        <p:nvSpPr>
          <p:cNvPr id="90" name="Rectangle 2">
            <a:extLst>
              <a:ext uri="{FF2B5EF4-FFF2-40B4-BE49-F238E27FC236}">
                <a16:creationId xmlns:a16="http://schemas.microsoft.com/office/drawing/2014/main" id="{D933C2AF-8E68-47DA-94DE-2E6EC5358234}"/>
              </a:ext>
            </a:extLst>
          </p:cNvPr>
          <p:cNvSpPr txBox="1"/>
          <p:nvPr>
            <p:custDataLst>
              <p:tags r:id="rId4"/>
            </p:custDataLst>
          </p:nvPr>
        </p:nvSpPr>
        <p:spPr>
          <a:xfrm flipH="1">
            <a:off x="96945" y="1117600"/>
            <a:ext cx="5973129" cy="4467407"/>
          </a:xfrm>
          <a:prstGeom prst="round1Rect">
            <a:avLst/>
          </a:prstGeom>
          <a:gradFill flip="none" rotWithShape="1">
            <a:gsLst>
              <a:gs pos="0">
                <a:schemeClr val="accent2">
                  <a:lumMod val="40000"/>
                  <a:lumOff val="60000"/>
                  <a:tint val="66000"/>
                  <a:satMod val="160000"/>
                </a:schemeClr>
              </a:gs>
              <a:gs pos="50000">
                <a:schemeClr val="accent2">
                  <a:lumMod val="40000"/>
                  <a:lumOff val="60000"/>
                  <a:tint val="44500"/>
                  <a:satMod val="160000"/>
                </a:schemeClr>
              </a:gs>
              <a:gs pos="100000">
                <a:schemeClr val="accent2">
                  <a:lumMod val="40000"/>
                  <a:lumOff val="60000"/>
                  <a:tint val="23500"/>
                  <a:satMod val="160000"/>
                </a:schemeClr>
              </a:gs>
            </a:gsLst>
            <a:lin ang="5400000" scaled="1"/>
            <a:tileRect/>
          </a:gradFill>
          <a:ln w="9525">
            <a:noFill/>
            <a:miter lim="800000"/>
            <a:headEnd/>
            <a:tailEnd/>
          </a:ln>
          <a:effectLst/>
        </p:spPr>
        <p:txBody>
          <a:bodyPr wrap="square" tIns="91440" bIns="91440" anchor="ctr">
            <a:noAutofit/>
          </a:bodyPr>
          <a:lstStyle>
            <a:defPPr>
              <a:defRPr lang="en-US"/>
            </a:defPPr>
            <a:lvl1pPr>
              <a:buClr>
                <a:schemeClr val="bg1"/>
              </a:buClr>
              <a:defRPr sz="1400" b="1">
                <a:solidFill>
                  <a:schemeClr val="bg1"/>
                </a:solidFill>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03D24"/>
              </a:buClr>
            </a:pPr>
            <a:endParaRPr lang="en-US" kern="1200" dirty="0">
              <a:ea typeface="+mn-ea"/>
              <a:cs typeface="+mn-cs"/>
            </a:endParaRPr>
          </a:p>
        </p:txBody>
      </p:sp>
      <p:cxnSp>
        <p:nvCxnSpPr>
          <p:cNvPr id="89" name="Straight Connector 88">
            <a:extLst>
              <a:ext uri="{FF2B5EF4-FFF2-40B4-BE49-F238E27FC236}">
                <a16:creationId xmlns:a16="http://schemas.microsoft.com/office/drawing/2014/main" id="{2518EB23-9825-4492-A711-5D06018E8070}"/>
              </a:ext>
            </a:extLst>
          </p:cNvPr>
          <p:cNvCxnSpPr>
            <a:cxnSpLocks/>
          </p:cNvCxnSpPr>
          <p:nvPr/>
        </p:nvCxnSpPr>
        <p:spPr>
          <a:xfrm flipH="1" flipV="1">
            <a:off x="6108884" y="1218837"/>
            <a:ext cx="44945" cy="4930896"/>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DFD3E56-DA5C-4B1D-A90B-970660C1E5F9}"/>
              </a:ext>
            </a:extLst>
          </p:cNvPr>
          <p:cNvSpPr>
            <a:spLocks noGrp="1"/>
          </p:cNvSpPr>
          <p:nvPr>
            <p:ph type="title"/>
          </p:nvPr>
        </p:nvSpPr>
        <p:spPr>
          <a:xfrm>
            <a:off x="233259" y="97995"/>
            <a:ext cx="11725484" cy="738664"/>
          </a:xfrm>
        </p:spPr>
        <p:txBody>
          <a:bodyPr/>
          <a:lstStyle/>
          <a:p>
            <a:r>
              <a:rPr lang="en-US" b="1" dirty="0"/>
              <a:t>Infection Prevention &amp; Control, Feb 2020: </a:t>
            </a:r>
            <a:r>
              <a:rPr lang="en-US" dirty="0"/>
              <a:t>Africa CDC supporting countries on IPC through capability building of 23 Member States and tailored technical assistance</a:t>
            </a:r>
          </a:p>
        </p:txBody>
      </p:sp>
      <p:sp>
        <p:nvSpPr>
          <p:cNvPr id="5" name="Freeform 9">
            <a:extLst>
              <a:ext uri="{FF2B5EF4-FFF2-40B4-BE49-F238E27FC236}">
                <a16:creationId xmlns:a16="http://schemas.microsoft.com/office/drawing/2014/main" id="{57D6F19E-F488-4FF0-829D-A7C43C57851A}"/>
              </a:ext>
            </a:extLst>
          </p:cNvPr>
          <p:cNvSpPr>
            <a:spLocks/>
          </p:cNvSpPr>
          <p:nvPr/>
        </p:nvSpPr>
        <p:spPr bwMode="gray">
          <a:xfrm>
            <a:off x="7255975" y="1462644"/>
            <a:ext cx="1297299" cy="1138699"/>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6" name="Freeform 10">
            <a:extLst>
              <a:ext uri="{FF2B5EF4-FFF2-40B4-BE49-F238E27FC236}">
                <a16:creationId xmlns:a16="http://schemas.microsoft.com/office/drawing/2014/main" id="{85FC82F2-BDB7-4828-8690-5E575A36E351}"/>
              </a:ext>
            </a:extLst>
          </p:cNvPr>
          <p:cNvSpPr>
            <a:spLocks noEditPoints="1"/>
          </p:cNvSpPr>
          <p:nvPr/>
        </p:nvSpPr>
        <p:spPr bwMode="gray">
          <a:xfrm>
            <a:off x="8532210" y="4065916"/>
            <a:ext cx="779370" cy="857432"/>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7" name="Freeform 11">
            <a:extLst>
              <a:ext uri="{FF2B5EF4-FFF2-40B4-BE49-F238E27FC236}">
                <a16:creationId xmlns:a16="http://schemas.microsoft.com/office/drawing/2014/main" id="{222CBB4C-4EF4-492C-A2FF-BCCBC1DE0FAF}"/>
              </a:ext>
            </a:extLst>
          </p:cNvPr>
          <p:cNvSpPr>
            <a:spLocks noEditPoints="1"/>
          </p:cNvSpPr>
          <p:nvPr/>
        </p:nvSpPr>
        <p:spPr bwMode="gray">
          <a:xfrm>
            <a:off x="6208967" y="2710381"/>
            <a:ext cx="168513" cy="152405"/>
          </a:xfrm>
          <a:custGeom>
            <a:avLst/>
            <a:gdLst>
              <a:gd name="T0" fmla="*/ 85 w 136"/>
              <a:gd name="T1" fmla="*/ 99 h 123"/>
              <a:gd name="T2" fmla="*/ 91 w 136"/>
              <a:gd name="T3" fmla="*/ 106 h 123"/>
              <a:gd name="T4" fmla="*/ 97 w 136"/>
              <a:gd name="T5" fmla="*/ 111 h 123"/>
              <a:gd name="T6" fmla="*/ 95 w 136"/>
              <a:gd name="T7" fmla="*/ 117 h 123"/>
              <a:gd name="T8" fmla="*/ 83 w 136"/>
              <a:gd name="T9" fmla="*/ 112 h 123"/>
              <a:gd name="T10" fmla="*/ 80 w 136"/>
              <a:gd name="T11" fmla="*/ 104 h 123"/>
              <a:gd name="T12" fmla="*/ 81 w 136"/>
              <a:gd name="T13" fmla="*/ 97 h 123"/>
              <a:gd name="T14" fmla="*/ 17 w 136"/>
              <a:gd name="T15" fmla="*/ 2 h 123"/>
              <a:gd name="T16" fmla="*/ 18 w 136"/>
              <a:gd name="T17" fmla="*/ 9 h 123"/>
              <a:gd name="T18" fmla="*/ 8 w 136"/>
              <a:gd name="T19" fmla="*/ 15 h 123"/>
              <a:gd name="T20" fmla="*/ 1 w 136"/>
              <a:gd name="T21" fmla="*/ 14 h 123"/>
              <a:gd name="T22" fmla="*/ 1 w 136"/>
              <a:gd name="T23" fmla="*/ 7 h 123"/>
              <a:gd name="T24" fmla="*/ 13 w 136"/>
              <a:gd name="T25" fmla="*/ 0 h 123"/>
              <a:gd name="T26" fmla="*/ 129 w 136"/>
              <a:gd name="T27" fmla="*/ 51 h 123"/>
              <a:gd name="T28" fmla="*/ 136 w 136"/>
              <a:gd name="T29" fmla="*/ 54 h 123"/>
              <a:gd name="T30" fmla="*/ 131 w 136"/>
              <a:gd name="T31" fmla="*/ 63 h 123"/>
              <a:gd name="T32" fmla="*/ 120 w 136"/>
              <a:gd name="T33" fmla="*/ 61 h 123"/>
              <a:gd name="T34" fmla="*/ 124 w 136"/>
              <a:gd name="T35" fmla="*/ 53 h 123"/>
              <a:gd name="T36" fmla="*/ 52 w 136"/>
              <a:gd name="T37" fmla="*/ 111 h 123"/>
              <a:gd name="T38" fmla="*/ 52 w 136"/>
              <a:gd name="T39" fmla="*/ 121 h 123"/>
              <a:gd name="T40" fmla="*/ 42 w 136"/>
              <a:gd name="T41" fmla="*/ 116 h 123"/>
              <a:gd name="T42" fmla="*/ 52 w 136"/>
              <a:gd name="T43" fmla="*/ 111 h 123"/>
              <a:gd name="T44" fmla="*/ 61 w 136"/>
              <a:gd name="T45" fmla="*/ 31 h 123"/>
              <a:gd name="T46" fmla="*/ 68 w 136"/>
              <a:gd name="T47" fmla="*/ 34 h 123"/>
              <a:gd name="T48" fmla="*/ 57 w 136"/>
              <a:gd name="T49" fmla="*/ 32 h 123"/>
              <a:gd name="T50" fmla="*/ 51 w 136"/>
              <a:gd name="T51" fmla="*/ 32 h 123"/>
              <a:gd name="T52" fmla="*/ 51 w 136"/>
              <a:gd name="T53" fmla="*/ 27 h 123"/>
              <a:gd name="T54" fmla="*/ 112 w 136"/>
              <a:gd name="T55" fmla="*/ 95 h 123"/>
              <a:gd name="T56" fmla="*/ 115 w 136"/>
              <a:gd name="T57" fmla="*/ 102 h 123"/>
              <a:gd name="T58" fmla="*/ 108 w 136"/>
              <a:gd name="T59" fmla="*/ 106 h 123"/>
              <a:gd name="T60" fmla="*/ 107 w 136"/>
              <a:gd name="T61" fmla="*/ 99 h 123"/>
              <a:gd name="T62" fmla="*/ 110 w 136"/>
              <a:gd name="T63" fmla="*/ 95 h 123"/>
              <a:gd name="T64" fmla="*/ 22 w 136"/>
              <a:gd name="T65" fmla="*/ 17 h 123"/>
              <a:gd name="T66" fmla="*/ 18 w 136"/>
              <a:gd name="T67" fmla="*/ 22 h 123"/>
              <a:gd name="T68" fmla="*/ 18 w 136"/>
              <a:gd name="T69" fmla="*/ 17 h 123"/>
              <a:gd name="T70" fmla="*/ 22 w 136"/>
              <a:gd name="T71" fmla="*/ 15 h 123"/>
              <a:gd name="T72" fmla="*/ 125 w 136"/>
              <a:gd name="T73" fmla="*/ 22 h 123"/>
              <a:gd name="T74" fmla="*/ 124 w 136"/>
              <a:gd name="T75" fmla="*/ 29 h 123"/>
              <a:gd name="T76" fmla="*/ 124 w 136"/>
              <a:gd name="T77" fmla="*/ 32 h 123"/>
              <a:gd name="T78" fmla="*/ 120 w 136"/>
              <a:gd name="T79" fmla="*/ 26 h 123"/>
              <a:gd name="T80" fmla="*/ 120 w 136"/>
              <a:gd name="T81" fmla="*/ 20 h 123"/>
              <a:gd name="T82" fmla="*/ 35 w 136"/>
              <a:gd name="T83" fmla="*/ 121 h 123"/>
              <a:gd name="T84" fmla="*/ 30 w 136"/>
              <a:gd name="T85" fmla="*/ 119 h 123"/>
              <a:gd name="T86" fmla="*/ 34 w 136"/>
              <a:gd name="T87" fmla="*/ 117 h 123"/>
              <a:gd name="T88" fmla="*/ 32 w 136"/>
              <a:gd name="T89" fmla="*/ 24 h 123"/>
              <a:gd name="T90" fmla="*/ 29 w 136"/>
              <a:gd name="T91" fmla="*/ 22 h 123"/>
              <a:gd name="T92" fmla="*/ 37 w 136"/>
              <a:gd name="T93" fmla="*/ 31 h 123"/>
              <a:gd name="T94" fmla="*/ 34 w 136"/>
              <a:gd name="T95" fmla="*/ 27 h 123"/>
              <a:gd name="T96" fmla="*/ 34 w 136"/>
              <a:gd name="T97" fmla="*/ 29 h 123"/>
              <a:gd name="T98" fmla="*/ 124 w 136"/>
              <a:gd name="T99" fmla="*/ 53 h 123"/>
              <a:gd name="T100" fmla="*/ 37 w 136"/>
              <a:gd name="T10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23">
                <a:moveTo>
                  <a:pt x="85" y="95"/>
                </a:moveTo>
                <a:lnTo>
                  <a:pt x="85" y="97"/>
                </a:lnTo>
                <a:lnTo>
                  <a:pt x="85" y="99"/>
                </a:lnTo>
                <a:lnTo>
                  <a:pt x="88" y="100"/>
                </a:lnTo>
                <a:lnTo>
                  <a:pt x="90" y="104"/>
                </a:lnTo>
                <a:lnTo>
                  <a:pt x="91" y="106"/>
                </a:lnTo>
                <a:lnTo>
                  <a:pt x="93" y="106"/>
                </a:lnTo>
                <a:lnTo>
                  <a:pt x="95" y="109"/>
                </a:lnTo>
                <a:lnTo>
                  <a:pt x="97" y="111"/>
                </a:lnTo>
                <a:lnTo>
                  <a:pt x="97" y="112"/>
                </a:lnTo>
                <a:lnTo>
                  <a:pt x="97" y="114"/>
                </a:lnTo>
                <a:lnTo>
                  <a:pt x="95" y="117"/>
                </a:lnTo>
                <a:lnTo>
                  <a:pt x="93" y="117"/>
                </a:lnTo>
                <a:lnTo>
                  <a:pt x="88" y="117"/>
                </a:lnTo>
                <a:lnTo>
                  <a:pt x="83" y="112"/>
                </a:lnTo>
                <a:lnTo>
                  <a:pt x="80" y="109"/>
                </a:lnTo>
                <a:lnTo>
                  <a:pt x="81" y="106"/>
                </a:lnTo>
                <a:lnTo>
                  <a:pt x="80" y="104"/>
                </a:lnTo>
                <a:lnTo>
                  <a:pt x="81" y="100"/>
                </a:lnTo>
                <a:lnTo>
                  <a:pt x="80" y="97"/>
                </a:lnTo>
                <a:lnTo>
                  <a:pt x="81" y="97"/>
                </a:lnTo>
                <a:lnTo>
                  <a:pt x="81" y="95"/>
                </a:lnTo>
                <a:lnTo>
                  <a:pt x="85" y="95"/>
                </a:lnTo>
                <a:close/>
                <a:moveTo>
                  <a:pt x="17" y="2"/>
                </a:moveTo>
                <a:lnTo>
                  <a:pt x="18" y="5"/>
                </a:lnTo>
                <a:lnTo>
                  <a:pt x="20" y="5"/>
                </a:lnTo>
                <a:lnTo>
                  <a:pt x="18" y="9"/>
                </a:lnTo>
                <a:lnTo>
                  <a:pt x="15" y="10"/>
                </a:lnTo>
                <a:lnTo>
                  <a:pt x="13" y="10"/>
                </a:lnTo>
                <a:lnTo>
                  <a:pt x="8" y="15"/>
                </a:lnTo>
                <a:lnTo>
                  <a:pt x="5" y="15"/>
                </a:lnTo>
                <a:lnTo>
                  <a:pt x="3" y="15"/>
                </a:lnTo>
                <a:lnTo>
                  <a:pt x="1" y="14"/>
                </a:lnTo>
                <a:lnTo>
                  <a:pt x="1" y="10"/>
                </a:lnTo>
                <a:lnTo>
                  <a:pt x="0" y="9"/>
                </a:lnTo>
                <a:lnTo>
                  <a:pt x="1" y="7"/>
                </a:lnTo>
                <a:lnTo>
                  <a:pt x="5" y="5"/>
                </a:lnTo>
                <a:lnTo>
                  <a:pt x="8" y="3"/>
                </a:lnTo>
                <a:lnTo>
                  <a:pt x="13" y="0"/>
                </a:lnTo>
                <a:lnTo>
                  <a:pt x="17" y="2"/>
                </a:lnTo>
                <a:close/>
                <a:moveTo>
                  <a:pt x="125" y="51"/>
                </a:moveTo>
                <a:lnTo>
                  <a:pt x="129" y="51"/>
                </a:lnTo>
                <a:lnTo>
                  <a:pt x="131" y="49"/>
                </a:lnTo>
                <a:lnTo>
                  <a:pt x="134" y="51"/>
                </a:lnTo>
                <a:lnTo>
                  <a:pt x="136" y="54"/>
                </a:lnTo>
                <a:lnTo>
                  <a:pt x="136" y="58"/>
                </a:lnTo>
                <a:lnTo>
                  <a:pt x="136" y="60"/>
                </a:lnTo>
                <a:lnTo>
                  <a:pt x="131" y="63"/>
                </a:lnTo>
                <a:lnTo>
                  <a:pt x="129" y="63"/>
                </a:lnTo>
                <a:lnTo>
                  <a:pt x="125" y="63"/>
                </a:lnTo>
                <a:lnTo>
                  <a:pt x="120" y="61"/>
                </a:lnTo>
                <a:lnTo>
                  <a:pt x="122" y="58"/>
                </a:lnTo>
                <a:lnTo>
                  <a:pt x="124" y="56"/>
                </a:lnTo>
                <a:lnTo>
                  <a:pt x="124" y="53"/>
                </a:lnTo>
                <a:lnTo>
                  <a:pt x="124" y="49"/>
                </a:lnTo>
                <a:lnTo>
                  <a:pt x="125" y="51"/>
                </a:lnTo>
                <a:close/>
                <a:moveTo>
                  <a:pt x="52" y="111"/>
                </a:moveTo>
                <a:lnTo>
                  <a:pt x="54" y="112"/>
                </a:lnTo>
                <a:lnTo>
                  <a:pt x="54" y="119"/>
                </a:lnTo>
                <a:lnTo>
                  <a:pt x="52" y="121"/>
                </a:lnTo>
                <a:lnTo>
                  <a:pt x="49" y="123"/>
                </a:lnTo>
                <a:lnTo>
                  <a:pt x="44" y="119"/>
                </a:lnTo>
                <a:lnTo>
                  <a:pt x="42" y="116"/>
                </a:lnTo>
                <a:lnTo>
                  <a:pt x="44" y="112"/>
                </a:lnTo>
                <a:lnTo>
                  <a:pt x="49" y="111"/>
                </a:lnTo>
                <a:lnTo>
                  <a:pt x="52" y="111"/>
                </a:lnTo>
                <a:close/>
                <a:moveTo>
                  <a:pt x="54" y="29"/>
                </a:moveTo>
                <a:lnTo>
                  <a:pt x="57" y="29"/>
                </a:lnTo>
                <a:lnTo>
                  <a:pt x="61" y="31"/>
                </a:lnTo>
                <a:lnTo>
                  <a:pt x="66" y="31"/>
                </a:lnTo>
                <a:lnTo>
                  <a:pt x="68" y="32"/>
                </a:lnTo>
                <a:lnTo>
                  <a:pt x="68" y="34"/>
                </a:lnTo>
                <a:lnTo>
                  <a:pt x="63" y="34"/>
                </a:lnTo>
                <a:lnTo>
                  <a:pt x="59" y="32"/>
                </a:lnTo>
                <a:lnTo>
                  <a:pt x="57" y="32"/>
                </a:lnTo>
                <a:lnTo>
                  <a:pt x="54" y="34"/>
                </a:lnTo>
                <a:lnTo>
                  <a:pt x="52" y="37"/>
                </a:lnTo>
                <a:lnTo>
                  <a:pt x="51" y="32"/>
                </a:lnTo>
                <a:lnTo>
                  <a:pt x="47" y="31"/>
                </a:lnTo>
                <a:lnTo>
                  <a:pt x="47" y="29"/>
                </a:lnTo>
                <a:lnTo>
                  <a:pt x="51" y="27"/>
                </a:lnTo>
                <a:lnTo>
                  <a:pt x="54" y="29"/>
                </a:lnTo>
                <a:close/>
                <a:moveTo>
                  <a:pt x="110" y="95"/>
                </a:moveTo>
                <a:lnTo>
                  <a:pt x="112" y="95"/>
                </a:lnTo>
                <a:lnTo>
                  <a:pt x="112" y="97"/>
                </a:lnTo>
                <a:lnTo>
                  <a:pt x="114" y="97"/>
                </a:lnTo>
                <a:lnTo>
                  <a:pt x="115" y="102"/>
                </a:lnTo>
                <a:lnTo>
                  <a:pt x="115" y="104"/>
                </a:lnTo>
                <a:lnTo>
                  <a:pt x="112" y="107"/>
                </a:lnTo>
                <a:lnTo>
                  <a:pt x="108" y="106"/>
                </a:lnTo>
                <a:lnTo>
                  <a:pt x="107" y="104"/>
                </a:lnTo>
                <a:lnTo>
                  <a:pt x="108" y="100"/>
                </a:lnTo>
                <a:lnTo>
                  <a:pt x="107" y="99"/>
                </a:lnTo>
                <a:lnTo>
                  <a:pt x="108" y="97"/>
                </a:lnTo>
                <a:lnTo>
                  <a:pt x="110" y="97"/>
                </a:lnTo>
                <a:lnTo>
                  <a:pt x="110" y="95"/>
                </a:lnTo>
                <a:close/>
                <a:moveTo>
                  <a:pt x="22" y="15"/>
                </a:moveTo>
                <a:lnTo>
                  <a:pt x="23" y="15"/>
                </a:lnTo>
                <a:lnTo>
                  <a:pt x="22" y="17"/>
                </a:lnTo>
                <a:lnTo>
                  <a:pt x="25" y="19"/>
                </a:lnTo>
                <a:lnTo>
                  <a:pt x="25" y="20"/>
                </a:lnTo>
                <a:lnTo>
                  <a:pt x="18" y="22"/>
                </a:lnTo>
                <a:lnTo>
                  <a:pt x="13" y="20"/>
                </a:lnTo>
                <a:lnTo>
                  <a:pt x="15" y="17"/>
                </a:lnTo>
                <a:lnTo>
                  <a:pt x="18" y="17"/>
                </a:lnTo>
                <a:lnTo>
                  <a:pt x="18" y="15"/>
                </a:lnTo>
                <a:lnTo>
                  <a:pt x="20" y="15"/>
                </a:lnTo>
                <a:lnTo>
                  <a:pt x="22" y="15"/>
                </a:lnTo>
                <a:close/>
                <a:moveTo>
                  <a:pt x="125" y="19"/>
                </a:moveTo>
                <a:lnTo>
                  <a:pt x="124" y="20"/>
                </a:lnTo>
                <a:lnTo>
                  <a:pt x="125" y="22"/>
                </a:lnTo>
                <a:lnTo>
                  <a:pt x="124" y="24"/>
                </a:lnTo>
                <a:lnTo>
                  <a:pt x="125" y="27"/>
                </a:lnTo>
                <a:lnTo>
                  <a:pt x="124" y="29"/>
                </a:lnTo>
                <a:lnTo>
                  <a:pt x="125" y="32"/>
                </a:lnTo>
                <a:lnTo>
                  <a:pt x="124" y="31"/>
                </a:lnTo>
                <a:lnTo>
                  <a:pt x="124" y="32"/>
                </a:lnTo>
                <a:lnTo>
                  <a:pt x="122" y="29"/>
                </a:lnTo>
                <a:lnTo>
                  <a:pt x="122" y="27"/>
                </a:lnTo>
                <a:lnTo>
                  <a:pt x="120" y="26"/>
                </a:lnTo>
                <a:lnTo>
                  <a:pt x="120" y="24"/>
                </a:lnTo>
                <a:lnTo>
                  <a:pt x="119" y="22"/>
                </a:lnTo>
                <a:lnTo>
                  <a:pt x="120" y="20"/>
                </a:lnTo>
                <a:lnTo>
                  <a:pt x="124" y="19"/>
                </a:lnTo>
                <a:lnTo>
                  <a:pt x="125" y="19"/>
                </a:lnTo>
                <a:close/>
                <a:moveTo>
                  <a:pt x="35" y="121"/>
                </a:moveTo>
                <a:lnTo>
                  <a:pt x="34" y="123"/>
                </a:lnTo>
                <a:lnTo>
                  <a:pt x="30" y="121"/>
                </a:lnTo>
                <a:lnTo>
                  <a:pt x="30" y="119"/>
                </a:lnTo>
                <a:lnTo>
                  <a:pt x="32" y="119"/>
                </a:lnTo>
                <a:lnTo>
                  <a:pt x="32" y="117"/>
                </a:lnTo>
                <a:lnTo>
                  <a:pt x="34" y="117"/>
                </a:lnTo>
                <a:lnTo>
                  <a:pt x="35" y="121"/>
                </a:lnTo>
                <a:close/>
                <a:moveTo>
                  <a:pt x="30" y="22"/>
                </a:moveTo>
                <a:lnTo>
                  <a:pt x="32" y="24"/>
                </a:lnTo>
                <a:lnTo>
                  <a:pt x="34" y="24"/>
                </a:lnTo>
                <a:lnTo>
                  <a:pt x="30" y="24"/>
                </a:lnTo>
                <a:lnTo>
                  <a:pt x="29" y="22"/>
                </a:lnTo>
                <a:lnTo>
                  <a:pt x="29" y="20"/>
                </a:lnTo>
                <a:lnTo>
                  <a:pt x="30" y="22"/>
                </a:lnTo>
                <a:close/>
                <a:moveTo>
                  <a:pt x="37" y="31"/>
                </a:moveTo>
                <a:lnTo>
                  <a:pt x="39" y="31"/>
                </a:lnTo>
                <a:lnTo>
                  <a:pt x="37" y="31"/>
                </a:lnTo>
                <a:close/>
                <a:moveTo>
                  <a:pt x="34" y="27"/>
                </a:moveTo>
                <a:lnTo>
                  <a:pt x="35" y="27"/>
                </a:lnTo>
                <a:lnTo>
                  <a:pt x="35" y="29"/>
                </a:lnTo>
                <a:lnTo>
                  <a:pt x="34" y="29"/>
                </a:lnTo>
                <a:lnTo>
                  <a:pt x="34" y="27"/>
                </a:lnTo>
                <a:close/>
                <a:moveTo>
                  <a:pt x="122" y="53"/>
                </a:moveTo>
                <a:lnTo>
                  <a:pt x="124" y="53"/>
                </a:lnTo>
                <a:lnTo>
                  <a:pt x="122" y="53"/>
                </a:lnTo>
                <a:close/>
                <a:moveTo>
                  <a:pt x="35" y="114"/>
                </a:moveTo>
                <a:lnTo>
                  <a:pt x="37" y="114"/>
                </a:lnTo>
                <a:lnTo>
                  <a:pt x="35" y="1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8" name="Freeform 12">
            <a:extLst>
              <a:ext uri="{FF2B5EF4-FFF2-40B4-BE49-F238E27FC236}">
                <a16:creationId xmlns:a16="http://schemas.microsoft.com/office/drawing/2014/main" id="{C4472D43-0E2A-47E7-A80B-C4D8A21C733C}"/>
              </a:ext>
            </a:extLst>
          </p:cNvPr>
          <p:cNvSpPr>
            <a:spLocks/>
          </p:cNvSpPr>
          <p:nvPr/>
        </p:nvSpPr>
        <p:spPr bwMode="gray">
          <a:xfrm>
            <a:off x="7849487" y="3011473"/>
            <a:ext cx="192054" cy="387827"/>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9" name="Freeform 13">
            <a:extLst>
              <a:ext uri="{FF2B5EF4-FFF2-40B4-BE49-F238E27FC236}">
                <a16:creationId xmlns:a16="http://schemas.microsoft.com/office/drawing/2014/main" id="{3BF11D14-8113-474F-9CAC-3A393B4520D0}"/>
              </a:ext>
            </a:extLst>
          </p:cNvPr>
          <p:cNvSpPr>
            <a:spLocks/>
          </p:cNvSpPr>
          <p:nvPr/>
        </p:nvSpPr>
        <p:spPr bwMode="gray">
          <a:xfrm>
            <a:off x="9053856" y="4908479"/>
            <a:ext cx="588555" cy="571208"/>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0" name="Freeform 14">
            <a:extLst>
              <a:ext uri="{FF2B5EF4-FFF2-40B4-BE49-F238E27FC236}">
                <a16:creationId xmlns:a16="http://schemas.microsoft.com/office/drawing/2014/main" id="{EE98AE80-DC53-4F66-BFDF-1D6961A6DD86}"/>
              </a:ext>
            </a:extLst>
          </p:cNvPr>
          <p:cNvSpPr>
            <a:spLocks/>
          </p:cNvSpPr>
          <p:nvPr/>
        </p:nvSpPr>
        <p:spPr bwMode="gray">
          <a:xfrm>
            <a:off x="7452986" y="2845439"/>
            <a:ext cx="498103" cy="355611"/>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1" name="Freeform 15">
            <a:extLst>
              <a:ext uri="{FF2B5EF4-FFF2-40B4-BE49-F238E27FC236}">
                <a16:creationId xmlns:a16="http://schemas.microsoft.com/office/drawing/2014/main" id="{316F73B3-C1AE-4D11-B7D2-07E337607666}"/>
              </a:ext>
            </a:extLst>
          </p:cNvPr>
          <p:cNvSpPr>
            <a:spLocks/>
          </p:cNvSpPr>
          <p:nvPr/>
        </p:nvSpPr>
        <p:spPr bwMode="gray">
          <a:xfrm>
            <a:off x="9618869" y="3937053"/>
            <a:ext cx="115232" cy="135058"/>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2" name="Freeform 16">
            <a:extLst>
              <a:ext uri="{FF2B5EF4-FFF2-40B4-BE49-F238E27FC236}">
                <a16:creationId xmlns:a16="http://schemas.microsoft.com/office/drawing/2014/main" id="{44D26229-FB80-41DA-968F-E244F44477FB}"/>
              </a:ext>
            </a:extLst>
          </p:cNvPr>
          <p:cNvSpPr>
            <a:spLocks noEditPoints="1"/>
          </p:cNvSpPr>
          <p:nvPr/>
        </p:nvSpPr>
        <p:spPr bwMode="gray">
          <a:xfrm>
            <a:off x="8340156" y="2969345"/>
            <a:ext cx="475800" cy="718656"/>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3" name="Freeform 17">
            <a:extLst>
              <a:ext uri="{FF2B5EF4-FFF2-40B4-BE49-F238E27FC236}">
                <a16:creationId xmlns:a16="http://schemas.microsoft.com/office/drawing/2014/main" id="{1580291A-1C6F-454A-B845-84503F705FBE}"/>
              </a:ext>
            </a:extLst>
          </p:cNvPr>
          <p:cNvSpPr>
            <a:spLocks noEditPoints="1"/>
          </p:cNvSpPr>
          <p:nvPr/>
        </p:nvSpPr>
        <p:spPr bwMode="gray">
          <a:xfrm>
            <a:off x="8333960" y="3488513"/>
            <a:ext cx="12391" cy="21064"/>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4" name="Freeform 18">
            <a:extLst>
              <a:ext uri="{FF2B5EF4-FFF2-40B4-BE49-F238E27FC236}">
                <a16:creationId xmlns:a16="http://schemas.microsoft.com/office/drawing/2014/main" id="{A9C3EB60-3008-4DC9-A69D-5D4A0F99693F}"/>
              </a:ext>
            </a:extLst>
          </p:cNvPr>
          <p:cNvSpPr>
            <a:spLocks/>
          </p:cNvSpPr>
          <p:nvPr/>
        </p:nvSpPr>
        <p:spPr bwMode="gray">
          <a:xfrm>
            <a:off x="8704440" y="3100686"/>
            <a:ext cx="817782" cy="551383"/>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5" name="Freeform 19">
            <a:extLst>
              <a:ext uri="{FF2B5EF4-FFF2-40B4-BE49-F238E27FC236}">
                <a16:creationId xmlns:a16="http://schemas.microsoft.com/office/drawing/2014/main" id="{9E31A222-BFC8-43B5-9B8F-07FD6BE3407C}"/>
              </a:ext>
            </a:extLst>
          </p:cNvPr>
          <p:cNvSpPr>
            <a:spLocks/>
          </p:cNvSpPr>
          <p:nvPr/>
        </p:nvSpPr>
        <p:spPr bwMode="gray">
          <a:xfrm>
            <a:off x="8644965" y="2318837"/>
            <a:ext cx="660420" cy="1004880"/>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6" name="Freeform 20">
            <a:extLst>
              <a:ext uri="{FF2B5EF4-FFF2-40B4-BE49-F238E27FC236}">
                <a16:creationId xmlns:a16="http://schemas.microsoft.com/office/drawing/2014/main" id="{095A8ADD-1739-4027-9718-5BE4C1D8A030}"/>
              </a:ext>
            </a:extLst>
          </p:cNvPr>
          <p:cNvSpPr>
            <a:spLocks noEditPoints="1"/>
          </p:cNvSpPr>
          <p:nvPr/>
        </p:nvSpPr>
        <p:spPr bwMode="gray">
          <a:xfrm>
            <a:off x="10512233" y="4504544"/>
            <a:ext cx="81778" cy="66909"/>
          </a:xfrm>
          <a:custGeom>
            <a:avLst/>
            <a:gdLst>
              <a:gd name="T0" fmla="*/ 8 w 66"/>
              <a:gd name="T1" fmla="*/ 1 h 54"/>
              <a:gd name="T2" fmla="*/ 10 w 66"/>
              <a:gd name="T3" fmla="*/ 3 h 54"/>
              <a:gd name="T4" fmla="*/ 8 w 66"/>
              <a:gd name="T5" fmla="*/ 15 h 54"/>
              <a:gd name="T6" fmla="*/ 12 w 66"/>
              <a:gd name="T7" fmla="*/ 20 h 54"/>
              <a:gd name="T8" fmla="*/ 12 w 66"/>
              <a:gd name="T9" fmla="*/ 23 h 54"/>
              <a:gd name="T10" fmla="*/ 15 w 66"/>
              <a:gd name="T11" fmla="*/ 27 h 54"/>
              <a:gd name="T12" fmla="*/ 13 w 66"/>
              <a:gd name="T13" fmla="*/ 29 h 54"/>
              <a:gd name="T14" fmla="*/ 12 w 66"/>
              <a:gd name="T15" fmla="*/ 30 h 54"/>
              <a:gd name="T16" fmla="*/ 10 w 66"/>
              <a:gd name="T17" fmla="*/ 29 h 54"/>
              <a:gd name="T18" fmla="*/ 8 w 66"/>
              <a:gd name="T19" fmla="*/ 25 h 54"/>
              <a:gd name="T20" fmla="*/ 3 w 66"/>
              <a:gd name="T21" fmla="*/ 25 h 54"/>
              <a:gd name="T22" fmla="*/ 0 w 66"/>
              <a:gd name="T23" fmla="*/ 20 h 54"/>
              <a:gd name="T24" fmla="*/ 0 w 66"/>
              <a:gd name="T25" fmla="*/ 18 h 54"/>
              <a:gd name="T26" fmla="*/ 1 w 66"/>
              <a:gd name="T27" fmla="*/ 17 h 54"/>
              <a:gd name="T28" fmla="*/ 1 w 66"/>
              <a:gd name="T29" fmla="*/ 3 h 54"/>
              <a:gd name="T30" fmla="*/ 3 w 66"/>
              <a:gd name="T31" fmla="*/ 1 h 54"/>
              <a:gd name="T32" fmla="*/ 6 w 66"/>
              <a:gd name="T33" fmla="*/ 0 h 54"/>
              <a:gd name="T34" fmla="*/ 8 w 66"/>
              <a:gd name="T35" fmla="*/ 1 h 54"/>
              <a:gd name="T36" fmla="*/ 66 w 66"/>
              <a:gd name="T37" fmla="*/ 46 h 54"/>
              <a:gd name="T38" fmla="*/ 66 w 66"/>
              <a:gd name="T39" fmla="*/ 47 h 54"/>
              <a:gd name="T40" fmla="*/ 66 w 66"/>
              <a:gd name="T41" fmla="*/ 51 h 54"/>
              <a:gd name="T42" fmla="*/ 66 w 66"/>
              <a:gd name="T43" fmla="*/ 52 h 54"/>
              <a:gd name="T44" fmla="*/ 64 w 66"/>
              <a:gd name="T45" fmla="*/ 52 h 54"/>
              <a:gd name="T46" fmla="*/ 64 w 66"/>
              <a:gd name="T47" fmla="*/ 51 h 54"/>
              <a:gd name="T48" fmla="*/ 59 w 66"/>
              <a:gd name="T49" fmla="*/ 47 h 54"/>
              <a:gd name="T50" fmla="*/ 59 w 66"/>
              <a:gd name="T51" fmla="*/ 46 h 54"/>
              <a:gd name="T52" fmla="*/ 56 w 66"/>
              <a:gd name="T53" fmla="*/ 46 h 54"/>
              <a:gd name="T54" fmla="*/ 49 w 66"/>
              <a:gd name="T55" fmla="*/ 40 h 54"/>
              <a:gd name="T56" fmla="*/ 54 w 66"/>
              <a:gd name="T57" fmla="*/ 42 h 54"/>
              <a:gd name="T58" fmla="*/ 57 w 66"/>
              <a:gd name="T59" fmla="*/ 42 h 54"/>
              <a:gd name="T60" fmla="*/ 61 w 66"/>
              <a:gd name="T61" fmla="*/ 40 h 54"/>
              <a:gd name="T62" fmla="*/ 61 w 66"/>
              <a:gd name="T63" fmla="*/ 39 h 54"/>
              <a:gd name="T64" fmla="*/ 61 w 66"/>
              <a:gd name="T65" fmla="*/ 37 h 54"/>
              <a:gd name="T66" fmla="*/ 63 w 66"/>
              <a:gd name="T67" fmla="*/ 35 h 54"/>
              <a:gd name="T68" fmla="*/ 64 w 66"/>
              <a:gd name="T69" fmla="*/ 37 h 54"/>
              <a:gd name="T70" fmla="*/ 64 w 66"/>
              <a:gd name="T71" fmla="*/ 39 h 54"/>
              <a:gd name="T72" fmla="*/ 66 w 66"/>
              <a:gd name="T73" fmla="*/ 46 h 54"/>
              <a:gd name="T74" fmla="*/ 25 w 66"/>
              <a:gd name="T75" fmla="*/ 46 h 54"/>
              <a:gd name="T76" fmla="*/ 32 w 66"/>
              <a:gd name="T77" fmla="*/ 51 h 54"/>
              <a:gd name="T78" fmla="*/ 32 w 66"/>
              <a:gd name="T79" fmla="*/ 52 h 54"/>
              <a:gd name="T80" fmla="*/ 29 w 66"/>
              <a:gd name="T81" fmla="*/ 51 h 54"/>
              <a:gd name="T82" fmla="*/ 27 w 66"/>
              <a:gd name="T83" fmla="*/ 52 h 54"/>
              <a:gd name="T84" fmla="*/ 27 w 66"/>
              <a:gd name="T85" fmla="*/ 51 h 54"/>
              <a:gd name="T86" fmla="*/ 22 w 66"/>
              <a:gd name="T87" fmla="*/ 51 h 54"/>
              <a:gd name="T88" fmla="*/ 22 w 66"/>
              <a:gd name="T89" fmla="*/ 49 h 54"/>
              <a:gd name="T90" fmla="*/ 20 w 66"/>
              <a:gd name="T91" fmla="*/ 49 h 54"/>
              <a:gd name="T92" fmla="*/ 20 w 66"/>
              <a:gd name="T93" fmla="*/ 46 h 54"/>
              <a:gd name="T94" fmla="*/ 22 w 66"/>
              <a:gd name="T95" fmla="*/ 46 h 54"/>
              <a:gd name="T96" fmla="*/ 25 w 66"/>
              <a:gd name="T97" fmla="*/ 46 h 54"/>
              <a:gd name="T98" fmla="*/ 22 w 66"/>
              <a:gd name="T99" fmla="*/ 52 h 54"/>
              <a:gd name="T100" fmla="*/ 22 w 66"/>
              <a:gd name="T101" fmla="*/ 54 h 54"/>
              <a:gd name="T102" fmla="*/ 22 w 66"/>
              <a:gd name="T103" fmla="*/ 52 h 54"/>
              <a:gd name="T104" fmla="*/ 23 w 66"/>
              <a:gd name="T105" fmla="*/ 52 h 54"/>
              <a:gd name="T106" fmla="*/ 25 w 66"/>
              <a:gd name="T107" fmla="*/ 52 h 54"/>
              <a:gd name="T108" fmla="*/ 25 w 66"/>
              <a:gd name="T109" fmla="*/ 54 h 54"/>
              <a:gd name="T110" fmla="*/ 23 w 66"/>
              <a:gd name="T111" fmla="*/ 54 h 54"/>
              <a:gd name="T112" fmla="*/ 23 w 66"/>
              <a:gd name="T113" fmla="*/ 52 h 54"/>
              <a:gd name="T114" fmla="*/ 25 w 66"/>
              <a:gd name="T115" fmla="*/ 52 h 54"/>
              <a:gd name="T116" fmla="*/ 25 w 66"/>
              <a:gd name="T117" fmla="*/ 54 h 54"/>
              <a:gd name="T118" fmla="*/ 25 w 66"/>
              <a:gd name="T11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54">
                <a:moveTo>
                  <a:pt x="8" y="1"/>
                </a:moveTo>
                <a:lnTo>
                  <a:pt x="10" y="3"/>
                </a:lnTo>
                <a:lnTo>
                  <a:pt x="8" y="15"/>
                </a:lnTo>
                <a:lnTo>
                  <a:pt x="12" y="20"/>
                </a:lnTo>
                <a:lnTo>
                  <a:pt x="12" y="23"/>
                </a:lnTo>
                <a:lnTo>
                  <a:pt x="15" y="27"/>
                </a:lnTo>
                <a:lnTo>
                  <a:pt x="13" y="29"/>
                </a:lnTo>
                <a:lnTo>
                  <a:pt x="12" y="30"/>
                </a:lnTo>
                <a:lnTo>
                  <a:pt x="10" y="29"/>
                </a:lnTo>
                <a:lnTo>
                  <a:pt x="8" y="25"/>
                </a:lnTo>
                <a:lnTo>
                  <a:pt x="3" y="25"/>
                </a:lnTo>
                <a:lnTo>
                  <a:pt x="0" y="20"/>
                </a:lnTo>
                <a:lnTo>
                  <a:pt x="0" y="18"/>
                </a:lnTo>
                <a:lnTo>
                  <a:pt x="1" y="17"/>
                </a:lnTo>
                <a:lnTo>
                  <a:pt x="1" y="3"/>
                </a:lnTo>
                <a:lnTo>
                  <a:pt x="3" y="1"/>
                </a:lnTo>
                <a:lnTo>
                  <a:pt x="6" y="0"/>
                </a:lnTo>
                <a:lnTo>
                  <a:pt x="8" y="1"/>
                </a:lnTo>
                <a:close/>
                <a:moveTo>
                  <a:pt x="66" y="46"/>
                </a:moveTo>
                <a:lnTo>
                  <a:pt x="66" y="47"/>
                </a:lnTo>
                <a:lnTo>
                  <a:pt x="66" y="51"/>
                </a:lnTo>
                <a:lnTo>
                  <a:pt x="66" y="52"/>
                </a:lnTo>
                <a:lnTo>
                  <a:pt x="64" y="52"/>
                </a:lnTo>
                <a:lnTo>
                  <a:pt x="64" y="51"/>
                </a:lnTo>
                <a:lnTo>
                  <a:pt x="59" y="47"/>
                </a:lnTo>
                <a:lnTo>
                  <a:pt x="59" y="46"/>
                </a:lnTo>
                <a:lnTo>
                  <a:pt x="56" y="46"/>
                </a:lnTo>
                <a:lnTo>
                  <a:pt x="49" y="40"/>
                </a:lnTo>
                <a:lnTo>
                  <a:pt x="54" y="42"/>
                </a:lnTo>
                <a:lnTo>
                  <a:pt x="57" y="42"/>
                </a:lnTo>
                <a:lnTo>
                  <a:pt x="61" y="40"/>
                </a:lnTo>
                <a:lnTo>
                  <a:pt x="61" y="39"/>
                </a:lnTo>
                <a:lnTo>
                  <a:pt x="61" y="37"/>
                </a:lnTo>
                <a:lnTo>
                  <a:pt x="63" y="35"/>
                </a:lnTo>
                <a:lnTo>
                  <a:pt x="64" y="37"/>
                </a:lnTo>
                <a:lnTo>
                  <a:pt x="64" y="39"/>
                </a:lnTo>
                <a:lnTo>
                  <a:pt x="66" y="46"/>
                </a:lnTo>
                <a:close/>
                <a:moveTo>
                  <a:pt x="25" y="46"/>
                </a:moveTo>
                <a:lnTo>
                  <a:pt x="32" y="51"/>
                </a:lnTo>
                <a:lnTo>
                  <a:pt x="32" y="52"/>
                </a:lnTo>
                <a:lnTo>
                  <a:pt x="29" y="51"/>
                </a:lnTo>
                <a:lnTo>
                  <a:pt x="27" y="52"/>
                </a:lnTo>
                <a:lnTo>
                  <a:pt x="27" y="51"/>
                </a:lnTo>
                <a:lnTo>
                  <a:pt x="22" y="51"/>
                </a:lnTo>
                <a:lnTo>
                  <a:pt x="22" y="49"/>
                </a:lnTo>
                <a:lnTo>
                  <a:pt x="20" y="49"/>
                </a:lnTo>
                <a:lnTo>
                  <a:pt x="20" y="46"/>
                </a:lnTo>
                <a:lnTo>
                  <a:pt x="22" y="46"/>
                </a:lnTo>
                <a:lnTo>
                  <a:pt x="25" y="46"/>
                </a:lnTo>
                <a:close/>
                <a:moveTo>
                  <a:pt x="22" y="52"/>
                </a:moveTo>
                <a:lnTo>
                  <a:pt x="22" y="54"/>
                </a:lnTo>
                <a:lnTo>
                  <a:pt x="22" y="52"/>
                </a:lnTo>
                <a:close/>
                <a:moveTo>
                  <a:pt x="23" y="52"/>
                </a:moveTo>
                <a:lnTo>
                  <a:pt x="25" y="52"/>
                </a:lnTo>
                <a:lnTo>
                  <a:pt x="25" y="54"/>
                </a:lnTo>
                <a:lnTo>
                  <a:pt x="23" y="54"/>
                </a:lnTo>
                <a:lnTo>
                  <a:pt x="23" y="52"/>
                </a:lnTo>
                <a:close/>
                <a:moveTo>
                  <a:pt x="25" y="52"/>
                </a:moveTo>
                <a:lnTo>
                  <a:pt x="25" y="54"/>
                </a:lnTo>
                <a:lnTo>
                  <a:pt x="25" y="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7" name="Freeform 21">
            <a:extLst>
              <a:ext uri="{FF2B5EF4-FFF2-40B4-BE49-F238E27FC236}">
                <a16:creationId xmlns:a16="http://schemas.microsoft.com/office/drawing/2014/main" id="{67490D00-239C-4792-A828-AD63AAD68944}"/>
              </a:ext>
            </a:extLst>
          </p:cNvPr>
          <p:cNvSpPr>
            <a:spLocks/>
          </p:cNvSpPr>
          <p:nvPr/>
        </p:nvSpPr>
        <p:spPr bwMode="gray">
          <a:xfrm>
            <a:off x="8497516" y="3557900"/>
            <a:ext cx="472083" cy="550144"/>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8" name="Freeform 22">
            <a:extLst>
              <a:ext uri="{FF2B5EF4-FFF2-40B4-BE49-F238E27FC236}">
                <a16:creationId xmlns:a16="http://schemas.microsoft.com/office/drawing/2014/main" id="{38ECEE6C-1EB3-463A-8C37-D31D2750E811}"/>
              </a:ext>
            </a:extLst>
          </p:cNvPr>
          <p:cNvSpPr>
            <a:spLocks noEditPoints="1"/>
          </p:cNvSpPr>
          <p:nvPr/>
        </p:nvSpPr>
        <p:spPr bwMode="gray">
          <a:xfrm>
            <a:off x="8565665" y="3452579"/>
            <a:ext cx="1200652" cy="1184544"/>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9" name="Freeform 23">
            <a:extLst>
              <a:ext uri="{FF2B5EF4-FFF2-40B4-BE49-F238E27FC236}">
                <a16:creationId xmlns:a16="http://schemas.microsoft.com/office/drawing/2014/main" id="{A524B4A2-EDDC-4469-BF26-F76ABA9AB77B}"/>
              </a:ext>
            </a:extLst>
          </p:cNvPr>
          <p:cNvSpPr>
            <a:spLocks noEditPoints="1"/>
          </p:cNvSpPr>
          <p:nvPr/>
        </p:nvSpPr>
        <p:spPr bwMode="gray">
          <a:xfrm>
            <a:off x="10421782" y="2992887"/>
            <a:ext cx="102842" cy="113994"/>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0" name="Freeform 24">
            <a:extLst>
              <a:ext uri="{FF2B5EF4-FFF2-40B4-BE49-F238E27FC236}">
                <a16:creationId xmlns:a16="http://schemas.microsoft.com/office/drawing/2014/main" id="{40D8841B-8259-488E-80C7-B86BD6BE6AC2}"/>
              </a:ext>
            </a:extLst>
          </p:cNvPr>
          <p:cNvSpPr>
            <a:spLocks noEditPoints="1"/>
          </p:cNvSpPr>
          <p:nvPr/>
        </p:nvSpPr>
        <p:spPr bwMode="gray">
          <a:xfrm>
            <a:off x="9348753" y="1802148"/>
            <a:ext cx="764502" cy="609619"/>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1" name="Freeform 25">
            <a:extLst>
              <a:ext uri="{FF2B5EF4-FFF2-40B4-BE49-F238E27FC236}">
                <a16:creationId xmlns:a16="http://schemas.microsoft.com/office/drawing/2014/main" id="{3B5682F5-342F-40E6-A0F1-50FDABD49CB5}"/>
              </a:ext>
            </a:extLst>
          </p:cNvPr>
          <p:cNvSpPr>
            <a:spLocks noEditPoints="1"/>
          </p:cNvSpPr>
          <p:nvPr/>
        </p:nvSpPr>
        <p:spPr bwMode="gray">
          <a:xfrm>
            <a:off x="8150579" y="3552944"/>
            <a:ext cx="361806" cy="332069"/>
          </a:xfrm>
          <a:custGeom>
            <a:avLst/>
            <a:gdLst>
              <a:gd name="T0" fmla="*/ 216 w 292"/>
              <a:gd name="T1" fmla="*/ 79 h 268"/>
              <a:gd name="T2" fmla="*/ 218 w 292"/>
              <a:gd name="T3" fmla="*/ 80 h 268"/>
              <a:gd name="T4" fmla="*/ 224 w 292"/>
              <a:gd name="T5" fmla="*/ 82 h 268"/>
              <a:gd name="T6" fmla="*/ 229 w 292"/>
              <a:gd name="T7" fmla="*/ 84 h 268"/>
              <a:gd name="T8" fmla="*/ 233 w 292"/>
              <a:gd name="T9" fmla="*/ 84 h 268"/>
              <a:gd name="T10" fmla="*/ 243 w 292"/>
              <a:gd name="T11" fmla="*/ 82 h 268"/>
              <a:gd name="T12" fmla="*/ 292 w 292"/>
              <a:gd name="T13" fmla="*/ 82 h 268"/>
              <a:gd name="T14" fmla="*/ 291 w 292"/>
              <a:gd name="T15" fmla="*/ 104 h 268"/>
              <a:gd name="T16" fmla="*/ 291 w 292"/>
              <a:gd name="T17" fmla="*/ 142 h 268"/>
              <a:gd name="T18" fmla="*/ 262 w 292"/>
              <a:gd name="T19" fmla="*/ 142 h 268"/>
              <a:gd name="T20" fmla="*/ 223 w 292"/>
              <a:gd name="T21" fmla="*/ 142 h 268"/>
              <a:gd name="T22" fmla="*/ 223 w 292"/>
              <a:gd name="T23" fmla="*/ 145 h 268"/>
              <a:gd name="T24" fmla="*/ 218 w 292"/>
              <a:gd name="T25" fmla="*/ 145 h 268"/>
              <a:gd name="T26" fmla="*/ 216 w 292"/>
              <a:gd name="T27" fmla="*/ 142 h 268"/>
              <a:gd name="T28" fmla="*/ 212 w 292"/>
              <a:gd name="T29" fmla="*/ 138 h 268"/>
              <a:gd name="T30" fmla="*/ 211 w 292"/>
              <a:gd name="T31" fmla="*/ 137 h 268"/>
              <a:gd name="T32" fmla="*/ 207 w 292"/>
              <a:gd name="T33" fmla="*/ 135 h 268"/>
              <a:gd name="T34" fmla="*/ 207 w 292"/>
              <a:gd name="T35" fmla="*/ 137 h 268"/>
              <a:gd name="T36" fmla="*/ 202 w 292"/>
              <a:gd name="T37" fmla="*/ 140 h 268"/>
              <a:gd name="T38" fmla="*/ 197 w 292"/>
              <a:gd name="T39" fmla="*/ 135 h 268"/>
              <a:gd name="T40" fmla="*/ 192 w 292"/>
              <a:gd name="T41" fmla="*/ 137 h 268"/>
              <a:gd name="T42" fmla="*/ 192 w 292"/>
              <a:gd name="T43" fmla="*/ 133 h 268"/>
              <a:gd name="T44" fmla="*/ 194 w 292"/>
              <a:gd name="T45" fmla="*/ 128 h 268"/>
              <a:gd name="T46" fmla="*/ 196 w 292"/>
              <a:gd name="T47" fmla="*/ 121 h 268"/>
              <a:gd name="T48" fmla="*/ 202 w 292"/>
              <a:gd name="T49" fmla="*/ 113 h 268"/>
              <a:gd name="T50" fmla="*/ 204 w 292"/>
              <a:gd name="T51" fmla="*/ 111 h 268"/>
              <a:gd name="T52" fmla="*/ 209 w 292"/>
              <a:gd name="T53" fmla="*/ 103 h 268"/>
              <a:gd name="T54" fmla="*/ 214 w 292"/>
              <a:gd name="T55" fmla="*/ 96 h 268"/>
              <a:gd name="T56" fmla="*/ 211 w 292"/>
              <a:gd name="T57" fmla="*/ 87 h 268"/>
              <a:gd name="T58" fmla="*/ 212 w 292"/>
              <a:gd name="T59" fmla="*/ 75 h 268"/>
              <a:gd name="T60" fmla="*/ 158 w 292"/>
              <a:gd name="T61" fmla="*/ 0 h 268"/>
              <a:gd name="T62" fmla="*/ 165 w 292"/>
              <a:gd name="T63" fmla="*/ 2 h 268"/>
              <a:gd name="T64" fmla="*/ 168 w 292"/>
              <a:gd name="T65" fmla="*/ 2 h 268"/>
              <a:gd name="T66" fmla="*/ 168 w 292"/>
              <a:gd name="T67" fmla="*/ 9 h 268"/>
              <a:gd name="T68" fmla="*/ 163 w 292"/>
              <a:gd name="T69" fmla="*/ 17 h 268"/>
              <a:gd name="T70" fmla="*/ 162 w 292"/>
              <a:gd name="T71" fmla="*/ 21 h 268"/>
              <a:gd name="T72" fmla="*/ 156 w 292"/>
              <a:gd name="T73" fmla="*/ 29 h 268"/>
              <a:gd name="T74" fmla="*/ 150 w 292"/>
              <a:gd name="T75" fmla="*/ 28 h 268"/>
              <a:gd name="T76" fmla="*/ 143 w 292"/>
              <a:gd name="T77" fmla="*/ 23 h 268"/>
              <a:gd name="T78" fmla="*/ 146 w 292"/>
              <a:gd name="T79" fmla="*/ 16 h 268"/>
              <a:gd name="T80" fmla="*/ 151 w 292"/>
              <a:gd name="T81" fmla="*/ 16 h 268"/>
              <a:gd name="T82" fmla="*/ 153 w 292"/>
              <a:gd name="T83" fmla="*/ 12 h 268"/>
              <a:gd name="T84" fmla="*/ 156 w 292"/>
              <a:gd name="T85" fmla="*/ 0 h 268"/>
              <a:gd name="T86" fmla="*/ 0 w 292"/>
              <a:gd name="T87" fmla="*/ 264 h 268"/>
              <a:gd name="T88" fmla="*/ 3 w 292"/>
              <a:gd name="T89" fmla="*/ 268 h 268"/>
              <a:gd name="T90" fmla="*/ 0 w 292"/>
              <a:gd name="T91" fmla="*/ 264 h 268"/>
              <a:gd name="T92" fmla="*/ 190 w 292"/>
              <a:gd name="T93" fmla="*/ 145 h 268"/>
              <a:gd name="T94" fmla="*/ 189 w 292"/>
              <a:gd name="T95" fmla="*/ 147 h 268"/>
              <a:gd name="T96" fmla="*/ 211 w 292"/>
              <a:gd name="T97" fmla="*/ 138 h 268"/>
              <a:gd name="T98" fmla="*/ 212 w 292"/>
              <a:gd name="T99" fmla="*/ 140 h 268"/>
              <a:gd name="T100" fmla="*/ 211 w 292"/>
              <a:gd name="T101" fmla="*/ 138 h 268"/>
              <a:gd name="T102" fmla="*/ 199 w 292"/>
              <a:gd name="T103" fmla="*/ 142 h 268"/>
              <a:gd name="T104" fmla="*/ 197 w 292"/>
              <a:gd name="T105"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68">
                <a:moveTo>
                  <a:pt x="214" y="74"/>
                </a:moveTo>
                <a:lnTo>
                  <a:pt x="216" y="79"/>
                </a:lnTo>
                <a:lnTo>
                  <a:pt x="218" y="79"/>
                </a:lnTo>
                <a:lnTo>
                  <a:pt x="218" y="80"/>
                </a:lnTo>
                <a:lnTo>
                  <a:pt x="219" y="80"/>
                </a:lnTo>
                <a:lnTo>
                  <a:pt x="224" y="82"/>
                </a:lnTo>
                <a:lnTo>
                  <a:pt x="226" y="82"/>
                </a:lnTo>
                <a:lnTo>
                  <a:pt x="229" y="84"/>
                </a:lnTo>
                <a:lnTo>
                  <a:pt x="231" y="82"/>
                </a:lnTo>
                <a:lnTo>
                  <a:pt x="233" y="84"/>
                </a:lnTo>
                <a:lnTo>
                  <a:pt x="233" y="82"/>
                </a:lnTo>
                <a:lnTo>
                  <a:pt x="243" y="82"/>
                </a:lnTo>
                <a:lnTo>
                  <a:pt x="282" y="82"/>
                </a:lnTo>
                <a:lnTo>
                  <a:pt x="292" y="82"/>
                </a:lnTo>
                <a:lnTo>
                  <a:pt x="291" y="86"/>
                </a:lnTo>
                <a:lnTo>
                  <a:pt x="291" y="104"/>
                </a:lnTo>
                <a:lnTo>
                  <a:pt x="291" y="118"/>
                </a:lnTo>
                <a:lnTo>
                  <a:pt x="291" y="142"/>
                </a:lnTo>
                <a:lnTo>
                  <a:pt x="272" y="142"/>
                </a:lnTo>
                <a:lnTo>
                  <a:pt x="262" y="142"/>
                </a:lnTo>
                <a:lnTo>
                  <a:pt x="245" y="142"/>
                </a:lnTo>
                <a:lnTo>
                  <a:pt x="223" y="142"/>
                </a:lnTo>
                <a:lnTo>
                  <a:pt x="223" y="143"/>
                </a:lnTo>
                <a:lnTo>
                  <a:pt x="223" y="145"/>
                </a:lnTo>
                <a:lnTo>
                  <a:pt x="221" y="145"/>
                </a:lnTo>
                <a:lnTo>
                  <a:pt x="218" y="145"/>
                </a:lnTo>
                <a:lnTo>
                  <a:pt x="218" y="142"/>
                </a:lnTo>
                <a:lnTo>
                  <a:pt x="216" y="142"/>
                </a:lnTo>
                <a:lnTo>
                  <a:pt x="212" y="142"/>
                </a:lnTo>
                <a:lnTo>
                  <a:pt x="212" y="138"/>
                </a:lnTo>
                <a:lnTo>
                  <a:pt x="214" y="138"/>
                </a:lnTo>
                <a:lnTo>
                  <a:pt x="211" y="137"/>
                </a:lnTo>
                <a:lnTo>
                  <a:pt x="207" y="138"/>
                </a:lnTo>
                <a:lnTo>
                  <a:pt x="207" y="135"/>
                </a:lnTo>
                <a:lnTo>
                  <a:pt x="209" y="135"/>
                </a:lnTo>
                <a:lnTo>
                  <a:pt x="207" y="137"/>
                </a:lnTo>
                <a:lnTo>
                  <a:pt x="206" y="138"/>
                </a:lnTo>
                <a:lnTo>
                  <a:pt x="202" y="140"/>
                </a:lnTo>
                <a:lnTo>
                  <a:pt x="199" y="135"/>
                </a:lnTo>
                <a:lnTo>
                  <a:pt x="197" y="135"/>
                </a:lnTo>
                <a:lnTo>
                  <a:pt x="194" y="137"/>
                </a:lnTo>
                <a:lnTo>
                  <a:pt x="192" y="137"/>
                </a:lnTo>
                <a:lnTo>
                  <a:pt x="190" y="133"/>
                </a:lnTo>
                <a:lnTo>
                  <a:pt x="192" y="133"/>
                </a:lnTo>
                <a:lnTo>
                  <a:pt x="192" y="128"/>
                </a:lnTo>
                <a:lnTo>
                  <a:pt x="194" y="128"/>
                </a:lnTo>
                <a:lnTo>
                  <a:pt x="196" y="125"/>
                </a:lnTo>
                <a:lnTo>
                  <a:pt x="196" y="121"/>
                </a:lnTo>
                <a:lnTo>
                  <a:pt x="201" y="118"/>
                </a:lnTo>
                <a:lnTo>
                  <a:pt x="202" y="113"/>
                </a:lnTo>
                <a:lnTo>
                  <a:pt x="204" y="113"/>
                </a:lnTo>
                <a:lnTo>
                  <a:pt x="204" y="111"/>
                </a:lnTo>
                <a:lnTo>
                  <a:pt x="204" y="108"/>
                </a:lnTo>
                <a:lnTo>
                  <a:pt x="209" y="103"/>
                </a:lnTo>
                <a:lnTo>
                  <a:pt x="211" y="99"/>
                </a:lnTo>
                <a:lnTo>
                  <a:pt x="214" y="96"/>
                </a:lnTo>
                <a:lnTo>
                  <a:pt x="214" y="94"/>
                </a:lnTo>
                <a:lnTo>
                  <a:pt x="211" y="87"/>
                </a:lnTo>
                <a:lnTo>
                  <a:pt x="212" y="82"/>
                </a:lnTo>
                <a:lnTo>
                  <a:pt x="212" y="75"/>
                </a:lnTo>
                <a:lnTo>
                  <a:pt x="214" y="74"/>
                </a:lnTo>
                <a:close/>
                <a:moveTo>
                  <a:pt x="158" y="0"/>
                </a:moveTo>
                <a:lnTo>
                  <a:pt x="160" y="2"/>
                </a:lnTo>
                <a:lnTo>
                  <a:pt x="165" y="2"/>
                </a:lnTo>
                <a:lnTo>
                  <a:pt x="167" y="2"/>
                </a:lnTo>
                <a:lnTo>
                  <a:pt x="168" y="2"/>
                </a:lnTo>
                <a:lnTo>
                  <a:pt x="170" y="4"/>
                </a:lnTo>
                <a:lnTo>
                  <a:pt x="168" y="9"/>
                </a:lnTo>
                <a:lnTo>
                  <a:pt x="165" y="12"/>
                </a:lnTo>
                <a:lnTo>
                  <a:pt x="163" y="17"/>
                </a:lnTo>
                <a:lnTo>
                  <a:pt x="163" y="19"/>
                </a:lnTo>
                <a:lnTo>
                  <a:pt x="162" y="21"/>
                </a:lnTo>
                <a:lnTo>
                  <a:pt x="162" y="24"/>
                </a:lnTo>
                <a:lnTo>
                  <a:pt x="156" y="29"/>
                </a:lnTo>
                <a:lnTo>
                  <a:pt x="151" y="28"/>
                </a:lnTo>
                <a:lnTo>
                  <a:pt x="150" y="28"/>
                </a:lnTo>
                <a:lnTo>
                  <a:pt x="145" y="26"/>
                </a:lnTo>
                <a:lnTo>
                  <a:pt x="143" y="23"/>
                </a:lnTo>
                <a:lnTo>
                  <a:pt x="145" y="19"/>
                </a:lnTo>
                <a:lnTo>
                  <a:pt x="146" y="16"/>
                </a:lnTo>
                <a:lnTo>
                  <a:pt x="151" y="17"/>
                </a:lnTo>
                <a:lnTo>
                  <a:pt x="151" y="16"/>
                </a:lnTo>
                <a:lnTo>
                  <a:pt x="151" y="14"/>
                </a:lnTo>
                <a:lnTo>
                  <a:pt x="153" y="12"/>
                </a:lnTo>
                <a:lnTo>
                  <a:pt x="153" y="7"/>
                </a:lnTo>
                <a:lnTo>
                  <a:pt x="156" y="0"/>
                </a:lnTo>
                <a:lnTo>
                  <a:pt x="158" y="0"/>
                </a:lnTo>
                <a:close/>
                <a:moveTo>
                  <a:pt x="0" y="264"/>
                </a:moveTo>
                <a:lnTo>
                  <a:pt x="3" y="264"/>
                </a:lnTo>
                <a:lnTo>
                  <a:pt x="3" y="268"/>
                </a:lnTo>
                <a:lnTo>
                  <a:pt x="0" y="268"/>
                </a:lnTo>
                <a:lnTo>
                  <a:pt x="0" y="264"/>
                </a:lnTo>
                <a:close/>
                <a:moveTo>
                  <a:pt x="189" y="145"/>
                </a:moveTo>
                <a:lnTo>
                  <a:pt x="190" y="145"/>
                </a:lnTo>
                <a:lnTo>
                  <a:pt x="190" y="147"/>
                </a:lnTo>
                <a:lnTo>
                  <a:pt x="189" y="147"/>
                </a:lnTo>
                <a:lnTo>
                  <a:pt x="189" y="145"/>
                </a:lnTo>
                <a:close/>
                <a:moveTo>
                  <a:pt x="211" y="138"/>
                </a:moveTo>
                <a:lnTo>
                  <a:pt x="212" y="138"/>
                </a:lnTo>
                <a:lnTo>
                  <a:pt x="212" y="140"/>
                </a:lnTo>
                <a:lnTo>
                  <a:pt x="211" y="140"/>
                </a:lnTo>
                <a:lnTo>
                  <a:pt x="211" y="138"/>
                </a:lnTo>
                <a:close/>
                <a:moveTo>
                  <a:pt x="197" y="142"/>
                </a:moveTo>
                <a:lnTo>
                  <a:pt x="199" y="142"/>
                </a:lnTo>
                <a:lnTo>
                  <a:pt x="199" y="143"/>
                </a:lnTo>
                <a:lnTo>
                  <a:pt x="197" y="143"/>
                </a:lnTo>
                <a:lnTo>
                  <a:pt x="197" y="142"/>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2" name="Freeform 26">
            <a:extLst>
              <a:ext uri="{FF2B5EF4-FFF2-40B4-BE49-F238E27FC236}">
                <a16:creationId xmlns:a16="http://schemas.microsoft.com/office/drawing/2014/main" id="{9066BA38-4764-4A7E-BB99-C1CE5474BDC0}"/>
              </a:ext>
            </a:extLst>
          </p:cNvPr>
          <p:cNvSpPr>
            <a:spLocks noEditPoints="1"/>
          </p:cNvSpPr>
          <p:nvPr/>
        </p:nvSpPr>
        <p:spPr bwMode="gray">
          <a:xfrm>
            <a:off x="10085995" y="2662057"/>
            <a:ext cx="420042" cy="354372"/>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3" name="Freeform 27">
            <a:extLst>
              <a:ext uri="{FF2B5EF4-FFF2-40B4-BE49-F238E27FC236}">
                <a16:creationId xmlns:a16="http://schemas.microsoft.com/office/drawing/2014/main" id="{776C5EE1-0C3F-4C56-8221-0D707124F6E7}"/>
              </a:ext>
            </a:extLst>
          </p:cNvPr>
          <p:cNvSpPr>
            <a:spLocks/>
          </p:cNvSpPr>
          <p:nvPr/>
        </p:nvSpPr>
        <p:spPr bwMode="gray">
          <a:xfrm>
            <a:off x="9869159" y="2855351"/>
            <a:ext cx="941688" cy="723613"/>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4" name="Freeform 28">
            <a:extLst>
              <a:ext uri="{FF2B5EF4-FFF2-40B4-BE49-F238E27FC236}">
                <a16:creationId xmlns:a16="http://schemas.microsoft.com/office/drawing/2014/main" id="{1013AE0E-8EC9-4F80-A66E-DBE967F85B4D}"/>
              </a:ext>
            </a:extLst>
          </p:cNvPr>
          <p:cNvSpPr>
            <a:spLocks noEditPoints="1"/>
          </p:cNvSpPr>
          <p:nvPr/>
        </p:nvSpPr>
        <p:spPr bwMode="gray">
          <a:xfrm>
            <a:off x="8346351" y="3645873"/>
            <a:ext cx="364285" cy="394022"/>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5" name="Freeform 29">
            <a:extLst>
              <a:ext uri="{FF2B5EF4-FFF2-40B4-BE49-F238E27FC236}">
                <a16:creationId xmlns:a16="http://schemas.microsoft.com/office/drawing/2014/main" id="{FC5EEEBC-526B-48FA-B8FF-C54C05D19541}"/>
              </a:ext>
            </a:extLst>
          </p:cNvPr>
          <p:cNvSpPr>
            <a:spLocks/>
          </p:cNvSpPr>
          <p:nvPr/>
        </p:nvSpPr>
        <p:spPr bwMode="gray">
          <a:xfrm>
            <a:off x="6745481" y="2923500"/>
            <a:ext cx="189576" cy="48324"/>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6" name="Freeform 30">
            <a:extLst>
              <a:ext uri="{FF2B5EF4-FFF2-40B4-BE49-F238E27FC236}">
                <a16:creationId xmlns:a16="http://schemas.microsoft.com/office/drawing/2014/main" id="{0240DFC1-33BD-47EF-8969-9B2B49FE2910}"/>
              </a:ext>
            </a:extLst>
          </p:cNvPr>
          <p:cNvSpPr>
            <a:spLocks/>
          </p:cNvSpPr>
          <p:nvPr/>
        </p:nvSpPr>
        <p:spPr bwMode="gray">
          <a:xfrm>
            <a:off x="7594240" y="3089534"/>
            <a:ext cx="280028" cy="405174"/>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7" name="Freeform 31">
            <a:extLst>
              <a:ext uri="{FF2B5EF4-FFF2-40B4-BE49-F238E27FC236}">
                <a16:creationId xmlns:a16="http://schemas.microsoft.com/office/drawing/2014/main" id="{E8809EF9-E81F-442C-959C-2E7EFF78315C}"/>
              </a:ext>
            </a:extLst>
          </p:cNvPr>
          <p:cNvSpPr>
            <a:spLocks noEditPoints="1"/>
          </p:cNvSpPr>
          <p:nvPr/>
        </p:nvSpPr>
        <p:spPr bwMode="gray">
          <a:xfrm>
            <a:off x="6853280" y="2995366"/>
            <a:ext cx="467126" cy="345699"/>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8" name="Freeform 32">
            <a:extLst>
              <a:ext uri="{FF2B5EF4-FFF2-40B4-BE49-F238E27FC236}">
                <a16:creationId xmlns:a16="http://schemas.microsoft.com/office/drawing/2014/main" id="{0BA3AA61-09FE-4C14-BC9A-7370633488DD}"/>
              </a:ext>
            </a:extLst>
          </p:cNvPr>
          <p:cNvSpPr>
            <a:spLocks noEditPoints="1"/>
          </p:cNvSpPr>
          <p:nvPr/>
        </p:nvSpPr>
        <p:spPr bwMode="gray">
          <a:xfrm>
            <a:off x="6750437" y="2995366"/>
            <a:ext cx="193294" cy="111516"/>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9" name="Freeform 33">
            <a:extLst>
              <a:ext uri="{FF2B5EF4-FFF2-40B4-BE49-F238E27FC236}">
                <a16:creationId xmlns:a16="http://schemas.microsoft.com/office/drawing/2014/main" id="{09351296-80F9-45CA-A9DB-DDD6526A5342}"/>
              </a:ext>
            </a:extLst>
          </p:cNvPr>
          <p:cNvSpPr>
            <a:spLocks/>
          </p:cNvSpPr>
          <p:nvPr/>
        </p:nvSpPr>
        <p:spPr bwMode="gray">
          <a:xfrm>
            <a:off x="7259693" y="3116794"/>
            <a:ext cx="382870" cy="401456"/>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0" name="Freeform 34">
            <a:extLst>
              <a:ext uri="{FF2B5EF4-FFF2-40B4-BE49-F238E27FC236}">
                <a16:creationId xmlns:a16="http://schemas.microsoft.com/office/drawing/2014/main" id="{26082CF4-5925-4215-8C56-B237215A50A0}"/>
              </a:ext>
            </a:extLst>
          </p:cNvPr>
          <p:cNvSpPr>
            <a:spLocks noEditPoints="1"/>
          </p:cNvSpPr>
          <p:nvPr/>
        </p:nvSpPr>
        <p:spPr bwMode="gray">
          <a:xfrm>
            <a:off x="9928635" y="3446384"/>
            <a:ext cx="500582" cy="638118"/>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1" name="Freeform 35">
            <a:extLst>
              <a:ext uri="{FF2B5EF4-FFF2-40B4-BE49-F238E27FC236}">
                <a16:creationId xmlns:a16="http://schemas.microsoft.com/office/drawing/2014/main" id="{973ED1C2-DB8A-493C-A8AC-7EF0979034DA}"/>
              </a:ext>
            </a:extLst>
          </p:cNvPr>
          <p:cNvSpPr>
            <a:spLocks/>
          </p:cNvSpPr>
          <p:nvPr/>
        </p:nvSpPr>
        <p:spPr bwMode="gray">
          <a:xfrm>
            <a:off x="9494962" y="5585007"/>
            <a:ext cx="153644" cy="132580"/>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2" name="Freeform 36">
            <a:extLst>
              <a:ext uri="{FF2B5EF4-FFF2-40B4-BE49-F238E27FC236}">
                <a16:creationId xmlns:a16="http://schemas.microsoft.com/office/drawing/2014/main" id="{6490A5AB-E0BE-4C5A-B7E0-B685DCF37107}"/>
              </a:ext>
            </a:extLst>
          </p:cNvPr>
          <p:cNvSpPr>
            <a:spLocks/>
          </p:cNvSpPr>
          <p:nvPr/>
        </p:nvSpPr>
        <p:spPr bwMode="gray">
          <a:xfrm>
            <a:off x="7078789" y="3254329"/>
            <a:ext cx="258964" cy="263921"/>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3" name="Freeform 37">
            <a:extLst>
              <a:ext uri="{FF2B5EF4-FFF2-40B4-BE49-F238E27FC236}">
                <a16:creationId xmlns:a16="http://schemas.microsoft.com/office/drawing/2014/main" id="{18C2A8F1-27F3-49A7-A8C1-F1D2C52200BC}"/>
              </a:ext>
            </a:extLst>
          </p:cNvPr>
          <p:cNvSpPr>
            <a:spLocks/>
          </p:cNvSpPr>
          <p:nvPr/>
        </p:nvSpPr>
        <p:spPr bwMode="gray">
          <a:xfrm>
            <a:off x="8388479" y="1709218"/>
            <a:ext cx="987533" cy="857432"/>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4" name="Freeform 38">
            <a:extLst>
              <a:ext uri="{FF2B5EF4-FFF2-40B4-BE49-F238E27FC236}">
                <a16:creationId xmlns:a16="http://schemas.microsoft.com/office/drawing/2014/main" id="{EB988A3D-9B7D-4A2B-A152-35ED49391B0D}"/>
              </a:ext>
            </a:extLst>
          </p:cNvPr>
          <p:cNvSpPr>
            <a:spLocks noEditPoints="1"/>
          </p:cNvSpPr>
          <p:nvPr/>
        </p:nvSpPr>
        <p:spPr bwMode="gray">
          <a:xfrm>
            <a:off x="10512233" y="4541716"/>
            <a:ext cx="454736" cy="858671"/>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5" name="Freeform 39">
            <a:extLst>
              <a:ext uri="{FF2B5EF4-FFF2-40B4-BE49-F238E27FC236}">
                <a16:creationId xmlns:a16="http://schemas.microsoft.com/office/drawing/2014/main" id="{FB9120C5-DF2E-4172-84AE-1C537554056F}"/>
              </a:ext>
            </a:extLst>
          </p:cNvPr>
          <p:cNvSpPr>
            <a:spLocks noEditPoints="1"/>
          </p:cNvSpPr>
          <p:nvPr/>
        </p:nvSpPr>
        <p:spPr bwMode="gray">
          <a:xfrm>
            <a:off x="9850573" y="4379398"/>
            <a:ext cx="201967" cy="486952"/>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6" name="Freeform 40">
            <a:extLst>
              <a:ext uri="{FF2B5EF4-FFF2-40B4-BE49-F238E27FC236}">
                <a16:creationId xmlns:a16="http://schemas.microsoft.com/office/drawing/2014/main" id="{1E97E280-D5FB-4828-9516-AE25DB8A65C0}"/>
              </a:ext>
            </a:extLst>
          </p:cNvPr>
          <p:cNvSpPr>
            <a:spLocks/>
          </p:cNvSpPr>
          <p:nvPr/>
        </p:nvSpPr>
        <p:spPr bwMode="gray">
          <a:xfrm>
            <a:off x="7031705" y="2220951"/>
            <a:ext cx="1034617" cy="931775"/>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7" name="Freeform 41">
            <a:extLst>
              <a:ext uri="{FF2B5EF4-FFF2-40B4-BE49-F238E27FC236}">
                <a16:creationId xmlns:a16="http://schemas.microsoft.com/office/drawing/2014/main" id="{6DEF7743-712A-41E5-9C8C-6D6C5FB45F72}"/>
              </a:ext>
            </a:extLst>
          </p:cNvPr>
          <p:cNvSpPr>
            <a:spLocks noEditPoints="1"/>
          </p:cNvSpPr>
          <p:nvPr/>
        </p:nvSpPr>
        <p:spPr bwMode="gray">
          <a:xfrm>
            <a:off x="6729374" y="2075981"/>
            <a:ext cx="768219" cy="790522"/>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8" name="Freeform 42">
            <a:extLst>
              <a:ext uri="{FF2B5EF4-FFF2-40B4-BE49-F238E27FC236}">
                <a16:creationId xmlns:a16="http://schemas.microsoft.com/office/drawing/2014/main" id="{80C2D0BF-517B-4346-A360-30301D307252}"/>
              </a:ext>
            </a:extLst>
          </p:cNvPr>
          <p:cNvSpPr>
            <a:spLocks/>
          </p:cNvSpPr>
          <p:nvPr/>
        </p:nvSpPr>
        <p:spPr bwMode="gray">
          <a:xfrm>
            <a:off x="6973469" y="1536988"/>
            <a:ext cx="762023" cy="517928"/>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9" name="Freeform 43">
            <a:extLst>
              <a:ext uri="{FF2B5EF4-FFF2-40B4-BE49-F238E27FC236}">
                <a16:creationId xmlns:a16="http://schemas.microsoft.com/office/drawing/2014/main" id="{4B551FAD-BE64-42FE-912C-DB2DEE38BF20}"/>
              </a:ext>
            </a:extLst>
          </p:cNvPr>
          <p:cNvSpPr>
            <a:spLocks noEditPoints="1"/>
          </p:cNvSpPr>
          <p:nvPr/>
        </p:nvSpPr>
        <p:spPr bwMode="gray">
          <a:xfrm>
            <a:off x="9696929" y="4448786"/>
            <a:ext cx="665377" cy="1029662"/>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0" name="Freeform 44">
            <a:extLst>
              <a:ext uri="{FF2B5EF4-FFF2-40B4-BE49-F238E27FC236}">
                <a16:creationId xmlns:a16="http://schemas.microsoft.com/office/drawing/2014/main" id="{F5EDA1FC-4819-4184-B9B1-B91806AFE8E9}"/>
              </a:ext>
            </a:extLst>
          </p:cNvPr>
          <p:cNvSpPr>
            <a:spLocks noEditPoints="1"/>
          </p:cNvSpPr>
          <p:nvPr/>
        </p:nvSpPr>
        <p:spPr bwMode="gray">
          <a:xfrm>
            <a:off x="8535928" y="4856438"/>
            <a:ext cx="848758" cy="754590"/>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1" name="Freeform 45">
            <a:extLst>
              <a:ext uri="{FF2B5EF4-FFF2-40B4-BE49-F238E27FC236}">
                <a16:creationId xmlns:a16="http://schemas.microsoft.com/office/drawing/2014/main" id="{505D87E5-ECA6-4B93-86DF-A187A3984655}"/>
              </a:ext>
            </a:extLst>
          </p:cNvPr>
          <p:cNvSpPr>
            <a:spLocks/>
          </p:cNvSpPr>
          <p:nvPr/>
        </p:nvSpPr>
        <p:spPr bwMode="gray">
          <a:xfrm>
            <a:off x="7809837" y="2313881"/>
            <a:ext cx="993729" cy="742199"/>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2" name="Freeform 46">
            <a:extLst>
              <a:ext uri="{FF2B5EF4-FFF2-40B4-BE49-F238E27FC236}">
                <a16:creationId xmlns:a16="http://schemas.microsoft.com/office/drawing/2014/main" id="{FC08B43B-E2E9-4C20-802E-6E98AEAE1C8F}"/>
              </a:ext>
            </a:extLst>
          </p:cNvPr>
          <p:cNvSpPr>
            <a:spLocks noEditPoints="1"/>
          </p:cNvSpPr>
          <p:nvPr/>
        </p:nvSpPr>
        <p:spPr bwMode="gray">
          <a:xfrm>
            <a:off x="7967197" y="2921022"/>
            <a:ext cx="754589" cy="603424"/>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3" name="Freeform 47">
            <a:extLst>
              <a:ext uri="{FF2B5EF4-FFF2-40B4-BE49-F238E27FC236}">
                <a16:creationId xmlns:a16="http://schemas.microsoft.com/office/drawing/2014/main" id="{978CA574-A404-4CBB-8DCA-7753B2A85D85}"/>
              </a:ext>
            </a:extLst>
          </p:cNvPr>
          <p:cNvSpPr>
            <a:spLocks/>
          </p:cNvSpPr>
          <p:nvPr/>
        </p:nvSpPr>
        <p:spPr bwMode="gray">
          <a:xfrm>
            <a:off x="9610195" y="3856514"/>
            <a:ext cx="128863" cy="112755"/>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4" name="Freeform 48">
            <a:extLst>
              <a:ext uri="{FF2B5EF4-FFF2-40B4-BE49-F238E27FC236}">
                <a16:creationId xmlns:a16="http://schemas.microsoft.com/office/drawing/2014/main" id="{9A94186B-4F66-4B39-B642-C8D304676B65}"/>
              </a:ext>
            </a:extLst>
          </p:cNvPr>
          <p:cNvSpPr>
            <a:spLocks noEditPoints="1"/>
          </p:cNvSpPr>
          <p:nvPr/>
        </p:nvSpPr>
        <p:spPr bwMode="gray">
          <a:xfrm>
            <a:off x="10623749" y="4583844"/>
            <a:ext cx="18586" cy="23543"/>
          </a:xfrm>
          <a:custGeom>
            <a:avLst/>
            <a:gdLst>
              <a:gd name="T0" fmla="*/ 5 w 15"/>
              <a:gd name="T1" fmla="*/ 2 h 19"/>
              <a:gd name="T2" fmla="*/ 7 w 15"/>
              <a:gd name="T3" fmla="*/ 4 h 19"/>
              <a:gd name="T4" fmla="*/ 7 w 15"/>
              <a:gd name="T5" fmla="*/ 5 h 19"/>
              <a:gd name="T6" fmla="*/ 8 w 15"/>
              <a:gd name="T7" fmla="*/ 5 h 19"/>
              <a:gd name="T8" fmla="*/ 10 w 15"/>
              <a:gd name="T9" fmla="*/ 5 h 19"/>
              <a:gd name="T10" fmla="*/ 12 w 15"/>
              <a:gd name="T11" fmla="*/ 7 h 19"/>
              <a:gd name="T12" fmla="*/ 12 w 15"/>
              <a:gd name="T13" fmla="*/ 9 h 19"/>
              <a:gd name="T14" fmla="*/ 10 w 15"/>
              <a:gd name="T15" fmla="*/ 11 h 19"/>
              <a:gd name="T16" fmla="*/ 10 w 15"/>
              <a:gd name="T17" fmla="*/ 12 h 19"/>
              <a:gd name="T18" fmla="*/ 12 w 15"/>
              <a:gd name="T19" fmla="*/ 12 h 19"/>
              <a:gd name="T20" fmla="*/ 10 w 15"/>
              <a:gd name="T21" fmla="*/ 14 h 19"/>
              <a:gd name="T22" fmla="*/ 10 w 15"/>
              <a:gd name="T23" fmla="*/ 16 h 19"/>
              <a:gd name="T24" fmla="*/ 8 w 15"/>
              <a:gd name="T25" fmla="*/ 16 h 19"/>
              <a:gd name="T26" fmla="*/ 8 w 15"/>
              <a:gd name="T27" fmla="*/ 17 h 19"/>
              <a:gd name="T28" fmla="*/ 10 w 15"/>
              <a:gd name="T29" fmla="*/ 17 h 19"/>
              <a:gd name="T30" fmla="*/ 8 w 15"/>
              <a:gd name="T31" fmla="*/ 19 h 19"/>
              <a:gd name="T32" fmla="*/ 8 w 15"/>
              <a:gd name="T33" fmla="*/ 17 h 19"/>
              <a:gd name="T34" fmla="*/ 7 w 15"/>
              <a:gd name="T35" fmla="*/ 19 h 19"/>
              <a:gd name="T36" fmla="*/ 5 w 15"/>
              <a:gd name="T37" fmla="*/ 19 h 19"/>
              <a:gd name="T38" fmla="*/ 5 w 15"/>
              <a:gd name="T39" fmla="*/ 17 h 19"/>
              <a:gd name="T40" fmla="*/ 3 w 15"/>
              <a:gd name="T41" fmla="*/ 17 h 19"/>
              <a:gd name="T42" fmla="*/ 5 w 15"/>
              <a:gd name="T43" fmla="*/ 16 h 19"/>
              <a:gd name="T44" fmla="*/ 3 w 15"/>
              <a:gd name="T45" fmla="*/ 14 h 19"/>
              <a:gd name="T46" fmla="*/ 5 w 15"/>
              <a:gd name="T47" fmla="*/ 14 h 19"/>
              <a:gd name="T48" fmla="*/ 5 w 15"/>
              <a:gd name="T49" fmla="*/ 16 h 19"/>
              <a:gd name="T50" fmla="*/ 7 w 15"/>
              <a:gd name="T51" fmla="*/ 16 h 19"/>
              <a:gd name="T52" fmla="*/ 7 w 15"/>
              <a:gd name="T53" fmla="*/ 14 h 19"/>
              <a:gd name="T54" fmla="*/ 5 w 15"/>
              <a:gd name="T55" fmla="*/ 12 h 19"/>
              <a:gd name="T56" fmla="*/ 5 w 15"/>
              <a:gd name="T57" fmla="*/ 11 h 19"/>
              <a:gd name="T58" fmla="*/ 5 w 15"/>
              <a:gd name="T59" fmla="*/ 7 h 19"/>
              <a:gd name="T60" fmla="*/ 1 w 15"/>
              <a:gd name="T61" fmla="*/ 7 h 19"/>
              <a:gd name="T62" fmla="*/ 3 w 15"/>
              <a:gd name="T63" fmla="*/ 5 h 19"/>
              <a:gd name="T64" fmla="*/ 1 w 15"/>
              <a:gd name="T65" fmla="*/ 5 h 19"/>
              <a:gd name="T66" fmla="*/ 1 w 15"/>
              <a:gd name="T67" fmla="*/ 4 h 19"/>
              <a:gd name="T68" fmla="*/ 3 w 15"/>
              <a:gd name="T69" fmla="*/ 4 h 19"/>
              <a:gd name="T70" fmla="*/ 5 w 15"/>
              <a:gd name="T71" fmla="*/ 2 h 19"/>
              <a:gd name="T72" fmla="*/ 12 w 15"/>
              <a:gd name="T73" fmla="*/ 7 h 19"/>
              <a:gd name="T74" fmla="*/ 15 w 15"/>
              <a:gd name="T75" fmla="*/ 7 h 19"/>
              <a:gd name="T76" fmla="*/ 15 w 15"/>
              <a:gd name="T77" fmla="*/ 11 h 19"/>
              <a:gd name="T78" fmla="*/ 12 w 15"/>
              <a:gd name="T79" fmla="*/ 11 h 19"/>
              <a:gd name="T80" fmla="*/ 12 w 15"/>
              <a:gd name="T81" fmla="*/ 7 h 19"/>
              <a:gd name="T82" fmla="*/ 0 w 15"/>
              <a:gd name="T83" fmla="*/ 0 h 19"/>
              <a:gd name="T84" fmla="*/ 1 w 15"/>
              <a:gd name="T85" fmla="*/ 0 h 19"/>
              <a:gd name="T86" fmla="*/ 1 w 15"/>
              <a:gd name="T87" fmla="*/ 2 h 19"/>
              <a:gd name="T88" fmla="*/ 0 w 15"/>
              <a:gd name="T89" fmla="*/ 2 h 19"/>
              <a:gd name="T90" fmla="*/ 0 w 15"/>
              <a:gd name="T9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19">
                <a:moveTo>
                  <a:pt x="5" y="2"/>
                </a:moveTo>
                <a:lnTo>
                  <a:pt x="7" y="4"/>
                </a:lnTo>
                <a:lnTo>
                  <a:pt x="7" y="5"/>
                </a:lnTo>
                <a:lnTo>
                  <a:pt x="8" y="5"/>
                </a:lnTo>
                <a:lnTo>
                  <a:pt x="10" y="5"/>
                </a:lnTo>
                <a:lnTo>
                  <a:pt x="12" y="7"/>
                </a:lnTo>
                <a:lnTo>
                  <a:pt x="12" y="9"/>
                </a:lnTo>
                <a:lnTo>
                  <a:pt x="10" y="11"/>
                </a:lnTo>
                <a:lnTo>
                  <a:pt x="10" y="12"/>
                </a:lnTo>
                <a:lnTo>
                  <a:pt x="12" y="12"/>
                </a:lnTo>
                <a:lnTo>
                  <a:pt x="10" y="14"/>
                </a:lnTo>
                <a:lnTo>
                  <a:pt x="10" y="16"/>
                </a:lnTo>
                <a:lnTo>
                  <a:pt x="8" y="16"/>
                </a:lnTo>
                <a:lnTo>
                  <a:pt x="8" y="17"/>
                </a:lnTo>
                <a:lnTo>
                  <a:pt x="10" y="17"/>
                </a:lnTo>
                <a:lnTo>
                  <a:pt x="8" y="19"/>
                </a:lnTo>
                <a:lnTo>
                  <a:pt x="8" y="17"/>
                </a:lnTo>
                <a:lnTo>
                  <a:pt x="7" y="19"/>
                </a:lnTo>
                <a:lnTo>
                  <a:pt x="5" y="19"/>
                </a:lnTo>
                <a:lnTo>
                  <a:pt x="5" y="17"/>
                </a:lnTo>
                <a:lnTo>
                  <a:pt x="3" y="17"/>
                </a:lnTo>
                <a:lnTo>
                  <a:pt x="5" y="16"/>
                </a:lnTo>
                <a:lnTo>
                  <a:pt x="3" y="14"/>
                </a:lnTo>
                <a:lnTo>
                  <a:pt x="5" y="14"/>
                </a:lnTo>
                <a:lnTo>
                  <a:pt x="5" y="16"/>
                </a:lnTo>
                <a:lnTo>
                  <a:pt x="7" y="16"/>
                </a:lnTo>
                <a:lnTo>
                  <a:pt x="7" y="14"/>
                </a:lnTo>
                <a:lnTo>
                  <a:pt x="5" y="12"/>
                </a:lnTo>
                <a:lnTo>
                  <a:pt x="5" y="11"/>
                </a:lnTo>
                <a:lnTo>
                  <a:pt x="5" y="7"/>
                </a:lnTo>
                <a:lnTo>
                  <a:pt x="1" y="7"/>
                </a:lnTo>
                <a:lnTo>
                  <a:pt x="3" y="5"/>
                </a:lnTo>
                <a:lnTo>
                  <a:pt x="1" y="5"/>
                </a:lnTo>
                <a:lnTo>
                  <a:pt x="1" y="4"/>
                </a:lnTo>
                <a:lnTo>
                  <a:pt x="3" y="4"/>
                </a:lnTo>
                <a:lnTo>
                  <a:pt x="5" y="2"/>
                </a:lnTo>
                <a:close/>
                <a:moveTo>
                  <a:pt x="12" y="7"/>
                </a:moveTo>
                <a:lnTo>
                  <a:pt x="15" y="7"/>
                </a:lnTo>
                <a:lnTo>
                  <a:pt x="15" y="11"/>
                </a:lnTo>
                <a:lnTo>
                  <a:pt x="12" y="11"/>
                </a:lnTo>
                <a:lnTo>
                  <a:pt x="12" y="7"/>
                </a:lnTo>
                <a:close/>
                <a:moveTo>
                  <a:pt x="0" y="0"/>
                </a:moveTo>
                <a:lnTo>
                  <a:pt x="1" y="0"/>
                </a:lnTo>
                <a:lnTo>
                  <a:pt x="1" y="2"/>
                </a:lnTo>
                <a:lnTo>
                  <a:pt x="0" y="2"/>
                </a:lnTo>
                <a:lnTo>
                  <a:pt x="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5" name="Freeform 49">
            <a:extLst>
              <a:ext uri="{FF2B5EF4-FFF2-40B4-BE49-F238E27FC236}">
                <a16:creationId xmlns:a16="http://schemas.microsoft.com/office/drawing/2014/main" id="{71864CF0-CB6C-4EDD-B5CF-E5ED80168CFE}"/>
              </a:ext>
            </a:extLst>
          </p:cNvPr>
          <p:cNvSpPr>
            <a:spLocks noEditPoints="1"/>
          </p:cNvSpPr>
          <p:nvPr/>
        </p:nvSpPr>
        <p:spPr bwMode="gray">
          <a:xfrm>
            <a:off x="8205097" y="3684285"/>
            <a:ext cx="63192" cy="107799"/>
          </a:xfrm>
          <a:custGeom>
            <a:avLst/>
            <a:gdLst>
              <a:gd name="T0" fmla="*/ 12 w 51"/>
              <a:gd name="T1" fmla="*/ 66 h 87"/>
              <a:gd name="T2" fmla="*/ 14 w 51"/>
              <a:gd name="T3" fmla="*/ 68 h 87"/>
              <a:gd name="T4" fmla="*/ 12 w 51"/>
              <a:gd name="T5" fmla="*/ 68 h 87"/>
              <a:gd name="T6" fmla="*/ 14 w 51"/>
              <a:gd name="T7" fmla="*/ 70 h 87"/>
              <a:gd name="T8" fmla="*/ 16 w 51"/>
              <a:gd name="T9" fmla="*/ 71 h 87"/>
              <a:gd name="T10" fmla="*/ 14 w 51"/>
              <a:gd name="T11" fmla="*/ 73 h 87"/>
              <a:gd name="T12" fmla="*/ 14 w 51"/>
              <a:gd name="T13" fmla="*/ 75 h 87"/>
              <a:gd name="T14" fmla="*/ 9 w 51"/>
              <a:gd name="T15" fmla="*/ 80 h 87"/>
              <a:gd name="T16" fmla="*/ 10 w 51"/>
              <a:gd name="T17" fmla="*/ 82 h 87"/>
              <a:gd name="T18" fmla="*/ 7 w 51"/>
              <a:gd name="T19" fmla="*/ 83 h 87"/>
              <a:gd name="T20" fmla="*/ 5 w 51"/>
              <a:gd name="T21" fmla="*/ 82 h 87"/>
              <a:gd name="T22" fmla="*/ 5 w 51"/>
              <a:gd name="T23" fmla="*/ 85 h 87"/>
              <a:gd name="T24" fmla="*/ 4 w 51"/>
              <a:gd name="T25" fmla="*/ 83 h 87"/>
              <a:gd name="T26" fmla="*/ 4 w 51"/>
              <a:gd name="T27" fmla="*/ 85 h 87"/>
              <a:gd name="T28" fmla="*/ 2 w 51"/>
              <a:gd name="T29" fmla="*/ 83 h 87"/>
              <a:gd name="T30" fmla="*/ 4 w 51"/>
              <a:gd name="T31" fmla="*/ 82 h 87"/>
              <a:gd name="T32" fmla="*/ 2 w 51"/>
              <a:gd name="T33" fmla="*/ 82 h 87"/>
              <a:gd name="T34" fmla="*/ 0 w 51"/>
              <a:gd name="T35" fmla="*/ 76 h 87"/>
              <a:gd name="T36" fmla="*/ 0 w 51"/>
              <a:gd name="T37" fmla="*/ 73 h 87"/>
              <a:gd name="T38" fmla="*/ 2 w 51"/>
              <a:gd name="T39" fmla="*/ 70 h 87"/>
              <a:gd name="T40" fmla="*/ 4 w 51"/>
              <a:gd name="T41" fmla="*/ 68 h 87"/>
              <a:gd name="T42" fmla="*/ 5 w 51"/>
              <a:gd name="T43" fmla="*/ 68 h 87"/>
              <a:gd name="T44" fmla="*/ 7 w 51"/>
              <a:gd name="T45" fmla="*/ 66 h 87"/>
              <a:gd name="T46" fmla="*/ 12 w 51"/>
              <a:gd name="T47" fmla="*/ 66 h 87"/>
              <a:gd name="T48" fmla="*/ 51 w 51"/>
              <a:gd name="T49" fmla="*/ 2 h 87"/>
              <a:gd name="T50" fmla="*/ 50 w 51"/>
              <a:gd name="T51" fmla="*/ 3 h 87"/>
              <a:gd name="T52" fmla="*/ 51 w 51"/>
              <a:gd name="T53" fmla="*/ 5 h 87"/>
              <a:gd name="T54" fmla="*/ 50 w 51"/>
              <a:gd name="T55" fmla="*/ 5 h 87"/>
              <a:gd name="T56" fmla="*/ 50 w 51"/>
              <a:gd name="T57" fmla="*/ 8 h 87"/>
              <a:gd name="T58" fmla="*/ 48 w 51"/>
              <a:gd name="T59" fmla="*/ 8 h 87"/>
              <a:gd name="T60" fmla="*/ 46 w 51"/>
              <a:gd name="T61" fmla="*/ 7 h 87"/>
              <a:gd name="T62" fmla="*/ 44 w 51"/>
              <a:gd name="T63" fmla="*/ 8 h 87"/>
              <a:gd name="T64" fmla="*/ 44 w 51"/>
              <a:gd name="T65" fmla="*/ 5 h 87"/>
              <a:gd name="T66" fmla="*/ 46 w 51"/>
              <a:gd name="T67" fmla="*/ 5 h 87"/>
              <a:gd name="T68" fmla="*/ 46 w 51"/>
              <a:gd name="T69" fmla="*/ 2 h 87"/>
              <a:gd name="T70" fmla="*/ 48 w 51"/>
              <a:gd name="T71" fmla="*/ 0 h 87"/>
              <a:gd name="T72" fmla="*/ 51 w 51"/>
              <a:gd name="T73" fmla="*/ 2 h 87"/>
              <a:gd name="T74" fmla="*/ 2 w 51"/>
              <a:gd name="T75" fmla="*/ 87 h 87"/>
              <a:gd name="T76" fmla="*/ 4 w 51"/>
              <a:gd name="T77" fmla="*/ 87 h 87"/>
              <a:gd name="T78" fmla="*/ 2 w 51"/>
              <a:gd name="T7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87">
                <a:moveTo>
                  <a:pt x="12" y="66"/>
                </a:moveTo>
                <a:lnTo>
                  <a:pt x="14" y="68"/>
                </a:lnTo>
                <a:lnTo>
                  <a:pt x="12" y="68"/>
                </a:lnTo>
                <a:lnTo>
                  <a:pt x="14" y="70"/>
                </a:lnTo>
                <a:lnTo>
                  <a:pt x="16" y="71"/>
                </a:lnTo>
                <a:lnTo>
                  <a:pt x="14" y="73"/>
                </a:lnTo>
                <a:lnTo>
                  <a:pt x="14" y="75"/>
                </a:lnTo>
                <a:lnTo>
                  <a:pt x="9" y="80"/>
                </a:lnTo>
                <a:lnTo>
                  <a:pt x="10" y="82"/>
                </a:lnTo>
                <a:lnTo>
                  <a:pt x="7" y="83"/>
                </a:lnTo>
                <a:lnTo>
                  <a:pt x="5" y="82"/>
                </a:lnTo>
                <a:lnTo>
                  <a:pt x="5" y="85"/>
                </a:lnTo>
                <a:lnTo>
                  <a:pt x="4" y="83"/>
                </a:lnTo>
                <a:lnTo>
                  <a:pt x="4" y="85"/>
                </a:lnTo>
                <a:lnTo>
                  <a:pt x="2" y="83"/>
                </a:lnTo>
                <a:lnTo>
                  <a:pt x="4" y="82"/>
                </a:lnTo>
                <a:lnTo>
                  <a:pt x="2" y="82"/>
                </a:lnTo>
                <a:lnTo>
                  <a:pt x="0" y="76"/>
                </a:lnTo>
                <a:lnTo>
                  <a:pt x="0" y="73"/>
                </a:lnTo>
                <a:lnTo>
                  <a:pt x="2" y="70"/>
                </a:lnTo>
                <a:lnTo>
                  <a:pt x="4" y="68"/>
                </a:lnTo>
                <a:lnTo>
                  <a:pt x="5" y="68"/>
                </a:lnTo>
                <a:lnTo>
                  <a:pt x="7" y="66"/>
                </a:lnTo>
                <a:lnTo>
                  <a:pt x="12" y="66"/>
                </a:lnTo>
                <a:close/>
                <a:moveTo>
                  <a:pt x="51" y="2"/>
                </a:moveTo>
                <a:lnTo>
                  <a:pt x="50" y="3"/>
                </a:lnTo>
                <a:lnTo>
                  <a:pt x="51" y="5"/>
                </a:lnTo>
                <a:lnTo>
                  <a:pt x="50" y="5"/>
                </a:lnTo>
                <a:lnTo>
                  <a:pt x="50" y="8"/>
                </a:lnTo>
                <a:lnTo>
                  <a:pt x="48" y="8"/>
                </a:lnTo>
                <a:lnTo>
                  <a:pt x="46" y="7"/>
                </a:lnTo>
                <a:lnTo>
                  <a:pt x="44" y="8"/>
                </a:lnTo>
                <a:lnTo>
                  <a:pt x="44" y="5"/>
                </a:lnTo>
                <a:lnTo>
                  <a:pt x="46" y="5"/>
                </a:lnTo>
                <a:lnTo>
                  <a:pt x="46" y="2"/>
                </a:lnTo>
                <a:lnTo>
                  <a:pt x="48" y="0"/>
                </a:lnTo>
                <a:lnTo>
                  <a:pt x="51" y="2"/>
                </a:lnTo>
                <a:close/>
                <a:moveTo>
                  <a:pt x="2" y="87"/>
                </a:moveTo>
                <a:lnTo>
                  <a:pt x="4" y="87"/>
                </a:lnTo>
                <a:lnTo>
                  <a:pt x="2" y="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6" name="Freeform 50">
            <a:extLst>
              <a:ext uri="{FF2B5EF4-FFF2-40B4-BE49-F238E27FC236}">
                <a16:creationId xmlns:a16="http://schemas.microsoft.com/office/drawing/2014/main" id="{4E9C8529-2211-40A4-B1A7-CD5B2A324A34}"/>
              </a:ext>
            </a:extLst>
          </p:cNvPr>
          <p:cNvSpPr>
            <a:spLocks noEditPoints="1"/>
          </p:cNvSpPr>
          <p:nvPr/>
        </p:nvSpPr>
        <p:spPr bwMode="gray">
          <a:xfrm>
            <a:off x="6699636" y="2743835"/>
            <a:ext cx="387826" cy="273833"/>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7" name="Freeform 51">
            <a:extLst>
              <a:ext uri="{FF2B5EF4-FFF2-40B4-BE49-F238E27FC236}">
                <a16:creationId xmlns:a16="http://schemas.microsoft.com/office/drawing/2014/main" id="{14E6CA8D-4064-4736-BBFC-4E88A9127E76}"/>
              </a:ext>
            </a:extLst>
          </p:cNvPr>
          <p:cNvSpPr>
            <a:spLocks noEditPoints="1"/>
          </p:cNvSpPr>
          <p:nvPr/>
        </p:nvSpPr>
        <p:spPr bwMode="gray">
          <a:xfrm>
            <a:off x="6964796" y="3163878"/>
            <a:ext cx="189576" cy="193294"/>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8" name="Freeform 52">
            <a:extLst>
              <a:ext uri="{FF2B5EF4-FFF2-40B4-BE49-F238E27FC236}">
                <a16:creationId xmlns:a16="http://schemas.microsoft.com/office/drawing/2014/main" id="{123B41AF-A26F-406F-9ED7-5F1DA2A066BF}"/>
              </a:ext>
            </a:extLst>
          </p:cNvPr>
          <p:cNvSpPr>
            <a:spLocks noEditPoints="1"/>
          </p:cNvSpPr>
          <p:nvPr/>
        </p:nvSpPr>
        <p:spPr bwMode="gray">
          <a:xfrm>
            <a:off x="10372219" y="3038732"/>
            <a:ext cx="652986" cy="856193"/>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9" name="Freeform 53">
            <a:extLst>
              <a:ext uri="{FF2B5EF4-FFF2-40B4-BE49-F238E27FC236}">
                <a16:creationId xmlns:a16="http://schemas.microsoft.com/office/drawing/2014/main" id="{10E1A105-556D-425A-9AB4-71337143D904}"/>
              </a:ext>
            </a:extLst>
          </p:cNvPr>
          <p:cNvSpPr>
            <a:spLocks noEditPoints="1"/>
          </p:cNvSpPr>
          <p:nvPr/>
        </p:nvSpPr>
        <p:spPr bwMode="gray">
          <a:xfrm>
            <a:off x="8833303" y="5181073"/>
            <a:ext cx="1029661" cy="797956"/>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0" name="Freeform 54">
            <a:extLst>
              <a:ext uri="{FF2B5EF4-FFF2-40B4-BE49-F238E27FC236}">
                <a16:creationId xmlns:a16="http://schemas.microsoft.com/office/drawing/2014/main" id="{74ADCC83-B6FE-4D3C-ACB4-38508CB6AB9B}"/>
              </a:ext>
            </a:extLst>
          </p:cNvPr>
          <p:cNvSpPr>
            <a:spLocks/>
          </p:cNvSpPr>
          <p:nvPr/>
        </p:nvSpPr>
        <p:spPr bwMode="gray">
          <a:xfrm>
            <a:off x="9315298" y="3025103"/>
            <a:ext cx="698832" cy="547666"/>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1" name="Freeform 55">
            <a:extLst>
              <a:ext uri="{FF2B5EF4-FFF2-40B4-BE49-F238E27FC236}">
                <a16:creationId xmlns:a16="http://schemas.microsoft.com/office/drawing/2014/main" id="{397D523E-0FD5-4887-80BA-FF4400336A35}"/>
              </a:ext>
            </a:extLst>
          </p:cNvPr>
          <p:cNvSpPr>
            <a:spLocks noEditPoints="1"/>
          </p:cNvSpPr>
          <p:nvPr/>
        </p:nvSpPr>
        <p:spPr bwMode="gray">
          <a:xfrm>
            <a:off x="9167850" y="2409288"/>
            <a:ext cx="1056920" cy="836368"/>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2" name="Freeform 56">
            <a:extLst>
              <a:ext uri="{FF2B5EF4-FFF2-40B4-BE49-F238E27FC236}">
                <a16:creationId xmlns:a16="http://schemas.microsoft.com/office/drawing/2014/main" id="{E4F11A4A-9929-4854-AE6A-69773ADCC6AA}"/>
              </a:ext>
            </a:extLst>
          </p:cNvPr>
          <p:cNvSpPr>
            <a:spLocks/>
          </p:cNvSpPr>
          <p:nvPr/>
        </p:nvSpPr>
        <p:spPr bwMode="gray">
          <a:xfrm>
            <a:off x="9732863" y="5406582"/>
            <a:ext cx="84256" cy="100364"/>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3" name="Freeform 57">
            <a:extLst>
              <a:ext uri="{FF2B5EF4-FFF2-40B4-BE49-F238E27FC236}">
                <a16:creationId xmlns:a16="http://schemas.microsoft.com/office/drawing/2014/main" id="{F67DDCFB-0FC3-4A76-AFD1-D186F9D3CD54}"/>
              </a:ext>
            </a:extLst>
          </p:cNvPr>
          <p:cNvSpPr>
            <a:spLocks noEditPoints="1"/>
          </p:cNvSpPr>
          <p:nvPr/>
        </p:nvSpPr>
        <p:spPr bwMode="gray">
          <a:xfrm>
            <a:off x="9643650" y="3852797"/>
            <a:ext cx="693875" cy="676528"/>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4" name="Freeform 58">
            <a:extLst>
              <a:ext uri="{FF2B5EF4-FFF2-40B4-BE49-F238E27FC236}">
                <a16:creationId xmlns:a16="http://schemas.microsoft.com/office/drawing/2014/main" id="{49DCEAF0-A09A-4C73-8379-445657C53CCB}"/>
              </a:ext>
            </a:extLst>
          </p:cNvPr>
          <p:cNvSpPr>
            <a:spLocks/>
          </p:cNvSpPr>
          <p:nvPr/>
        </p:nvSpPr>
        <p:spPr bwMode="gray">
          <a:xfrm>
            <a:off x="7790012" y="3092012"/>
            <a:ext cx="122667" cy="315961"/>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5" name="Freeform 59">
            <a:extLst>
              <a:ext uri="{FF2B5EF4-FFF2-40B4-BE49-F238E27FC236}">
                <a16:creationId xmlns:a16="http://schemas.microsoft.com/office/drawing/2014/main" id="{35ECAEAA-845E-498D-84AC-BB3AE71F9FCD}"/>
              </a:ext>
            </a:extLst>
          </p:cNvPr>
          <p:cNvSpPr>
            <a:spLocks noEditPoints="1"/>
          </p:cNvSpPr>
          <p:nvPr/>
        </p:nvSpPr>
        <p:spPr bwMode="gray">
          <a:xfrm>
            <a:off x="8273246" y="1435385"/>
            <a:ext cx="254008" cy="457215"/>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6" name="Freeform 60">
            <a:extLst>
              <a:ext uri="{FF2B5EF4-FFF2-40B4-BE49-F238E27FC236}">
                <a16:creationId xmlns:a16="http://schemas.microsoft.com/office/drawing/2014/main" id="{C4FDCF67-3A7B-45E5-97E7-DB6D0E9ED563}"/>
              </a:ext>
            </a:extLst>
          </p:cNvPr>
          <p:cNvSpPr>
            <a:spLocks/>
          </p:cNvSpPr>
          <p:nvPr/>
        </p:nvSpPr>
        <p:spPr bwMode="gray">
          <a:xfrm>
            <a:off x="9654801" y="3525684"/>
            <a:ext cx="343220" cy="359328"/>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7" name="Freeform 61">
            <a:extLst>
              <a:ext uri="{FF2B5EF4-FFF2-40B4-BE49-F238E27FC236}">
                <a16:creationId xmlns:a16="http://schemas.microsoft.com/office/drawing/2014/main" id="{4AF98A3E-3898-4525-A8B6-F6D2F3856CEC}"/>
              </a:ext>
            </a:extLst>
          </p:cNvPr>
          <p:cNvSpPr>
            <a:spLocks/>
          </p:cNvSpPr>
          <p:nvPr/>
        </p:nvSpPr>
        <p:spPr bwMode="gray">
          <a:xfrm>
            <a:off x="6726895" y="2052438"/>
            <a:ext cx="529080" cy="434911"/>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8" name="Freeform 62">
            <a:extLst>
              <a:ext uri="{FF2B5EF4-FFF2-40B4-BE49-F238E27FC236}">
                <a16:creationId xmlns:a16="http://schemas.microsoft.com/office/drawing/2014/main" id="{0D1E2A34-E4EE-47B4-B814-B47F74D674FE}"/>
              </a:ext>
            </a:extLst>
          </p:cNvPr>
          <p:cNvSpPr>
            <a:spLocks/>
          </p:cNvSpPr>
          <p:nvPr/>
        </p:nvSpPr>
        <p:spPr bwMode="gray">
          <a:xfrm>
            <a:off x="9180240" y="4307533"/>
            <a:ext cx="733525" cy="618293"/>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9" name="Freeform 63">
            <a:extLst>
              <a:ext uri="{FF2B5EF4-FFF2-40B4-BE49-F238E27FC236}">
                <a16:creationId xmlns:a16="http://schemas.microsoft.com/office/drawing/2014/main" id="{4B7D0766-E758-4F83-9ECC-5C9C59A9E4A5}"/>
              </a:ext>
            </a:extLst>
          </p:cNvPr>
          <p:cNvSpPr>
            <a:spLocks/>
          </p:cNvSpPr>
          <p:nvPr/>
        </p:nvSpPr>
        <p:spPr bwMode="gray">
          <a:xfrm>
            <a:off x="9382207" y="4772182"/>
            <a:ext cx="491908" cy="427477"/>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solidFill>
            <a:schemeClr val="tx2"/>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60" name="Freeform 64">
            <a:extLst>
              <a:ext uri="{FF2B5EF4-FFF2-40B4-BE49-F238E27FC236}">
                <a16:creationId xmlns:a16="http://schemas.microsoft.com/office/drawing/2014/main" id="{79941A47-E834-43A4-AFC5-F7794ED653F5}"/>
              </a:ext>
            </a:extLst>
          </p:cNvPr>
          <p:cNvSpPr>
            <a:spLocks/>
          </p:cNvSpPr>
          <p:nvPr/>
        </p:nvSpPr>
        <p:spPr bwMode="gray">
          <a:xfrm>
            <a:off x="7436878" y="4788289"/>
            <a:ext cx="8673" cy="8674"/>
          </a:xfrm>
          <a:custGeom>
            <a:avLst/>
            <a:gdLst>
              <a:gd name="T0" fmla="*/ 7 w 7"/>
              <a:gd name="T1" fmla="*/ 2 h 7"/>
              <a:gd name="T2" fmla="*/ 7 w 7"/>
              <a:gd name="T3" fmla="*/ 4 h 7"/>
              <a:gd name="T4" fmla="*/ 1 w 7"/>
              <a:gd name="T5" fmla="*/ 7 h 7"/>
              <a:gd name="T6" fmla="*/ 0 w 7"/>
              <a:gd name="T7" fmla="*/ 5 h 7"/>
              <a:gd name="T8" fmla="*/ 3 w 7"/>
              <a:gd name="T9" fmla="*/ 0 h 7"/>
              <a:gd name="T10" fmla="*/ 7 w 7"/>
              <a:gd name="T11" fmla="*/ 2 h 7"/>
            </a:gdLst>
            <a:ahLst/>
            <a:cxnLst>
              <a:cxn ang="0">
                <a:pos x="T0" y="T1"/>
              </a:cxn>
              <a:cxn ang="0">
                <a:pos x="T2" y="T3"/>
              </a:cxn>
              <a:cxn ang="0">
                <a:pos x="T4" y="T5"/>
              </a:cxn>
              <a:cxn ang="0">
                <a:pos x="T6" y="T7"/>
              </a:cxn>
              <a:cxn ang="0">
                <a:pos x="T8" y="T9"/>
              </a:cxn>
              <a:cxn ang="0">
                <a:pos x="T10" y="T11"/>
              </a:cxn>
            </a:cxnLst>
            <a:rect l="0" t="0" r="r" b="b"/>
            <a:pathLst>
              <a:path w="7" h="7">
                <a:moveTo>
                  <a:pt x="7" y="2"/>
                </a:moveTo>
                <a:lnTo>
                  <a:pt x="7" y="4"/>
                </a:lnTo>
                <a:lnTo>
                  <a:pt x="1" y="7"/>
                </a:lnTo>
                <a:lnTo>
                  <a:pt x="0" y="5"/>
                </a:lnTo>
                <a:lnTo>
                  <a:pt x="3" y="0"/>
                </a:lnTo>
                <a:lnTo>
                  <a:pt x="7"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62" name="Freeform: Shape 61">
            <a:extLst>
              <a:ext uri="{FF2B5EF4-FFF2-40B4-BE49-F238E27FC236}">
                <a16:creationId xmlns:a16="http://schemas.microsoft.com/office/drawing/2014/main" id="{E59801A9-BCA9-4DF5-AB4C-62103B50A99A}"/>
              </a:ext>
            </a:extLst>
          </p:cNvPr>
          <p:cNvSpPr/>
          <p:nvPr/>
        </p:nvSpPr>
        <p:spPr>
          <a:xfrm>
            <a:off x="11128224" y="5233733"/>
            <a:ext cx="50447" cy="38875"/>
          </a:xfrm>
          <a:custGeom>
            <a:avLst/>
            <a:gdLst>
              <a:gd name="connsiteX0" fmla="*/ 6480 w 74853"/>
              <a:gd name="connsiteY0" fmla="*/ 4524 h 57683"/>
              <a:gd name="connsiteX1" fmla="*/ 68684 w 74853"/>
              <a:gd name="connsiteY1" fmla="*/ 10745 h 57683"/>
              <a:gd name="connsiteX2" fmla="*/ 62464 w 74853"/>
              <a:gd name="connsiteY2" fmla="*/ 54288 h 57683"/>
              <a:gd name="connsiteX3" fmla="*/ 6480 w 74853"/>
              <a:gd name="connsiteY3" fmla="*/ 48067 h 57683"/>
              <a:gd name="connsiteX4" fmla="*/ 6480 w 74853"/>
              <a:gd name="connsiteY4" fmla="*/ 4524 h 57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53" h="57683">
                <a:moveTo>
                  <a:pt x="6480" y="4524"/>
                </a:moveTo>
                <a:cubicBezTo>
                  <a:pt x="16847" y="-1696"/>
                  <a:pt x="53109" y="-3099"/>
                  <a:pt x="68684" y="10745"/>
                </a:cubicBezTo>
                <a:cubicBezTo>
                  <a:pt x="79642" y="20486"/>
                  <a:pt x="75036" y="46745"/>
                  <a:pt x="62464" y="54288"/>
                </a:cubicBezTo>
                <a:cubicBezTo>
                  <a:pt x="46364" y="63948"/>
                  <a:pt x="25141" y="50141"/>
                  <a:pt x="6480" y="48067"/>
                </a:cubicBezTo>
                <a:cubicBezTo>
                  <a:pt x="-244" y="21174"/>
                  <a:pt x="-3887" y="10744"/>
                  <a:pt x="6480" y="4524"/>
                </a:cubicBezTo>
                <a:close/>
              </a:path>
            </a:pathLst>
          </a:cu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300"/>
              </a:spcBef>
              <a:spcAft>
                <a:spcPts val="300"/>
              </a:spcAft>
              <a:buClrTx/>
              <a:buFontTx/>
              <a:buNone/>
            </a:pPr>
            <a:endParaRPr lang="en-US" sz="900" kern="1200" dirty="0" err="1">
              <a:solidFill>
                <a:srgbClr val="FFFFFF"/>
              </a:solidFill>
            </a:endParaRPr>
          </a:p>
        </p:txBody>
      </p:sp>
      <p:sp>
        <p:nvSpPr>
          <p:cNvPr id="63" name="Freeform: Shape 62">
            <a:extLst>
              <a:ext uri="{FF2B5EF4-FFF2-40B4-BE49-F238E27FC236}">
                <a16:creationId xmlns:a16="http://schemas.microsoft.com/office/drawing/2014/main" id="{178916D8-62E8-4264-B782-D27D3FFC3DA6}"/>
              </a:ext>
            </a:extLst>
          </p:cNvPr>
          <p:cNvSpPr/>
          <p:nvPr/>
        </p:nvSpPr>
        <p:spPr>
          <a:xfrm>
            <a:off x="11055121" y="5322851"/>
            <a:ext cx="50447" cy="38875"/>
          </a:xfrm>
          <a:custGeom>
            <a:avLst/>
            <a:gdLst>
              <a:gd name="connsiteX0" fmla="*/ 6480 w 74853"/>
              <a:gd name="connsiteY0" fmla="*/ 4524 h 57683"/>
              <a:gd name="connsiteX1" fmla="*/ 68684 w 74853"/>
              <a:gd name="connsiteY1" fmla="*/ 10745 h 57683"/>
              <a:gd name="connsiteX2" fmla="*/ 62464 w 74853"/>
              <a:gd name="connsiteY2" fmla="*/ 54288 h 57683"/>
              <a:gd name="connsiteX3" fmla="*/ 6480 w 74853"/>
              <a:gd name="connsiteY3" fmla="*/ 48067 h 57683"/>
              <a:gd name="connsiteX4" fmla="*/ 6480 w 74853"/>
              <a:gd name="connsiteY4" fmla="*/ 4524 h 57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53" h="57683">
                <a:moveTo>
                  <a:pt x="6480" y="4524"/>
                </a:moveTo>
                <a:cubicBezTo>
                  <a:pt x="16847" y="-1696"/>
                  <a:pt x="53109" y="-3099"/>
                  <a:pt x="68684" y="10745"/>
                </a:cubicBezTo>
                <a:cubicBezTo>
                  <a:pt x="79642" y="20486"/>
                  <a:pt x="75036" y="46745"/>
                  <a:pt x="62464" y="54288"/>
                </a:cubicBezTo>
                <a:cubicBezTo>
                  <a:pt x="46364" y="63948"/>
                  <a:pt x="25141" y="50141"/>
                  <a:pt x="6480" y="48067"/>
                </a:cubicBezTo>
                <a:cubicBezTo>
                  <a:pt x="-244" y="21174"/>
                  <a:pt x="-3887" y="10744"/>
                  <a:pt x="6480" y="4524"/>
                </a:cubicBezTo>
                <a:close/>
              </a:path>
            </a:pathLst>
          </a:cu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300"/>
              </a:spcBef>
              <a:spcAft>
                <a:spcPts val="300"/>
              </a:spcAft>
              <a:buClrTx/>
              <a:buFontTx/>
              <a:buNone/>
            </a:pPr>
            <a:endParaRPr lang="en-US" sz="900" kern="1200" dirty="0" err="1">
              <a:solidFill>
                <a:srgbClr val="000000"/>
              </a:solidFill>
            </a:endParaRPr>
          </a:p>
        </p:txBody>
      </p:sp>
      <p:sp>
        <p:nvSpPr>
          <p:cNvPr id="64" name="Freeform: Shape 63">
            <a:extLst>
              <a:ext uri="{FF2B5EF4-FFF2-40B4-BE49-F238E27FC236}">
                <a16:creationId xmlns:a16="http://schemas.microsoft.com/office/drawing/2014/main" id="{567AFD0C-D3C6-43FB-AB7F-86E8116E44D9}"/>
              </a:ext>
            </a:extLst>
          </p:cNvPr>
          <p:cNvSpPr/>
          <p:nvPr/>
        </p:nvSpPr>
        <p:spPr>
          <a:xfrm>
            <a:off x="11103000" y="4191061"/>
            <a:ext cx="50447" cy="38875"/>
          </a:xfrm>
          <a:custGeom>
            <a:avLst/>
            <a:gdLst>
              <a:gd name="connsiteX0" fmla="*/ 6480 w 74853"/>
              <a:gd name="connsiteY0" fmla="*/ 4524 h 57683"/>
              <a:gd name="connsiteX1" fmla="*/ 68684 w 74853"/>
              <a:gd name="connsiteY1" fmla="*/ 10745 h 57683"/>
              <a:gd name="connsiteX2" fmla="*/ 62464 w 74853"/>
              <a:gd name="connsiteY2" fmla="*/ 54288 h 57683"/>
              <a:gd name="connsiteX3" fmla="*/ 6480 w 74853"/>
              <a:gd name="connsiteY3" fmla="*/ 48067 h 57683"/>
              <a:gd name="connsiteX4" fmla="*/ 6480 w 74853"/>
              <a:gd name="connsiteY4" fmla="*/ 4524 h 57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53" h="57683">
                <a:moveTo>
                  <a:pt x="6480" y="4524"/>
                </a:moveTo>
                <a:cubicBezTo>
                  <a:pt x="16847" y="-1696"/>
                  <a:pt x="53109" y="-3099"/>
                  <a:pt x="68684" y="10745"/>
                </a:cubicBezTo>
                <a:cubicBezTo>
                  <a:pt x="79642" y="20486"/>
                  <a:pt x="75036" y="46745"/>
                  <a:pt x="62464" y="54288"/>
                </a:cubicBezTo>
                <a:cubicBezTo>
                  <a:pt x="46364" y="63948"/>
                  <a:pt x="25141" y="50141"/>
                  <a:pt x="6480" y="48067"/>
                </a:cubicBezTo>
                <a:cubicBezTo>
                  <a:pt x="-244" y="21174"/>
                  <a:pt x="-3887" y="10744"/>
                  <a:pt x="6480" y="4524"/>
                </a:cubicBezTo>
                <a:close/>
              </a:path>
            </a:pathLst>
          </a:cu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300"/>
              </a:spcBef>
              <a:spcAft>
                <a:spcPts val="300"/>
              </a:spcAft>
              <a:buClrTx/>
              <a:buFontTx/>
              <a:buNone/>
            </a:pPr>
            <a:endParaRPr lang="en-US" sz="900" kern="1200" dirty="0" err="1">
              <a:solidFill>
                <a:srgbClr val="FFFFFF"/>
              </a:solidFill>
            </a:endParaRPr>
          </a:p>
        </p:txBody>
      </p:sp>
      <p:grpSp>
        <p:nvGrpSpPr>
          <p:cNvPr id="65" name="LegendBoxes">
            <a:extLst>
              <a:ext uri="{FF2B5EF4-FFF2-40B4-BE49-F238E27FC236}">
                <a16:creationId xmlns:a16="http://schemas.microsoft.com/office/drawing/2014/main" id="{53B5117A-20EB-4E50-B506-E09110BE4012}"/>
              </a:ext>
            </a:extLst>
          </p:cNvPr>
          <p:cNvGrpSpPr/>
          <p:nvPr/>
        </p:nvGrpSpPr>
        <p:grpSpPr>
          <a:xfrm>
            <a:off x="10052540" y="1347054"/>
            <a:ext cx="1771752" cy="184666"/>
            <a:chOff x="10940631" y="928783"/>
            <a:chExt cx="1771752" cy="184666"/>
          </a:xfrm>
        </p:grpSpPr>
        <p:sp>
          <p:nvSpPr>
            <p:cNvPr id="66" name="Legend4">
              <a:extLst>
                <a:ext uri="{FF2B5EF4-FFF2-40B4-BE49-F238E27FC236}">
                  <a16:creationId xmlns:a16="http://schemas.microsoft.com/office/drawing/2014/main" id="{1777C4C0-1F18-461E-97D3-65F2425E2CB8}"/>
                </a:ext>
              </a:extLst>
            </p:cNvPr>
            <p:cNvSpPr>
              <a:spLocks noChangeArrowheads="1"/>
            </p:cNvSpPr>
            <p:nvPr/>
          </p:nvSpPr>
          <p:spPr bwMode="auto">
            <a:xfrm>
              <a:off x="11279298" y="928783"/>
              <a:ext cx="143308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IPC trained countries</a:t>
              </a:r>
            </a:p>
          </p:txBody>
        </p:sp>
        <p:sp>
          <p:nvSpPr>
            <p:cNvPr id="67" name="RectangleLegend4">
              <a:extLst>
                <a:ext uri="{FF2B5EF4-FFF2-40B4-BE49-F238E27FC236}">
                  <a16:creationId xmlns:a16="http://schemas.microsoft.com/office/drawing/2014/main" id="{EA17BC0A-2108-4FEE-B955-D75375035AE8}"/>
                </a:ext>
              </a:extLst>
            </p:cNvPr>
            <p:cNvSpPr>
              <a:spLocks noChangeArrowheads="1"/>
            </p:cNvSpPr>
            <p:nvPr/>
          </p:nvSpPr>
          <p:spPr bwMode="auto">
            <a:xfrm>
              <a:off x="10940631" y="939896"/>
              <a:ext cx="220134" cy="160338"/>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32" kern="1200">
                <a:ea typeface="+mn-ea"/>
                <a:cs typeface="+mn-cs"/>
              </a:endParaRPr>
            </a:p>
          </p:txBody>
        </p:sp>
      </p:grpSp>
      <p:grpSp>
        <p:nvGrpSpPr>
          <p:cNvPr id="81" name="Group 80">
            <a:extLst>
              <a:ext uri="{FF2B5EF4-FFF2-40B4-BE49-F238E27FC236}">
                <a16:creationId xmlns:a16="http://schemas.microsoft.com/office/drawing/2014/main" id="{8B6240D3-62D6-4158-8A26-E37CC9E8FC5B}"/>
              </a:ext>
            </a:extLst>
          </p:cNvPr>
          <p:cNvGrpSpPr/>
          <p:nvPr/>
        </p:nvGrpSpPr>
        <p:grpSpPr>
          <a:xfrm>
            <a:off x="503109" y="5621091"/>
            <a:ext cx="5388461" cy="615553"/>
            <a:chOff x="551231" y="5146157"/>
            <a:chExt cx="5388461" cy="615553"/>
          </a:xfrm>
        </p:grpSpPr>
        <p:sp>
          <p:nvSpPr>
            <p:cNvPr id="73" name="TextBox 72">
              <a:extLst>
                <a:ext uri="{FF2B5EF4-FFF2-40B4-BE49-F238E27FC236}">
                  <a16:creationId xmlns:a16="http://schemas.microsoft.com/office/drawing/2014/main" id="{013BE7CF-4F50-4BD0-8137-D8763C214343}"/>
                </a:ext>
              </a:extLst>
            </p:cNvPr>
            <p:cNvSpPr txBox="1"/>
            <p:nvPr/>
          </p:nvSpPr>
          <p:spPr>
            <a:xfrm>
              <a:off x="1396908" y="5146157"/>
              <a:ext cx="4542784" cy="61555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fontAlgn="base">
                <a:spcBef>
                  <a:spcPts val="600"/>
                </a:spcBef>
                <a:spcAft>
                  <a:spcPct val="0"/>
                </a:spcAft>
                <a:buClr>
                  <a:srgbClr val="303D24"/>
                </a:buClr>
                <a:buFont typeface="Arial" charset="0"/>
                <a:buNone/>
              </a:pPr>
              <a:r>
                <a:rPr lang="en-US" sz="2000" kern="1200" dirty="0">
                  <a:ea typeface="+mn-ea"/>
                  <a:cs typeface="+mn-cs"/>
                </a:rPr>
                <a:t>Country-specific </a:t>
              </a:r>
              <a:r>
                <a:rPr lang="en-US" sz="2000" b="1" kern="1200" dirty="0">
                  <a:ea typeface="+mn-ea"/>
                  <a:cs typeface="+mn-cs"/>
                </a:rPr>
                <a:t>technical assistance </a:t>
              </a:r>
              <a:r>
                <a:rPr lang="en-US" sz="2000" kern="1200" dirty="0">
                  <a:ea typeface="+mn-ea"/>
                  <a:cs typeface="+mn-cs"/>
                </a:rPr>
                <a:t>on quarantine and IPC protocols</a:t>
              </a:r>
            </a:p>
          </p:txBody>
        </p:sp>
        <p:pic>
          <p:nvPicPr>
            <p:cNvPr id="74" name="CustomIcon">
              <a:extLst>
                <a:ext uri="{FF2B5EF4-FFF2-40B4-BE49-F238E27FC236}">
                  <a16:creationId xmlns:a16="http://schemas.microsoft.com/office/drawing/2014/main" id="{94A65404-D8BF-4E75-AB7C-F927689B8409}"/>
                </a:ext>
              </a:extLst>
            </p:cNvPr>
            <p:cNvPicPr>
              <a:picLocks/>
            </p:cNvPicPr>
            <p:nvPr>
              <p:custDataLst>
                <p:tags r:id="rId8"/>
              </p:custDataLst>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1231" y="5149062"/>
              <a:ext cx="612648" cy="612648"/>
            </a:xfrm>
            <a:prstGeom prst="rect">
              <a:avLst/>
            </a:prstGeom>
          </p:spPr>
        </p:pic>
      </p:grpSp>
      <p:grpSp>
        <p:nvGrpSpPr>
          <p:cNvPr id="82" name="Group 81">
            <a:extLst>
              <a:ext uri="{FF2B5EF4-FFF2-40B4-BE49-F238E27FC236}">
                <a16:creationId xmlns:a16="http://schemas.microsoft.com/office/drawing/2014/main" id="{2D514719-287F-4CFE-A421-ECDA67DEC342}"/>
              </a:ext>
            </a:extLst>
          </p:cNvPr>
          <p:cNvGrpSpPr/>
          <p:nvPr/>
        </p:nvGrpSpPr>
        <p:grpSpPr>
          <a:xfrm>
            <a:off x="527121" y="1249378"/>
            <a:ext cx="5278643" cy="923330"/>
            <a:chOff x="527121" y="1491655"/>
            <a:chExt cx="5278643" cy="923330"/>
          </a:xfrm>
        </p:grpSpPr>
        <p:sp>
          <p:nvSpPr>
            <p:cNvPr id="72" name="TextBox 71">
              <a:extLst>
                <a:ext uri="{FF2B5EF4-FFF2-40B4-BE49-F238E27FC236}">
                  <a16:creationId xmlns:a16="http://schemas.microsoft.com/office/drawing/2014/main" id="{5F78D19A-81AC-419A-8504-487C19D78CA0}"/>
                </a:ext>
              </a:extLst>
            </p:cNvPr>
            <p:cNvSpPr txBox="1"/>
            <p:nvPr/>
          </p:nvSpPr>
          <p:spPr>
            <a:xfrm>
              <a:off x="1349859" y="1491655"/>
              <a:ext cx="4455905" cy="923330"/>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fontAlgn="base">
                <a:spcBef>
                  <a:spcPts val="600"/>
                </a:spcBef>
                <a:spcAft>
                  <a:spcPct val="0"/>
                </a:spcAft>
                <a:buClr>
                  <a:srgbClr val="303D24"/>
                </a:buClr>
                <a:buFont typeface="Arial" charset="0"/>
                <a:buNone/>
              </a:pPr>
              <a:r>
                <a:rPr lang="en-US" sz="2000" kern="1200" dirty="0">
                  <a:ea typeface="+mn-ea"/>
                  <a:cs typeface="+mn-cs"/>
                </a:rPr>
                <a:t>IPC </a:t>
              </a:r>
              <a:r>
                <a:rPr lang="en-US" sz="2000" b="1" kern="1200" dirty="0">
                  <a:ea typeface="+mn-ea"/>
                  <a:cs typeface="+mn-cs"/>
                </a:rPr>
                <a:t>trainings</a:t>
              </a:r>
              <a:r>
                <a:rPr lang="en-US" sz="2000" kern="1200" dirty="0">
                  <a:ea typeface="+mn-ea"/>
                  <a:cs typeface="+mn-cs"/>
                </a:rPr>
                <a:t> for medical personnel across 23 member states from Feb 21-25, 2020 in Abuja</a:t>
              </a:r>
            </a:p>
          </p:txBody>
        </p:sp>
        <p:grpSp>
          <p:nvGrpSpPr>
            <p:cNvPr id="75" name="Group 74">
              <a:extLst>
                <a:ext uri="{FF2B5EF4-FFF2-40B4-BE49-F238E27FC236}">
                  <a16:creationId xmlns:a16="http://schemas.microsoft.com/office/drawing/2014/main" id="{B5F1E1DE-5D70-4E49-A232-50DF8C93E3C3}"/>
                </a:ext>
              </a:extLst>
            </p:cNvPr>
            <p:cNvGrpSpPr/>
            <p:nvPr/>
          </p:nvGrpSpPr>
          <p:grpSpPr>
            <a:xfrm>
              <a:off x="527121" y="1646996"/>
              <a:ext cx="620910" cy="612648"/>
              <a:chOff x="2728136" y="2795760"/>
              <a:chExt cx="620910" cy="612648"/>
            </a:xfrm>
          </p:grpSpPr>
          <p:pic>
            <p:nvPicPr>
              <p:cNvPr id="76" name="CustomIcon">
                <a:extLst>
                  <a:ext uri="{FF2B5EF4-FFF2-40B4-BE49-F238E27FC236}">
                    <a16:creationId xmlns:a16="http://schemas.microsoft.com/office/drawing/2014/main" id="{1582581E-53A0-49AF-AD1C-6C399E93472E}"/>
                  </a:ext>
                </a:extLst>
              </p:cNvPr>
              <p:cNvPicPr>
                <a:picLocks noChangeAspect="1"/>
              </p:cNvPicPr>
              <p:nvPr>
                <p:custDataLst>
                  <p:tags r:id="rId6"/>
                </p:custDataLst>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81324" y="2900978"/>
                <a:ext cx="367722" cy="206306"/>
              </a:xfrm>
              <a:prstGeom prst="rect">
                <a:avLst/>
              </a:prstGeom>
            </p:spPr>
          </p:pic>
          <p:pic>
            <p:nvPicPr>
              <p:cNvPr id="77" name="CustomIcon">
                <a:extLst>
                  <a:ext uri="{FF2B5EF4-FFF2-40B4-BE49-F238E27FC236}">
                    <a16:creationId xmlns:a16="http://schemas.microsoft.com/office/drawing/2014/main" id="{D862A37F-8FB9-4A64-A2A2-27519123D25A}"/>
                  </a:ext>
                </a:extLst>
              </p:cNvPr>
              <p:cNvPicPr>
                <a:picLocks/>
              </p:cNvPicPr>
              <p:nvPr>
                <p:custDataLst>
                  <p:tags r:id="rId7"/>
                </p:custDataLst>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728136" y="2795760"/>
                <a:ext cx="612648" cy="612648"/>
              </a:xfrm>
              <a:prstGeom prst="rect">
                <a:avLst/>
              </a:prstGeom>
            </p:spPr>
          </p:pic>
        </p:grpSp>
      </p:grpSp>
      <p:grpSp>
        <p:nvGrpSpPr>
          <p:cNvPr id="83" name="Group 82">
            <a:extLst>
              <a:ext uri="{FF2B5EF4-FFF2-40B4-BE49-F238E27FC236}">
                <a16:creationId xmlns:a16="http://schemas.microsoft.com/office/drawing/2014/main" id="{14C77395-5A80-4F57-BE6D-7E36BD737F08}"/>
              </a:ext>
            </a:extLst>
          </p:cNvPr>
          <p:cNvGrpSpPr/>
          <p:nvPr/>
        </p:nvGrpSpPr>
        <p:grpSpPr>
          <a:xfrm>
            <a:off x="645402" y="2282957"/>
            <a:ext cx="4980036" cy="3100030"/>
            <a:chOff x="551662" y="2422947"/>
            <a:chExt cx="4980036" cy="3100030"/>
          </a:xfrm>
        </p:grpSpPr>
        <p:pic>
          <p:nvPicPr>
            <p:cNvPr id="69" name="Picture 68">
              <a:extLst>
                <a:ext uri="{FF2B5EF4-FFF2-40B4-BE49-F238E27FC236}">
                  <a16:creationId xmlns:a16="http://schemas.microsoft.com/office/drawing/2014/main" id="{DD3B7CD6-DC30-44C0-98C0-060D0131842E}"/>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5573" t="27737" b="27161"/>
            <a:stretch/>
          </p:blipFill>
          <p:spPr>
            <a:xfrm>
              <a:off x="551662" y="3938216"/>
              <a:ext cx="4980036" cy="1584761"/>
            </a:xfrm>
            <a:prstGeom prst="rect">
              <a:avLst/>
            </a:prstGeom>
          </p:spPr>
        </p:pic>
        <p:pic>
          <p:nvPicPr>
            <p:cNvPr id="70" name="Picture 69">
              <a:extLst>
                <a:ext uri="{FF2B5EF4-FFF2-40B4-BE49-F238E27FC236}">
                  <a16:creationId xmlns:a16="http://schemas.microsoft.com/office/drawing/2014/main" id="{092FA967-5BA5-494B-B9AF-EFE5CBCED81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60623" y="2422947"/>
              <a:ext cx="2054990" cy="1369137"/>
            </a:xfrm>
            <a:prstGeom prst="rect">
              <a:avLst/>
            </a:prstGeom>
          </p:spPr>
        </p:pic>
        <p:pic>
          <p:nvPicPr>
            <p:cNvPr id="80" name="Picture 79">
              <a:extLst>
                <a:ext uri="{FF2B5EF4-FFF2-40B4-BE49-F238E27FC236}">
                  <a16:creationId xmlns:a16="http://schemas.microsoft.com/office/drawing/2014/main" id="{6491A1E8-52AF-4327-B7F0-49B949227F11}"/>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t="26938"/>
            <a:stretch/>
          </p:blipFill>
          <p:spPr>
            <a:xfrm>
              <a:off x="2748192" y="2422947"/>
              <a:ext cx="2775573" cy="1351081"/>
            </a:xfrm>
            <a:prstGeom prst="rect">
              <a:avLst/>
            </a:prstGeom>
          </p:spPr>
        </p:pic>
      </p:grpSp>
      <p:grpSp>
        <p:nvGrpSpPr>
          <p:cNvPr id="84" name="Group 83">
            <a:extLst>
              <a:ext uri="{FF2B5EF4-FFF2-40B4-BE49-F238E27FC236}">
                <a16:creationId xmlns:a16="http://schemas.microsoft.com/office/drawing/2014/main" id="{40ED4CF4-D938-42DB-A10A-0C34E220F02C}"/>
              </a:ext>
            </a:extLst>
          </p:cNvPr>
          <p:cNvGrpSpPr/>
          <p:nvPr/>
        </p:nvGrpSpPr>
        <p:grpSpPr>
          <a:xfrm>
            <a:off x="5781183" y="3230022"/>
            <a:ext cx="731520" cy="731520"/>
            <a:chOff x="4742242" y="2781821"/>
            <a:chExt cx="624703" cy="1130519"/>
          </a:xfrm>
        </p:grpSpPr>
        <p:sp>
          <p:nvSpPr>
            <p:cNvPr id="85" name="Oval 84">
              <a:extLst>
                <a:ext uri="{FF2B5EF4-FFF2-40B4-BE49-F238E27FC236}">
                  <a16:creationId xmlns:a16="http://schemas.microsoft.com/office/drawing/2014/main" id="{D0BD8C02-9778-4595-9DCA-0DA3D4107B32}"/>
                </a:ext>
              </a:extLst>
            </p:cNvPr>
            <p:cNvSpPr/>
            <p:nvPr/>
          </p:nvSpPr>
          <p:spPr>
            <a:xfrm>
              <a:off x="4742242" y="2781821"/>
              <a:ext cx="624703" cy="113051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grpSp>
          <p:nvGrpSpPr>
            <p:cNvPr id="86" name="DoubleChevron3 101">
              <a:extLst>
                <a:ext uri="{FF2B5EF4-FFF2-40B4-BE49-F238E27FC236}">
                  <a16:creationId xmlns:a16="http://schemas.microsoft.com/office/drawing/2014/main" id="{235EA8A0-11E8-4A23-881B-BA0EBA79FC66}"/>
                </a:ext>
              </a:extLst>
            </p:cNvPr>
            <p:cNvGrpSpPr/>
            <p:nvPr>
              <p:custDataLst>
                <p:tags r:id="rId5"/>
              </p:custDataLst>
            </p:nvPr>
          </p:nvGrpSpPr>
          <p:grpSpPr>
            <a:xfrm>
              <a:off x="4857888" y="3002795"/>
              <a:ext cx="409244" cy="645814"/>
              <a:chOff x="1318791" y="1152118"/>
              <a:chExt cx="471310" cy="743763"/>
            </a:xfrm>
          </p:grpSpPr>
          <p:sp>
            <p:nvSpPr>
              <p:cNvPr id="87" name="Chevron1">
                <a:extLst>
                  <a:ext uri="{FF2B5EF4-FFF2-40B4-BE49-F238E27FC236}">
                    <a16:creationId xmlns:a16="http://schemas.microsoft.com/office/drawing/2014/main" id="{C2B76C4A-1309-40F8-BC43-D9D6E659AE66}"/>
                  </a:ext>
                </a:extLst>
              </p:cNvPr>
              <p:cNvSpPr>
                <a:spLocks noChangeAspect="1"/>
              </p:cNvSpPr>
              <p:nvPr/>
            </p:nvSpPr>
            <p:spPr>
              <a:xfrm>
                <a:off x="1318791" y="1226492"/>
                <a:ext cx="245365" cy="595012"/>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sp>
            <p:nvSpPr>
              <p:cNvPr id="88" name="Chevron2">
                <a:extLst>
                  <a:ext uri="{FF2B5EF4-FFF2-40B4-BE49-F238E27FC236}">
                    <a16:creationId xmlns:a16="http://schemas.microsoft.com/office/drawing/2014/main" id="{9AD154B4-C46D-4B8E-9882-BC3A0156DDAF}"/>
                  </a:ext>
                </a:extLst>
              </p:cNvPr>
              <p:cNvSpPr>
                <a:spLocks noChangeAspect="1"/>
              </p:cNvSpPr>
              <p:nvPr/>
            </p:nvSpPr>
            <p:spPr>
              <a:xfrm>
                <a:off x="1483396" y="1152118"/>
                <a:ext cx="306705" cy="743763"/>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grpSp>
      </p:grpSp>
      <p:grpSp>
        <p:nvGrpSpPr>
          <p:cNvPr id="93" name="Group 92">
            <a:extLst>
              <a:ext uri="{FF2B5EF4-FFF2-40B4-BE49-F238E27FC236}">
                <a16:creationId xmlns:a16="http://schemas.microsoft.com/office/drawing/2014/main" id="{5767710D-19DC-4C11-954A-6C68570B1309}"/>
              </a:ext>
            </a:extLst>
          </p:cNvPr>
          <p:cNvGrpSpPr/>
          <p:nvPr/>
        </p:nvGrpSpPr>
        <p:grpSpPr>
          <a:xfrm>
            <a:off x="6744125" y="3806722"/>
            <a:ext cx="1364325" cy="973994"/>
            <a:chOff x="6744125" y="3806722"/>
            <a:chExt cx="3048000" cy="973994"/>
          </a:xfrm>
        </p:grpSpPr>
        <p:sp>
          <p:nvSpPr>
            <p:cNvPr id="91" name="TextBox 90">
              <a:extLst>
                <a:ext uri="{FF2B5EF4-FFF2-40B4-BE49-F238E27FC236}">
                  <a16:creationId xmlns:a16="http://schemas.microsoft.com/office/drawing/2014/main" id="{57FFBA9E-B83D-4A4A-9895-9EF14083C46D}"/>
                </a:ext>
              </a:extLst>
            </p:cNvPr>
            <p:cNvSpPr txBox="1"/>
            <p:nvPr/>
          </p:nvSpPr>
          <p:spPr>
            <a:xfrm>
              <a:off x="6744125" y="4503717"/>
              <a:ext cx="3048000" cy="276999"/>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800" kern="1200" dirty="0">
                  <a:ea typeface="+mn-ea"/>
                  <a:cs typeface="+mn-cs"/>
                </a:rPr>
                <a:t>countries</a:t>
              </a:r>
              <a:endParaRPr lang="en-US" sz="1800" kern="1200" baseline="30000" dirty="0">
                <a:ea typeface="+mn-ea"/>
                <a:cs typeface="+mn-cs"/>
              </a:endParaRPr>
            </a:p>
          </p:txBody>
        </p:sp>
        <p:sp>
          <p:nvSpPr>
            <p:cNvPr id="92" name="TextBox 91">
              <a:extLst>
                <a:ext uri="{FF2B5EF4-FFF2-40B4-BE49-F238E27FC236}">
                  <a16:creationId xmlns:a16="http://schemas.microsoft.com/office/drawing/2014/main" id="{9A8998E9-E5B8-4D76-BFBF-2642ABA0821D}"/>
                </a:ext>
              </a:extLst>
            </p:cNvPr>
            <p:cNvSpPr txBox="1"/>
            <p:nvPr/>
          </p:nvSpPr>
          <p:spPr>
            <a:xfrm>
              <a:off x="6744125" y="3806722"/>
              <a:ext cx="3048000" cy="830997"/>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5400" b="1" kern="1200" dirty="0">
                  <a:ea typeface="+mn-ea"/>
                  <a:cs typeface="+mn-cs"/>
                </a:rPr>
                <a:t>23</a:t>
              </a:r>
            </a:p>
          </p:txBody>
        </p:sp>
      </p:grpSp>
      <p:grpSp>
        <p:nvGrpSpPr>
          <p:cNvPr id="94" name="Group 93">
            <a:extLst>
              <a:ext uri="{FF2B5EF4-FFF2-40B4-BE49-F238E27FC236}">
                <a16:creationId xmlns:a16="http://schemas.microsoft.com/office/drawing/2014/main" id="{708BED66-9992-435B-BD39-DDA8E97A5FE7}"/>
              </a:ext>
            </a:extLst>
          </p:cNvPr>
          <p:cNvGrpSpPr/>
          <p:nvPr/>
        </p:nvGrpSpPr>
        <p:grpSpPr>
          <a:xfrm>
            <a:off x="6744125" y="4890118"/>
            <a:ext cx="1364325" cy="973994"/>
            <a:chOff x="6744125" y="3806722"/>
            <a:chExt cx="3048000" cy="973994"/>
          </a:xfrm>
        </p:grpSpPr>
        <p:sp>
          <p:nvSpPr>
            <p:cNvPr id="95" name="TextBox 94">
              <a:extLst>
                <a:ext uri="{FF2B5EF4-FFF2-40B4-BE49-F238E27FC236}">
                  <a16:creationId xmlns:a16="http://schemas.microsoft.com/office/drawing/2014/main" id="{DBE5467A-BCE7-4547-8379-05C7E783EF1F}"/>
                </a:ext>
              </a:extLst>
            </p:cNvPr>
            <p:cNvSpPr txBox="1"/>
            <p:nvPr/>
          </p:nvSpPr>
          <p:spPr>
            <a:xfrm>
              <a:off x="6744125" y="4503717"/>
              <a:ext cx="3048000" cy="276999"/>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800" kern="1200" dirty="0">
                  <a:ea typeface="+mn-ea"/>
                  <a:cs typeface="+mn-cs"/>
                </a:rPr>
                <a:t>participants</a:t>
              </a:r>
              <a:endParaRPr lang="en-US" sz="1800" kern="1200" baseline="30000" dirty="0">
                <a:ea typeface="+mn-ea"/>
                <a:cs typeface="+mn-cs"/>
              </a:endParaRPr>
            </a:p>
          </p:txBody>
        </p:sp>
        <p:sp>
          <p:nvSpPr>
            <p:cNvPr id="96" name="TextBox 95">
              <a:extLst>
                <a:ext uri="{FF2B5EF4-FFF2-40B4-BE49-F238E27FC236}">
                  <a16:creationId xmlns:a16="http://schemas.microsoft.com/office/drawing/2014/main" id="{BCFF5F72-EA10-4A2C-8BCE-29B4D66B600C}"/>
                </a:ext>
              </a:extLst>
            </p:cNvPr>
            <p:cNvSpPr txBox="1"/>
            <p:nvPr/>
          </p:nvSpPr>
          <p:spPr>
            <a:xfrm>
              <a:off x="6744125" y="3806722"/>
              <a:ext cx="3048000" cy="830997"/>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5400" b="1" kern="1200" dirty="0">
                  <a:ea typeface="+mn-ea"/>
                  <a:cs typeface="+mn-cs"/>
                </a:rPr>
                <a:t>45+</a:t>
              </a:r>
            </a:p>
          </p:txBody>
        </p:sp>
      </p:grpSp>
    </p:spTree>
    <p:extLst>
      <p:ext uri="{BB962C8B-B14F-4D97-AF65-F5344CB8AC3E}">
        <p14:creationId xmlns:p14="http://schemas.microsoft.com/office/powerpoint/2010/main" val="1177207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F4C346-11B3-4A9C-81D1-D9BD38C0359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9" name="think-cell Slide" r:id="rId12" imgW="451" imgH="450" progId="TCLayout.ActiveDocument.1">
                  <p:embed/>
                </p:oleObj>
              </mc:Choice>
              <mc:Fallback>
                <p:oleObj name="think-cell Slide" r:id="rId12" imgW="451" imgH="450"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FAE77D-299D-4C8A-85FB-05D303BA251B}"/>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US" sz="2400" kern="1200" dirty="0" err="1">
              <a:solidFill>
                <a:srgbClr val="000000"/>
              </a:solidFill>
              <a:sym typeface="Arial" panose="020B0604020202020204" pitchFamily="34" charset="0"/>
            </a:endParaRPr>
          </a:p>
        </p:txBody>
      </p:sp>
      <p:sp>
        <p:nvSpPr>
          <p:cNvPr id="87" name="Rectangle 2">
            <a:extLst>
              <a:ext uri="{FF2B5EF4-FFF2-40B4-BE49-F238E27FC236}">
                <a16:creationId xmlns:a16="http://schemas.microsoft.com/office/drawing/2014/main" id="{B661FA50-5FDF-48D8-AA79-D9844ABE4FF7}"/>
              </a:ext>
            </a:extLst>
          </p:cNvPr>
          <p:cNvSpPr txBox="1"/>
          <p:nvPr>
            <p:custDataLst>
              <p:tags r:id="rId4"/>
            </p:custDataLst>
          </p:nvPr>
        </p:nvSpPr>
        <p:spPr>
          <a:xfrm flipH="1">
            <a:off x="407293" y="1850662"/>
            <a:ext cx="2721453" cy="1905963"/>
          </a:xfrm>
          <a:prstGeom prst="round1Rect">
            <a:avLst/>
          </a:prstGeom>
          <a:gradFill flip="none" rotWithShape="1">
            <a:gsLst>
              <a:gs pos="0">
                <a:schemeClr val="accent2">
                  <a:lumMod val="40000"/>
                  <a:lumOff val="60000"/>
                  <a:tint val="66000"/>
                  <a:satMod val="160000"/>
                </a:schemeClr>
              </a:gs>
              <a:gs pos="50000">
                <a:schemeClr val="accent2">
                  <a:lumMod val="40000"/>
                  <a:lumOff val="60000"/>
                  <a:tint val="44500"/>
                  <a:satMod val="160000"/>
                </a:schemeClr>
              </a:gs>
              <a:gs pos="100000">
                <a:schemeClr val="accent2">
                  <a:lumMod val="40000"/>
                  <a:lumOff val="60000"/>
                  <a:tint val="23500"/>
                  <a:satMod val="160000"/>
                </a:schemeClr>
              </a:gs>
            </a:gsLst>
            <a:lin ang="5400000" scaled="1"/>
            <a:tileRect/>
          </a:gradFill>
          <a:ln w="9525">
            <a:noFill/>
            <a:miter lim="800000"/>
            <a:headEnd/>
            <a:tailEnd/>
          </a:ln>
          <a:effectLst/>
        </p:spPr>
        <p:txBody>
          <a:bodyPr wrap="square" tIns="91440" bIns="91440" anchor="ctr">
            <a:noAutofit/>
          </a:bodyPr>
          <a:lstStyle>
            <a:defPPr>
              <a:defRPr lang="en-US"/>
            </a:defPPr>
            <a:lvl1pPr>
              <a:buClr>
                <a:schemeClr val="bg1"/>
              </a:buClr>
              <a:defRPr sz="1400" b="1">
                <a:solidFill>
                  <a:schemeClr val="bg1"/>
                </a:solidFill>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03D24"/>
              </a:buClr>
            </a:pPr>
            <a:endParaRPr lang="en-US" kern="1200" dirty="0">
              <a:ea typeface="+mn-ea"/>
              <a:cs typeface="+mn-cs"/>
            </a:endParaRPr>
          </a:p>
        </p:txBody>
      </p:sp>
      <p:grpSp>
        <p:nvGrpSpPr>
          <p:cNvPr id="88" name="Group 87">
            <a:extLst>
              <a:ext uri="{FF2B5EF4-FFF2-40B4-BE49-F238E27FC236}">
                <a16:creationId xmlns:a16="http://schemas.microsoft.com/office/drawing/2014/main" id="{25D5206F-7589-4091-B94E-326ACC91460A}"/>
              </a:ext>
            </a:extLst>
          </p:cNvPr>
          <p:cNvGrpSpPr/>
          <p:nvPr/>
        </p:nvGrpSpPr>
        <p:grpSpPr>
          <a:xfrm>
            <a:off x="2756479" y="1912432"/>
            <a:ext cx="731520" cy="731520"/>
            <a:chOff x="4742242" y="2781821"/>
            <a:chExt cx="624703" cy="1130519"/>
          </a:xfrm>
        </p:grpSpPr>
        <p:sp>
          <p:nvSpPr>
            <p:cNvPr id="89" name="Oval 88">
              <a:extLst>
                <a:ext uri="{FF2B5EF4-FFF2-40B4-BE49-F238E27FC236}">
                  <a16:creationId xmlns:a16="http://schemas.microsoft.com/office/drawing/2014/main" id="{6ABA7C6C-E64C-4BA4-A284-C3BE514A6DA3}"/>
                </a:ext>
              </a:extLst>
            </p:cNvPr>
            <p:cNvSpPr/>
            <p:nvPr/>
          </p:nvSpPr>
          <p:spPr>
            <a:xfrm>
              <a:off x="4742242" y="2781821"/>
              <a:ext cx="624703" cy="113051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grpSp>
          <p:nvGrpSpPr>
            <p:cNvPr id="90" name="DoubleChevron3 101">
              <a:extLst>
                <a:ext uri="{FF2B5EF4-FFF2-40B4-BE49-F238E27FC236}">
                  <a16:creationId xmlns:a16="http://schemas.microsoft.com/office/drawing/2014/main" id="{88278BC7-FA6D-45D0-87D7-C7E11997BE51}"/>
                </a:ext>
              </a:extLst>
            </p:cNvPr>
            <p:cNvGrpSpPr/>
            <p:nvPr>
              <p:custDataLst>
                <p:tags r:id="rId10"/>
              </p:custDataLst>
            </p:nvPr>
          </p:nvGrpSpPr>
          <p:grpSpPr>
            <a:xfrm>
              <a:off x="4857888" y="3002795"/>
              <a:ext cx="409244" cy="645814"/>
              <a:chOff x="1318791" y="1152118"/>
              <a:chExt cx="471310" cy="743763"/>
            </a:xfrm>
          </p:grpSpPr>
          <p:sp>
            <p:nvSpPr>
              <p:cNvPr id="91" name="Chevron1">
                <a:extLst>
                  <a:ext uri="{FF2B5EF4-FFF2-40B4-BE49-F238E27FC236}">
                    <a16:creationId xmlns:a16="http://schemas.microsoft.com/office/drawing/2014/main" id="{21F26747-7308-4455-B323-277C2835F7DC}"/>
                  </a:ext>
                </a:extLst>
              </p:cNvPr>
              <p:cNvSpPr>
                <a:spLocks noChangeAspect="1"/>
              </p:cNvSpPr>
              <p:nvPr/>
            </p:nvSpPr>
            <p:spPr>
              <a:xfrm>
                <a:off x="1318791" y="1226492"/>
                <a:ext cx="245365" cy="595012"/>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sp>
            <p:nvSpPr>
              <p:cNvPr id="92" name="Chevron2">
                <a:extLst>
                  <a:ext uri="{FF2B5EF4-FFF2-40B4-BE49-F238E27FC236}">
                    <a16:creationId xmlns:a16="http://schemas.microsoft.com/office/drawing/2014/main" id="{09B4B234-9720-4F2F-A3A1-7F976FB0C09C}"/>
                  </a:ext>
                </a:extLst>
              </p:cNvPr>
              <p:cNvSpPr>
                <a:spLocks noChangeAspect="1"/>
              </p:cNvSpPr>
              <p:nvPr/>
            </p:nvSpPr>
            <p:spPr>
              <a:xfrm>
                <a:off x="1483396" y="1152118"/>
                <a:ext cx="306705" cy="743763"/>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GB" sz="1600" kern="1200" dirty="0">
                  <a:solidFill>
                    <a:srgbClr val="FFFFFF"/>
                  </a:solidFill>
                </a:endParaRPr>
              </a:p>
            </p:txBody>
          </p:sp>
        </p:grpSp>
      </p:grpSp>
      <p:sp>
        <p:nvSpPr>
          <p:cNvPr id="2" name="Title 1">
            <a:extLst>
              <a:ext uri="{FF2B5EF4-FFF2-40B4-BE49-F238E27FC236}">
                <a16:creationId xmlns:a16="http://schemas.microsoft.com/office/drawing/2014/main" id="{CDAF3D63-ECB4-4CF4-9BF3-2F52E84EE1A7}"/>
              </a:ext>
            </a:extLst>
          </p:cNvPr>
          <p:cNvSpPr>
            <a:spLocks noGrp="1"/>
          </p:cNvSpPr>
          <p:nvPr>
            <p:ph type="title"/>
          </p:nvPr>
        </p:nvSpPr>
        <p:spPr>
          <a:xfrm>
            <a:off x="287967" y="64129"/>
            <a:ext cx="11725484" cy="738664"/>
          </a:xfrm>
        </p:spPr>
        <p:txBody>
          <a:bodyPr/>
          <a:lstStyle/>
          <a:p>
            <a:r>
              <a:rPr lang="en-US" b="1" dirty="0"/>
              <a:t>Risk Communication &amp; Clinical Care Management: </a:t>
            </a:r>
            <a:r>
              <a:rPr lang="en-US" dirty="0"/>
              <a:t>Africa CDC is building countries’ risk comms capacities and building out a clinician network </a:t>
            </a:r>
          </a:p>
        </p:txBody>
      </p:sp>
      <p:sp>
        <p:nvSpPr>
          <p:cNvPr id="6" name="Freeform 9">
            <a:extLst>
              <a:ext uri="{FF2B5EF4-FFF2-40B4-BE49-F238E27FC236}">
                <a16:creationId xmlns:a16="http://schemas.microsoft.com/office/drawing/2014/main" id="{C6A44568-7979-4999-A724-02AB393F7C6D}"/>
              </a:ext>
            </a:extLst>
          </p:cNvPr>
          <p:cNvSpPr>
            <a:spLocks/>
          </p:cNvSpPr>
          <p:nvPr/>
        </p:nvSpPr>
        <p:spPr bwMode="gray">
          <a:xfrm>
            <a:off x="3881259" y="2128187"/>
            <a:ext cx="1184833" cy="1039982"/>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7" name="Freeform 10">
            <a:extLst>
              <a:ext uri="{FF2B5EF4-FFF2-40B4-BE49-F238E27FC236}">
                <a16:creationId xmlns:a16="http://schemas.microsoft.com/office/drawing/2014/main" id="{EC7C1640-53C7-45C3-95CB-F1339C46C9A4}"/>
              </a:ext>
            </a:extLst>
          </p:cNvPr>
          <p:cNvSpPr>
            <a:spLocks noEditPoints="1"/>
          </p:cNvSpPr>
          <p:nvPr/>
        </p:nvSpPr>
        <p:spPr bwMode="gray">
          <a:xfrm>
            <a:off x="5046854" y="4505774"/>
            <a:ext cx="711804" cy="783099"/>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8" name="Freeform 11">
            <a:extLst>
              <a:ext uri="{FF2B5EF4-FFF2-40B4-BE49-F238E27FC236}">
                <a16:creationId xmlns:a16="http://schemas.microsoft.com/office/drawing/2014/main" id="{2F81894E-443E-41AD-B0F3-C8C68E6F7AB4}"/>
              </a:ext>
            </a:extLst>
          </p:cNvPr>
          <p:cNvSpPr>
            <a:spLocks noEditPoints="1"/>
          </p:cNvSpPr>
          <p:nvPr/>
        </p:nvSpPr>
        <p:spPr bwMode="gray">
          <a:xfrm>
            <a:off x="2925019" y="3267754"/>
            <a:ext cx="153904" cy="139193"/>
          </a:xfrm>
          <a:custGeom>
            <a:avLst/>
            <a:gdLst>
              <a:gd name="T0" fmla="*/ 85 w 136"/>
              <a:gd name="T1" fmla="*/ 99 h 123"/>
              <a:gd name="T2" fmla="*/ 91 w 136"/>
              <a:gd name="T3" fmla="*/ 106 h 123"/>
              <a:gd name="T4" fmla="*/ 97 w 136"/>
              <a:gd name="T5" fmla="*/ 111 h 123"/>
              <a:gd name="T6" fmla="*/ 95 w 136"/>
              <a:gd name="T7" fmla="*/ 117 h 123"/>
              <a:gd name="T8" fmla="*/ 83 w 136"/>
              <a:gd name="T9" fmla="*/ 112 h 123"/>
              <a:gd name="T10" fmla="*/ 80 w 136"/>
              <a:gd name="T11" fmla="*/ 104 h 123"/>
              <a:gd name="T12" fmla="*/ 81 w 136"/>
              <a:gd name="T13" fmla="*/ 97 h 123"/>
              <a:gd name="T14" fmla="*/ 17 w 136"/>
              <a:gd name="T15" fmla="*/ 2 h 123"/>
              <a:gd name="T16" fmla="*/ 18 w 136"/>
              <a:gd name="T17" fmla="*/ 9 h 123"/>
              <a:gd name="T18" fmla="*/ 8 w 136"/>
              <a:gd name="T19" fmla="*/ 15 h 123"/>
              <a:gd name="T20" fmla="*/ 1 w 136"/>
              <a:gd name="T21" fmla="*/ 14 h 123"/>
              <a:gd name="T22" fmla="*/ 1 w 136"/>
              <a:gd name="T23" fmla="*/ 7 h 123"/>
              <a:gd name="T24" fmla="*/ 13 w 136"/>
              <a:gd name="T25" fmla="*/ 0 h 123"/>
              <a:gd name="T26" fmla="*/ 129 w 136"/>
              <a:gd name="T27" fmla="*/ 51 h 123"/>
              <a:gd name="T28" fmla="*/ 136 w 136"/>
              <a:gd name="T29" fmla="*/ 54 h 123"/>
              <a:gd name="T30" fmla="*/ 131 w 136"/>
              <a:gd name="T31" fmla="*/ 63 h 123"/>
              <a:gd name="T32" fmla="*/ 120 w 136"/>
              <a:gd name="T33" fmla="*/ 61 h 123"/>
              <a:gd name="T34" fmla="*/ 124 w 136"/>
              <a:gd name="T35" fmla="*/ 53 h 123"/>
              <a:gd name="T36" fmla="*/ 52 w 136"/>
              <a:gd name="T37" fmla="*/ 111 h 123"/>
              <a:gd name="T38" fmla="*/ 52 w 136"/>
              <a:gd name="T39" fmla="*/ 121 h 123"/>
              <a:gd name="T40" fmla="*/ 42 w 136"/>
              <a:gd name="T41" fmla="*/ 116 h 123"/>
              <a:gd name="T42" fmla="*/ 52 w 136"/>
              <a:gd name="T43" fmla="*/ 111 h 123"/>
              <a:gd name="T44" fmla="*/ 61 w 136"/>
              <a:gd name="T45" fmla="*/ 31 h 123"/>
              <a:gd name="T46" fmla="*/ 68 w 136"/>
              <a:gd name="T47" fmla="*/ 34 h 123"/>
              <a:gd name="T48" fmla="*/ 57 w 136"/>
              <a:gd name="T49" fmla="*/ 32 h 123"/>
              <a:gd name="T50" fmla="*/ 51 w 136"/>
              <a:gd name="T51" fmla="*/ 32 h 123"/>
              <a:gd name="T52" fmla="*/ 51 w 136"/>
              <a:gd name="T53" fmla="*/ 27 h 123"/>
              <a:gd name="T54" fmla="*/ 112 w 136"/>
              <a:gd name="T55" fmla="*/ 95 h 123"/>
              <a:gd name="T56" fmla="*/ 115 w 136"/>
              <a:gd name="T57" fmla="*/ 102 h 123"/>
              <a:gd name="T58" fmla="*/ 108 w 136"/>
              <a:gd name="T59" fmla="*/ 106 h 123"/>
              <a:gd name="T60" fmla="*/ 107 w 136"/>
              <a:gd name="T61" fmla="*/ 99 h 123"/>
              <a:gd name="T62" fmla="*/ 110 w 136"/>
              <a:gd name="T63" fmla="*/ 95 h 123"/>
              <a:gd name="T64" fmla="*/ 22 w 136"/>
              <a:gd name="T65" fmla="*/ 17 h 123"/>
              <a:gd name="T66" fmla="*/ 18 w 136"/>
              <a:gd name="T67" fmla="*/ 22 h 123"/>
              <a:gd name="T68" fmla="*/ 18 w 136"/>
              <a:gd name="T69" fmla="*/ 17 h 123"/>
              <a:gd name="T70" fmla="*/ 22 w 136"/>
              <a:gd name="T71" fmla="*/ 15 h 123"/>
              <a:gd name="T72" fmla="*/ 125 w 136"/>
              <a:gd name="T73" fmla="*/ 22 h 123"/>
              <a:gd name="T74" fmla="*/ 124 w 136"/>
              <a:gd name="T75" fmla="*/ 29 h 123"/>
              <a:gd name="T76" fmla="*/ 124 w 136"/>
              <a:gd name="T77" fmla="*/ 32 h 123"/>
              <a:gd name="T78" fmla="*/ 120 w 136"/>
              <a:gd name="T79" fmla="*/ 26 h 123"/>
              <a:gd name="T80" fmla="*/ 120 w 136"/>
              <a:gd name="T81" fmla="*/ 20 h 123"/>
              <a:gd name="T82" fmla="*/ 35 w 136"/>
              <a:gd name="T83" fmla="*/ 121 h 123"/>
              <a:gd name="T84" fmla="*/ 30 w 136"/>
              <a:gd name="T85" fmla="*/ 119 h 123"/>
              <a:gd name="T86" fmla="*/ 34 w 136"/>
              <a:gd name="T87" fmla="*/ 117 h 123"/>
              <a:gd name="T88" fmla="*/ 32 w 136"/>
              <a:gd name="T89" fmla="*/ 24 h 123"/>
              <a:gd name="T90" fmla="*/ 29 w 136"/>
              <a:gd name="T91" fmla="*/ 22 h 123"/>
              <a:gd name="T92" fmla="*/ 37 w 136"/>
              <a:gd name="T93" fmla="*/ 31 h 123"/>
              <a:gd name="T94" fmla="*/ 34 w 136"/>
              <a:gd name="T95" fmla="*/ 27 h 123"/>
              <a:gd name="T96" fmla="*/ 34 w 136"/>
              <a:gd name="T97" fmla="*/ 29 h 123"/>
              <a:gd name="T98" fmla="*/ 124 w 136"/>
              <a:gd name="T99" fmla="*/ 53 h 123"/>
              <a:gd name="T100" fmla="*/ 37 w 136"/>
              <a:gd name="T10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23">
                <a:moveTo>
                  <a:pt x="85" y="95"/>
                </a:moveTo>
                <a:lnTo>
                  <a:pt x="85" y="97"/>
                </a:lnTo>
                <a:lnTo>
                  <a:pt x="85" y="99"/>
                </a:lnTo>
                <a:lnTo>
                  <a:pt x="88" y="100"/>
                </a:lnTo>
                <a:lnTo>
                  <a:pt x="90" y="104"/>
                </a:lnTo>
                <a:lnTo>
                  <a:pt x="91" y="106"/>
                </a:lnTo>
                <a:lnTo>
                  <a:pt x="93" y="106"/>
                </a:lnTo>
                <a:lnTo>
                  <a:pt x="95" y="109"/>
                </a:lnTo>
                <a:lnTo>
                  <a:pt x="97" y="111"/>
                </a:lnTo>
                <a:lnTo>
                  <a:pt x="97" y="112"/>
                </a:lnTo>
                <a:lnTo>
                  <a:pt x="97" y="114"/>
                </a:lnTo>
                <a:lnTo>
                  <a:pt x="95" y="117"/>
                </a:lnTo>
                <a:lnTo>
                  <a:pt x="93" y="117"/>
                </a:lnTo>
                <a:lnTo>
                  <a:pt x="88" y="117"/>
                </a:lnTo>
                <a:lnTo>
                  <a:pt x="83" y="112"/>
                </a:lnTo>
                <a:lnTo>
                  <a:pt x="80" y="109"/>
                </a:lnTo>
                <a:lnTo>
                  <a:pt x="81" y="106"/>
                </a:lnTo>
                <a:lnTo>
                  <a:pt x="80" y="104"/>
                </a:lnTo>
                <a:lnTo>
                  <a:pt x="81" y="100"/>
                </a:lnTo>
                <a:lnTo>
                  <a:pt x="80" y="97"/>
                </a:lnTo>
                <a:lnTo>
                  <a:pt x="81" y="97"/>
                </a:lnTo>
                <a:lnTo>
                  <a:pt x="81" y="95"/>
                </a:lnTo>
                <a:lnTo>
                  <a:pt x="85" y="95"/>
                </a:lnTo>
                <a:close/>
                <a:moveTo>
                  <a:pt x="17" y="2"/>
                </a:moveTo>
                <a:lnTo>
                  <a:pt x="18" y="5"/>
                </a:lnTo>
                <a:lnTo>
                  <a:pt x="20" y="5"/>
                </a:lnTo>
                <a:lnTo>
                  <a:pt x="18" y="9"/>
                </a:lnTo>
                <a:lnTo>
                  <a:pt x="15" y="10"/>
                </a:lnTo>
                <a:lnTo>
                  <a:pt x="13" y="10"/>
                </a:lnTo>
                <a:lnTo>
                  <a:pt x="8" y="15"/>
                </a:lnTo>
                <a:lnTo>
                  <a:pt x="5" y="15"/>
                </a:lnTo>
                <a:lnTo>
                  <a:pt x="3" y="15"/>
                </a:lnTo>
                <a:lnTo>
                  <a:pt x="1" y="14"/>
                </a:lnTo>
                <a:lnTo>
                  <a:pt x="1" y="10"/>
                </a:lnTo>
                <a:lnTo>
                  <a:pt x="0" y="9"/>
                </a:lnTo>
                <a:lnTo>
                  <a:pt x="1" y="7"/>
                </a:lnTo>
                <a:lnTo>
                  <a:pt x="5" y="5"/>
                </a:lnTo>
                <a:lnTo>
                  <a:pt x="8" y="3"/>
                </a:lnTo>
                <a:lnTo>
                  <a:pt x="13" y="0"/>
                </a:lnTo>
                <a:lnTo>
                  <a:pt x="17" y="2"/>
                </a:lnTo>
                <a:close/>
                <a:moveTo>
                  <a:pt x="125" y="51"/>
                </a:moveTo>
                <a:lnTo>
                  <a:pt x="129" y="51"/>
                </a:lnTo>
                <a:lnTo>
                  <a:pt x="131" y="49"/>
                </a:lnTo>
                <a:lnTo>
                  <a:pt x="134" y="51"/>
                </a:lnTo>
                <a:lnTo>
                  <a:pt x="136" y="54"/>
                </a:lnTo>
                <a:lnTo>
                  <a:pt x="136" y="58"/>
                </a:lnTo>
                <a:lnTo>
                  <a:pt x="136" y="60"/>
                </a:lnTo>
                <a:lnTo>
                  <a:pt x="131" y="63"/>
                </a:lnTo>
                <a:lnTo>
                  <a:pt x="129" y="63"/>
                </a:lnTo>
                <a:lnTo>
                  <a:pt x="125" y="63"/>
                </a:lnTo>
                <a:lnTo>
                  <a:pt x="120" y="61"/>
                </a:lnTo>
                <a:lnTo>
                  <a:pt x="122" y="58"/>
                </a:lnTo>
                <a:lnTo>
                  <a:pt x="124" y="56"/>
                </a:lnTo>
                <a:lnTo>
                  <a:pt x="124" y="53"/>
                </a:lnTo>
                <a:lnTo>
                  <a:pt x="124" y="49"/>
                </a:lnTo>
                <a:lnTo>
                  <a:pt x="125" y="51"/>
                </a:lnTo>
                <a:close/>
                <a:moveTo>
                  <a:pt x="52" y="111"/>
                </a:moveTo>
                <a:lnTo>
                  <a:pt x="54" y="112"/>
                </a:lnTo>
                <a:lnTo>
                  <a:pt x="54" y="119"/>
                </a:lnTo>
                <a:lnTo>
                  <a:pt x="52" y="121"/>
                </a:lnTo>
                <a:lnTo>
                  <a:pt x="49" y="123"/>
                </a:lnTo>
                <a:lnTo>
                  <a:pt x="44" y="119"/>
                </a:lnTo>
                <a:lnTo>
                  <a:pt x="42" y="116"/>
                </a:lnTo>
                <a:lnTo>
                  <a:pt x="44" y="112"/>
                </a:lnTo>
                <a:lnTo>
                  <a:pt x="49" y="111"/>
                </a:lnTo>
                <a:lnTo>
                  <a:pt x="52" y="111"/>
                </a:lnTo>
                <a:close/>
                <a:moveTo>
                  <a:pt x="54" y="29"/>
                </a:moveTo>
                <a:lnTo>
                  <a:pt x="57" y="29"/>
                </a:lnTo>
                <a:lnTo>
                  <a:pt x="61" y="31"/>
                </a:lnTo>
                <a:lnTo>
                  <a:pt x="66" y="31"/>
                </a:lnTo>
                <a:lnTo>
                  <a:pt x="68" y="32"/>
                </a:lnTo>
                <a:lnTo>
                  <a:pt x="68" y="34"/>
                </a:lnTo>
                <a:lnTo>
                  <a:pt x="63" y="34"/>
                </a:lnTo>
                <a:lnTo>
                  <a:pt x="59" y="32"/>
                </a:lnTo>
                <a:lnTo>
                  <a:pt x="57" y="32"/>
                </a:lnTo>
                <a:lnTo>
                  <a:pt x="54" y="34"/>
                </a:lnTo>
                <a:lnTo>
                  <a:pt x="52" y="37"/>
                </a:lnTo>
                <a:lnTo>
                  <a:pt x="51" y="32"/>
                </a:lnTo>
                <a:lnTo>
                  <a:pt x="47" y="31"/>
                </a:lnTo>
                <a:lnTo>
                  <a:pt x="47" y="29"/>
                </a:lnTo>
                <a:lnTo>
                  <a:pt x="51" y="27"/>
                </a:lnTo>
                <a:lnTo>
                  <a:pt x="54" y="29"/>
                </a:lnTo>
                <a:close/>
                <a:moveTo>
                  <a:pt x="110" y="95"/>
                </a:moveTo>
                <a:lnTo>
                  <a:pt x="112" y="95"/>
                </a:lnTo>
                <a:lnTo>
                  <a:pt x="112" y="97"/>
                </a:lnTo>
                <a:lnTo>
                  <a:pt x="114" y="97"/>
                </a:lnTo>
                <a:lnTo>
                  <a:pt x="115" y="102"/>
                </a:lnTo>
                <a:lnTo>
                  <a:pt x="115" y="104"/>
                </a:lnTo>
                <a:lnTo>
                  <a:pt x="112" y="107"/>
                </a:lnTo>
                <a:lnTo>
                  <a:pt x="108" y="106"/>
                </a:lnTo>
                <a:lnTo>
                  <a:pt x="107" y="104"/>
                </a:lnTo>
                <a:lnTo>
                  <a:pt x="108" y="100"/>
                </a:lnTo>
                <a:lnTo>
                  <a:pt x="107" y="99"/>
                </a:lnTo>
                <a:lnTo>
                  <a:pt x="108" y="97"/>
                </a:lnTo>
                <a:lnTo>
                  <a:pt x="110" y="97"/>
                </a:lnTo>
                <a:lnTo>
                  <a:pt x="110" y="95"/>
                </a:lnTo>
                <a:close/>
                <a:moveTo>
                  <a:pt x="22" y="15"/>
                </a:moveTo>
                <a:lnTo>
                  <a:pt x="23" y="15"/>
                </a:lnTo>
                <a:lnTo>
                  <a:pt x="22" y="17"/>
                </a:lnTo>
                <a:lnTo>
                  <a:pt x="25" y="19"/>
                </a:lnTo>
                <a:lnTo>
                  <a:pt x="25" y="20"/>
                </a:lnTo>
                <a:lnTo>
                  <a:pt x="18" y="22"/>
                </a:lnTo>
                <a:lnTo>
                  <a:pt x="13" y="20"/>
                </a:lnTo>
                <a:lnTo>
                  <a:pt x="15" y="17"/>
                </a:lnTo>
                <a:lnTo>
                  <a:pt x="18" y="17"/>
                </a:lnTo>
                <a:lnTo>
                  <a:pt x="18" y="15"/>
                </a:lnTo>
                <a:lnTo>
                  <a:pt x="20" y="15"/>
                </a:lnTo>
                <a:lnTo>
                  <a:pt x="22" y="15"/>
                </a:lnTo>
                <a:close/>
                <a:moveTo>
                  <a:pt x="125" y="19"/>
                </a:moveTo>
                <a:lnTo>
                  <a:pt x="124" y="20"/>
                </a:lnTo>
                <a:lnTo>
                  <a:pt x="125" y="22"/>
                </a:lnTo>
                <a:lnTo>
                  <a:pt x="124" y="24"/>
                </a:lnTo>
                <a:lnTo>
                  <a:pt x="125" y="27"/>
                </a:lnTo>
                <a:lnTo>
                  <a:pt x="124" y="29"/>
                </a:lnTo>
                <a:lnTo>
                  <a:pt x="125" y="32"/>
                </a:lnTo>
                <a:lnTo>
                  <a:pt x="124" y="31"/>
                </a:lnTo>
                <a:lnTo>
                  <a:pt x="124" y="32"/>
                </a:lnTo>
                <a:lnTo>
                  <a:pt x="122" y="29"/>
                </a:lnTo>
                <a:lnTo>
                  <a:pt x="122" y="27"/>
                </a:lnTo>
                <a:lnTo>
                  <a:pt x="120" y="26"/>
                </a:lnTo>
                <a:lnTo>
                  <a:pt x="120" y="24"/>
                </a:lnTo>
                <a:lnTo>
                  <a:pt x="119" y="22"/>
                </a:lnTo>
                <a:lnTo>
                  <a:pt x="120" y="20"/>
                </a:lnTo>
                <a:lnTo>
                  <a:pt x="124" y="19"/>
                </a:lnTo>
                <a:lnTo>
                  <a:pt x="125" y="19"/>
                </a:lnTo>
                <a:close/>
                <a:moveTo>
                  <a:pt x="35" y="121"/>
                </a:moveTo>
                <a:lnTo>
                  <a:pt x="34" y="123"/>
                </a:lnTo>
                <a:lnTo>
                  <a:pt x="30" y="121"/>
                </a:lnTo>
                <a:lnTo>
                  <a:pt x="30" y="119"/>
                </a:lnTo>
                <a:lnTo>
                  <a:pt x="32" y="119"/>
                </a:lnTo>
                <a:lnTo>
                  <a:pt x="32" y="117"/>
                </a:lnTo>
                <a:lnTo>
                  <a:pt x="34" y="117"/>
                </a:lnTo>
                <a:lnTo>
                  <a:pt x="35" y="121"/>
                </a:lnTo>
                <a:close/>
                <a:moveTo>
                  <a:pt x="30" y="22"/>
                </a:moveTo>
                <a:lnTo>
                  <a:pt x="32" y="24"/>
                </a:lnTo>
                <a:lnTo>
                  <a:pt x="34" y="24"/>
                </a:lnTo>
                <a:lnTo>
                  <a:pt x="30" y="24"/>
                </a:lnTo>
                <a:lnTo>
                  <a:pt x="29" y="22"/>
                </a:lnTo>
                <a:lnTo>
                  <a:pt x="29" y="20"/>
                </a:lnTo>
                <a:lnTo>
                  <a:pt x="30" y="22"/>
                </a:lnTo>
                <a:close/>
                <a:moveTo>
                  <a:pt x="37" y="31"/>
                </a:moveTo>
                <a:lnTo>
                  <a:pt x="39" y="31"/>
                </a:lnTo>
                <a:lnTo>
                  <a:pt x="37" y="31"/>
                </a:lnTo>
                <a:close/>
                <a:moveTo>
                  <a:pt x="34" y="27"/>
                </a:moveTo>
                <a:lnTo>
                  <a:pt x="35" y="27"/>
                </a:lnTo>
                <a:lnTo>
                  <a:pt x="35" y="29"/>
                </a:lnTo>
                <a:lnTo>
                  <a:pt x="34" y="29"/>
                </a:lnTo>
                <a:lnTo>
                  <a:pt x="34" y="27"/>
                </a:lnTo>
                <a:close/>
                <a:moveTo>
                  <a:pt x="122" y="53"/>
                </a:moveTo>
                <a:lnTo>
                  <a:pt x="124" y="53"/>
                </a:lnTo>
                <a:lnTo>
                  <a:pt x="122" y="53"/>
                </a:lnTo>
                <a:close/>
                <a:moveTo>
                  <a:pt x="35" y="114"/>
                </a:moveTo>
                <a:lnTo>
                  <a:pt x="37" y="114"/>
                </a:lnTo>
                <a:lnTo>
                  <a:pt x="35" y="1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9" name="Freeform 12">
            <a:extLst>
              <a:ext uri="{FF2B5EF4-FFF2-40B4-BE49-F238E27FC236}">
                <a16:creationId xmlns:a16="http://schemas.microsoft.com/office/drawing/2014/main" id="{45877AC6-D044-419C-BE21-5E06E8C33702}"/>
              </a:ext>
            </a:extLst>
          </p:cNvPr>
          <p:cNvSpPr>
            <a:spLocks/>
          </p:cNvSpPr>
          <p:nvPr/>
        </p:nvSpPr>
        <p:spPr bwMode="gray">
          <a:xfrm>
            <a:off x="4423318" y="3542744"/>
            <a:ext cx="175404" cy="354205"/>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0" name="Freeform 13">
            <a:extLst>
              <a:ext uri="{FF2B5EF4-FFF2-40B4-BE49-F238E27FC236}">
                <a16:creationId xmlns:a16="http://schemas.microsoft.com/office/drawing/2014/main" id="{F0D7DB80-0198-4F62-B520-DC1FDC39A666}"/>
              </a:ext>
            </a:extLst>
          </p:cNvPr>
          <p:cNvSpPr>
            <a:spLocks/>
          </p:cNvSpPr>
          <p:nvPr/>
        </p:nvSpPr>
        <p:spPr bwMode="gray">
          <a:xfrm>
            <a:off x="5523277" y="5275293"/>
            <a:ext cx="537532" cy="521688"/>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1" name="Freeform 14">
            <a:extLst>
              <a:ext uri="{FF2B5EF4-FFF2-40B4-BE49-F238E27FC236}">
                <a16:creationId xmlns:a16="http://schemas.microsoft.com/office/drawing/2014/main" id="{C8C754B8-DB96-45E2-BD60-FDB8D00C84DE}"/>
              </a:ext>
            </a:extLst>
          </p:cNvPr>
          <p:cNvSpPr>
            <a:spLocks/>
          </p:cNvSpPr>
          <p:nvPr/>
        </p:nvSpPr>
        <p:spPr bwMode="gray">
          <a:xfrm>
            <a:off x="4061191" y="3391104"/>
            <a:ext cx="454921" cy="324782"/>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2" name="Freeform 15">
            <a:extLst>
              <a:ext uri="{FF2B5EF4-FFF2-40B4-BE49-F238E27FC236}">
                <a16:creationId xmlns:a16="http://schemas.microsoft.com/office/drawing/2014/main" id="{523B5EB9-1D65-4E98-8E4C-D2DD6A4E9E5C}"/>
              </a:ext>
            </a:extLst>
          </p:cNvPr>
          <p:cNvSpPr>
            <a:spLocks/>
          </p:cNvSpPr>
          <p:nvPr/>
        </p:nvSpPr>
        <p:spPr bwMode="gray">
          <a:xfrm>
            <a:off x="6039307" y="4388083"/>
            <a:ext cx="105242" cy="123349"/>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13" name="Freeform 16">
            <a:extLst>
              <a:ext uri="{FF2B5EF4-FFF2-40B4-BE49-F238E27FC236}">
                <a16:creationId xmlns:a16="http://schemas.microsoft.com/office/drawing/2014/main" id="{4933A772-883B-4403-A43F-A8628DD0B545}"/>
              </a:ext>
            </a:extLst>
          </p:cNvPr>
          <p:cNvSpPr>
            <a:spLocks noEditPoints="1"/>
          </p:cNvSpPr>
          <p:nvPr/>
        </p:nvSpPr>
        <p:spPr bwMode="gray">
          <a:xfrm>
            <a:off x="4871449" y="3504268"/>
            <a:ext cx="434552" cy="656354"/>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4" name="Freeform 17">
            <a:extLst>
              <a:ext uri="{FF2B5EF4-FFF2-40B4-BE49-F238E27FC236}">
                <a16:creationId xmlns:a16="http://schemas.microsoft.com/office/drawing/2014/main" id="{5523CF4F-24F5-45EA-B53B-1E9EFA37247F}"/>
              </a:ext>
            </a:extLst>
          </p:cNvPr>
          <p:cNvSpPr>
            <a:spLocks noEditPoints="1"/>
          </p:cNvSpPr>
          <p:nvPr/>
        </p:nvSpPr>
        <p:spPr bwMode="gray">
          <a:xfrm>
            <a:off x="4865791" y="3978428"/>
            <a:ext cx="11317" cy="19238"/>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5" name="Freeform 18">
            <a:extLst>
              <a:ext uri="{FF2B5EF4-FFF2-40B4-BE49-F238E27FC236}">
                <a16:creationId xmlns:a16="http://schemas.microsoft.com/office/drawing/2014/main" id="{ECA94059-C192-415E-945C-60178764B5CB}"/>
              </a:ext>
            </a:extLst>
          </p:cNvPr>
          <p:cNvSpPr>
            <a:spLocks/>
          </p:cNvSpPr>
          <p:nvPr/>
        </p:nvSpPr>
        <p:spPr bwMode="gray">
          <a:xfrm>
            <a:off x="5204153" y="3624222"/>
            <a:ext cx="746886" cy="503582"/>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16" name="Freeform 19">
            <a:extLst>
              <a:ext uri="{FF2B5EF4-FFF2-40B4-BE49-F238E27FC236}">
                <a16:creationId xmlns:a16="http://schemas.microsoft.com/office/drawing/2014/main" id="{367F51F2-A6A6-411D-8B2A-FC59C92A95A7}"/>
              </a:ext>
            </a:extLst>
          </p:cNvPr>
          <p:cNvSpPr>
            <a:spLocks/>
          </p:cNvSpPr>
          <p:nvPr/>
        </p:nvSpPr>
        <p:spPr bwMode="gray">
          <a:xfrm>
            <a:off x="5149834" y="2910154"/>
            <a:ext cx="603166" cy="917764"/>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7" name="Freeform 20">
            <a:extLst>
              <a:ext uri="{FF2B5EF4-FFF2-40B4-BE49-F238E27FC236}">
                <a16:creationId xmlns:a16="http://schemas.microsoft.com/office/drawing/2014/main" id="{5D8AEDB3-728E-44D3-AB4C-9276484D5A23}"/>
              </a:ext>
            </a:extLst>
          </p:cNvPr>
          <p:cNvSpPr>
            <a:spLocks noEditPoints="1"/>
          </p:cNvSpPr>
          <p:nvPr/>
        </p:nvSpPr>
        <p:spPr bwMode="gray">
          <a:xfrm>
            <a:off x="6855223" y="4906376"/>
            <a:ext cx="74688" cy="61108"/>
          </a:xfrm>
          <a:custGeom>
            <a:avLst/>
            <a:gdLst>
              <a:gd name="T0" fmla="*/ 8 w 66"/>
              <a:gd name="T1" fmla="*/ 1 h 54"/>
              <a:gd name="T2" fmla="*/ 10 w 66"/>
              <a:gd name="T3" fmla="*/ 3 h 54"/>
              <a:gd name="T4" fmla="*/ 8 w 66"/>
              <a:gd name="T5" fmla="*/ 15 h 54"/>
              <a:gd name="T6" fmla="*/ 12 w 66"/>
              <a:gd name="T7" fmla="*/ 20 h 54"/>
              <a:gd name="T8" fmla="*/ 12 w 66"/>
              <a:gd name="T9" fmla="*/ 23 h 54"/>
              <a:gd name="T10" fmla="*/ 15 w 66"/>
              <a:gd name="T11" fmla="*/ 27 h 54"/>
              <a:gd name="T12" fmla="*/ 13 w 66"/>
              <a:gd name="T13" fmla="*/ 29 h 54"/>
              <a:gd name="T14" fmla="*/ 12 w 66"/>
              <a:gd name="T15" fmla="*/ 30 h 54"/>
              <a:gd name="T16" fmla="*/ 10 w 66"/>
              <a:gd name="T17" fmla="*/ 29 h 54"/>
              <a:gd name="T18" fmla="*/ 8 w 66"/>
              <a:gd name="T19" fmla="*/ 25 h 54"/>
              <a:gd name="T20" fmla="*/ 3 w 66"/>
              <a:gd name="T21" fmla="*/ 25 h 54"/>
              <a:gd name="T22" fmla="*/ 0 w 66"/>
              <a:gd name="T23" fmla="*/ 20 h 54"/>
              <a:gd name="T24" fmla="*/ 0 w 66"/>
              <a:gd name="T25" fmla="*/ 18 h 54"/>
              <a:gd name="T26" fmla="*/ 1 w 66"/>
              <a:gd name="T27" fmla="*/ 17 h 54"/>
              <a:gd name="T28" fmla="*/ 1 w 66"/>
              <a:gd name="T29" fmla="*/ 3 h 54"/>
              <a:gd name="T30" fmla="*/ 3 w 66"/>
              <a:gd name="T31" fmla="*/ 1 h 54"/>
              <a:gd name="T32" fmla="*/ 6 w 66"/>
              <a:gd name="T33" fmla="*/ 0 h 54"/>
              <a:gd name="T34" fmla="*/ 8 w 66"/>
              <a:gd name="T35" fmla="*/ 1 h 54"/>
              <a:gd name="T36" fmla="*/ 66 w 66"/>
              <a:gd name="T37" fmla="*/ 46 h 54"/>
              <a:gd name="T38" fmla="*/ 66 w 66"/>
              <a:gd name="T39" fmla="*/ 47 h 54"/>
              <a:gd name="T40" fmla="*/ 66 w 66"/>
              <a:gd name="T41" fmla="*/ 51 h 54"/>
              <a:gd name="T42" fmla="*/ 66 w 66"/>
              <a:gd name="T43" fmla="*/ 52 h 54"/>
              <a:gd name="T44" fmla="*/ 64 w 66"/>
              <a:gd name="T45" fmla="*/ 52 h 54"/>
              <a:gd name="T46" fmla="*/ 64 w 66"/>
              <a:gd name="T47" fmla="*/ 51 h 54"/>
              <a:gd name="T48" fmla="*/ 59 w 66"/>
              <a:gd name="T49" fmla="*/ 47 h 54"/>
              <a:gd name="T50" fmla="*/ 59 w 66"/>
              <a:gd name="T51" fmla="*/ 46 h 54"/>
              <a:gd name="T52" fmla="*/ 56 w 66"/>
              <a:gd name="T53" fmla="*/ 46 h 54"/>
              <a:gd name="T54" fmla="*/ 49 w 66"/>
              <a:gd name="T55" fmla="*/ 40 h 54"/>
              <a:gd name="T56" fmla="*/ 54 w 66"/>
              <a:gd name="T57" fmla="*/ 42 h 54"/>
              <a:gd name="T58" fmla="*/ 57 w 66"/>
              <a:gd name="T59" fmla="*/ 42 h 54"/>
              <a:gd name="T60" fmla="*/ 61 w 66"/>
              <a:gd name="T61" fmla="*/ 40 h 54"/>
              <a:gd name="T62" fmla="*/ 61 w 66"/>
              <a:gd name="T63" fmla="*/ 39 h 54"/>
              <a:gd name="T64" fmla="*/ 61 w 66"/>
              <a:gd name="T65" fmla="*/ 37 h 54"/>
              <a:gd name="T66" fmla="*/ 63 w 66"/>
              <a:gd name="T67" fmla="*/ 35 h 54"/>
              <a:gd name="T68" fmla="*/ 64 w 66"/>
              <a:gd name="T69" fmla="*/ 37 h 54"/>
              <a:gd name="T70" fmla="*/ 64 w 66"/>
              <a:gd name="T71" fmla="*/ 39 h 54"/>
              <a:gd name="T72" fmla="*/ 66 w 66"/>
              <a:gd name="T73" fmla="*/ 46 h 54"/>
              <a:gd name="T74" fmla="*/ 25 w 66"/>
              <a:gd name="T75" fmla="*/ 46 h 54"/>
              <a:gd name="T76" fmla="*/ 32 w 66"/>
              <a:gd name="T77" fmla="*/ 51 h 54"/>
              <a:gd name="T78" fmla="*/ 32 w 66"/>
              <a:gd name="T79" fmla="*/ 52 h 54"/>
              <a:gd name="T80" fmla="*/ 29 w 66"/>
              <a:gd name="T81" fmla="*/ 51 h 54"/>
              <a:gd name="T82" fmla="*/ 27 w 66"/>
              <a:gd name="T83" fmla="*/ 52 h 54"/>
              <a:gd name="T84" fmla="*/ 27 w 66"/>
              <a:gd name="T85" fmla="*/ 51 h 54"/>
              <a:gd name="T86" fmla="*/ 22 w 66"/>
              <a:gd name="T87" fmla="*/ 51 h 54"/>
              <a:gd name="T88" fmla="*/ 22 w 66"/>
              <a:gd name="T89" fmla="*/ 49 h 54"/>
              <a:gd name="T90" fmla="*/ 20 w 66"/>
              <a:gd name="T91" fmla="*/ 49 h 54"/>
              <a:gd name="T92" fmla="*/ 20 w 66"/>
              <a:gd name="T93" fmla="*/ 46 h 54"/>
              <a:gd name="T94" fmla="*/ 22 w 66"/>
              <a:gd name="T95" fmla="*/ 46 h 54"/>
              <a:gd name="T96" fmla="*/ 25 w 66"/>
              <a:gd name="T97" fmla="*/ 46 h 54"/>
              <a:gd name="T98" fmla="*/ 22 w 66"/>
              <a:gd name="T99" fmla="*/ 52 h 54"/>
              <a:gd name="T100" fmla="*/ 22 w 66"/>
              <a:gd name="T101" fmla="*/ 54 h 54"/>
              <a:gd name="T102" fmla="*/ 22 w 66"/>
              <a:gd name="T103" fmla="*/ 52 h 54"/>
              <a:gd name="T104" fmla="*/ 23 w 66"/>
              <a:gd name="T105" fmla="*/ 52 h 54"/>
              <a:gd name="T106" fmla="*/ 25 w 66"/>
              <a:gd name="T107" fmla="*/ 52 h 54"/>
              <a:gd name="T108" fmla="*/ 25 w 66"/>
              <a:gd name="T109" fmla="*/ 54 h 54"/>
              <a:gd name="T110" fmla="*/ 23 w 66"/>
              <a:gd name="T111" fmla="*/ 54 h 54"/>
              <a:gd name="T112" fmla="*/ 23 w 66"/>
              <a:gd name="T113" fmla="*/ 52 h 54"/>
              <a:gd name="T114" fmla="*/ 25 w 66"/>
              <a:gd name="T115" fmla="*/ 52 h 54"/>
              <a:gd name="T116" fmla="*/ 25 w 66"/>
              <a:gd name="T117" fmla="*/ 54 h 54"/>
              <a:gd name="T118" fmla="*/ 25 w 66"/>
              <a:gd name="T11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54">
                <a:moveTo>
                  <a:pt x="8" y="1"/>
                </a:moveTo>
                <a:lnTo>
                  <a:pt x="10" y="3"/>
                </a:lnTo>
                <a:lnTo>
                  <a:pt x="8" y="15"/>
                </a:lnTo>
                <a:lnTo>
                  <a:pt x="12" y="20"/>
                </a:lnTo>
                <a:lnTo>
                  <a:pt x="12" y="23"/>
                </a:lnTo>
                <a:lnTo>
                  <a:pt x="15" y="27"/>
                </a:lnTo>
                <a:lnTo>
                  <a:pt x="13" y="29"/>
                </a:lnTo>
                <a:lnTo>
                  <a:pt x="12" y="30"/>
                </a:lnTo>
                <a:lnTo>
                  <a:pt x="10" y="29"/>
                </a:lnTo>
                <a:lnTo>
                  <a:pt x="8" y="25"/>
                </a:lnTo>
                <a:lnTo>
                  <a:pt x="3" y="25"/>
                </a:lnTo>
                <a:lnTo>
                  <a:pt x="0" y="20"/>
                </a:lnTo>
                <a:lnTo>
                  <a:pt x="0" y="18"/>
                </a:lnTo>
                <a:lnTo>
                  <a:pt x="1" y="17"/>
                </a:lnTo>
                <a:lnTo>
                  <a:pt x="1" y="3"/>
                </a:lnTo>
                <a:lnTo>
                  <a:pt x="3" y="1"/>
                </a:lnTo>
                <a:lnTo>
                  <a:pt x="6" y="0"/>
                </a:lnTo>
                <a:lnTo>
                  <a:pt x="8" y="1"/>
                </a:lnTo>
                <a:close/>
                <a:moveTo>
                  <a:pt x="66" y="46"/>
                </a:moveTo>
                <a:lnTo>
                  <a:pt x="66" y="47"/>
                </a:lnTo>
                <a:lnTo>
                  <a:pt x="66" y="51"/>
                </a:lnTo>
                <a:lnTo>
                  <a:pt x="66" y="52"/>
                </a:lnTo>
                <a:lnTo>
                  <a:pt x="64" y="52"/>
                </a:lnTo>
                <a:lnTo>
                  <a:pt x="64" y="51"/>
                </a:lnTo>
                <a:lnTo>
                  <a:pt x="59" y="47"/>
                </a:lnTo>
                <a:lnTo>
                  <a:pt x="59" y="46"/>
                </a:lnTo>
                <a:lnTo>
                  <a:pt x="56" y="46"/>
                </a:lnTo>
                <a:lnTo>
                  <a:pt x="49" y="40"/>
                </a:lnTo>
                <a:lnTo>
                  <a:pt x="54" y="42"/>
                </a:lnTo>
                <a:lnTo>
                  <a:pt x="57" y="42"/>
                </a:lnTo>
                <a:lnTo>
                  <a:pt x="61" y="40"/>
                </a:lnTo>
                <a:lnTo>
                  <a:pt x="61" y="39"/>
                </a:lnTo>
                <a:lnTo>
                  <a:pt x="61" y="37"/>
                </a:lnTo>
                <a:lnTo>
                  <a:pt x="63" y="35"/>
                </a:lnTo>
                <a:lnTo>
                  <a:pt x="64" y="37"/>
                </a:lnTo>
                <a:lnTo>
                  <a:pt x="64" y="39"/>
                </a:lnTo>
                <a:lnTo>
                  <a:pt x="66" y="46"/>
                </a:lnTo>
                <a:close/>
                <a:moveTo>
                  <a:pt x="25" y="46"/>
                </a:moveTo>
                <a:lnTo>
                  <a:pt x="32" y="51"/>
                </a:lnTo>
                <a:lnTo>
                  <a:pt x="32" y="52"/>
                </a:lnTo>
                <a:lnTo>
                  <a:pt x="29" y="51"/>
                </a:lnTo>
                <a:lnTo>
                  <a:pt x="27" y="52"/>
                </a:lnTo>
                <a:lnTo>
                  <a:pt x="27" y="51"/>
                </a:lnTo>
                <a:lnTo>
                  <a:pt x="22" y="51"/>
                </a:lnTo>
                <a:lnTo>
                  <a:pt x="22" y="49"/>
                </a:lnTo>
                <a:lnTo>
                  <a:pt x="20" y="49"/>
                </a:lnTo>
                <a:lnTo>
                  <a:pt x="20" y="46"/>
                </a:lnTo>
                <a:lnTo>
                  <a:pt x="22" y="46"/>
                </a:lnTo>
                <a:lnTo>
                  <a:pt x="25" y="46"/>
                </a:lnTo>
                <a:close/>
                <a:moveTo>
                  <a:pt x="22" y="52"/>
                </a:moveTo>
                <a:lnTo>
                  <a:pt x="22" y="54"/>
                </a:lnTo>
                <a:lnTo>
                  <a:pt x="22" y="52"/>
                </a:lnTo>
                <a:close/>
                <a:moveTo>
                  <a:pt x="23" y="52"/>
                </a:moveTo>
                <a:lnTo>
                  <a:pt x="25" y="52"/>
                </a:lnTo>
                <a:lnTo>
                  <a:pt x="25" y="54"/>
                </a:lnTo>
                <a:lnTo>
                  <a:pt x="23" y="54"/>
                </a:lnTo>
                <a:lnTo>
                  <a:pt x="23" y="52"/>
                </a:lnTo>
                <a:close/>
                <a:moveTo>
                  <a:pt x="25" y="52"/>
                </a:moveTo>
                <a:lnTo>
                  <a:pt x="25" y="54"/>
                </a:lnTo>
                <a:lnTo>
                  <a:pt x="25" y="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8" name="Freeform 21">
            <a:extLst>
              <a:ext uri="{FF2B5EF4-FFF2-40B4-BE49-F238E27FC236}">
                <a16:creationId xmlns:a16="http://schemas.microsoft.com/office/drawing/2014/main" id="{E6B38ABB-03F3-46FC-BF05-7A3F81879FD2}"/>
              </a:ext>
            </a:extLst>
          </p:cNvPr>
          <p:cNvSpPr>
            <a:spLocks/>
          </p:cNvSpPr>
          <p:nvPr/>
        </p:nvSpPr>
        <p:spPr bwMode="gray">
          <a:xfrm>
            <a:off x="5015168" y="4041799"/>
            <a:ext cx="431157" cy="502451"/>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19" name="Freeform 22">
            <a:extLst>
              <a:ext uri="{FF2B5EF4-FFF2-40B4-BE49-F238E27FC236}">
                <a16:creationId xmlns:a16="http://schemas.microsoft.com/office/drawing/2014/main" id="{3F7EB0C9-C2BB-4938-B96E-367A78D39007}"/>
              </a:ext>
            </a:extLst>
          </p:cNvPr>
          <p:cNvSpPr>
            <a:spLocks noEditPoints="1"/>
          </p:cNvSpPr>
          <p:nvPr/>
        </p:nvSpPr>
        <p:spPr bwMode="gray">
          <a:xfrm>
            <a:off x="5077409" y="3945609"/>
            <a:ext cx="1096564" cy="1081853"/>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solidFill>
            <a:schemeClr val="accent4"/>
          </a:solidFill>
          <a:ln w="6350">
            <a:solidFill>
              <a:srgbClr val="B3B3B3"/>
            </a:solidFill>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0" name="Freeform 23">
            <a:extLst>
              <a:ext uri="{FF2B5EF4-FFF2-40B4-BE49-F238E27FC236}">
                <a16:creationId xmlns:a16="http://schemas.microsoft.com/office/drawing/2014/main" id="{0B2965CC-475E-48F0-B3B4-7E3CD7C81B34}"/>
              </a:ext>
            </a:extLst>
          </p:cNvPr>
          <p:cNvSpPr>
            <a:spLocks noEditPoints="1"/>
          </p:cNvSpPr>
          <p:nvPr/>
        </p:nvSpPr>
        <p:spPr bwMode="gray">
          <a:xfrm>
            <a:off x="6772614" y="3525769"/>
            <a:ext cx="93926" cy="104112"/>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1" name="Freeform 24">
            <a:extLst>
              <a:ext uri="{FF2B5EF4-FFF2-40B4-BE49-F238E27FC236}">
                <a16:creationId xmlns:a16="http://schemas.microsoft.com/office/drawing/2014/main" id="{3CB60783-06FB-4180-BB3E-75329F8C396E}"/>
              </a:ext>
            </a:extLst>
          </p:cNvPr>
          <p:cNvSpPr>
            <a:spLocks noEditPoints="1"/>
          </p:cNvSpPr>
          <p:nvPr/>
        </p:nvSpPr>
        <p:spPr bwMode="gray">
          <a:xfrm>
            <a:off x="5792609" y="2438258"/>
            <a:ext cx="698225" cy="556769"/>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2" name="Freeform 25">
            <a:extLst>
              <a:ext uri="{FF2B5EF4-FFF2-40B4-BE49-F238E27FC236}">
                <a16:creationId xmlns:a16="http://schemas.microsoft.com/office/drawing/2014/main" id="{A20C9155-DF50-48BD-80DC-3D18BE34CD38}"/>
              </a:ext>
            </a:extLst>
          </p:cNvPr>
          <p:cNvSpPr>
            <a:spLocks noEditPoints="1"/>
          </p:cNvSpPr>
          <p:nvPr/>
        </p:nvSpPr>
        <p:spPr bwMode="gray">
          <a:xfrm>
            <a:off x="4698307" y="4037273"/>
            <a:ext cx="330440" cy="303281"/>
          </a:xfrm>
          <a:custGeom>
            <a:avLst/>
            <a:gdLst>
              <a:gd name="T0" fmla="*/ 216 w 292"/>
              <a:gd name="T1" fmla="*/ 79 h 268"/>
              <a:gd name="T2" fmla="*/ 218 w 292"/>
              <a:gd name="T3" fmla="*/ 80 h 268"/>
              <a:gd name="T4" fmla="*/ 224 w 292"/>
              <a:gd name="T5" fmla="*/ 82 h 268"/>
              <a:gd name="T6" fmla="*/ 229 w 292"/>
              <a:gd name="T7" fmla="*/ 84 h 268"/>
              <a:gd name="T8" fmla="*/ 233 w 292"/>
              <a:gd name="T9" fmla="*/ 84 h 268"/>
              <a:gd name="T10" fmla="*/ 243 w 292"/>
              <a:gd name="T11" fmla="*/ 82 h 268"/>
              <a:gd name="T12" fmla="*/ 292 w 292"/>
              <a:gd name="T13" fmla="*/ 82 h 268"/>
              <a:gd name="T14" fmla="*/ 291 w 292"/>
              <a:gd name="T15" fmla="*/ 104 h 268"/>
              <a:gd name="T16" fmla="*/ 291 w 292"/>
              <a:gd name="T17" fmla="*/ 142 h 268"/>
              <a:gd name="T18" fmla="*/ 262 w 292"/>
              <a:gd name="T19" fmla="*/ 142 h 268"/>
              <a:gd name="T20" fmla="*/ 223 w 292"/>
              <a:gd name="T21" fmla="*/ 142 h 268"/>
              <a:gd name="T22" fmla="*/ 223 w 292"/>
              <a:gd name="T23" fmla="*/ 145 h 268"/>
              <a:gd name="T24" fmla="*/ 218 w 292"/>
              <a:gd name="T25" fmla="*/ 145 h 268"/>
              <a:gd name="T26" fmla="*/ 216 w 292"/>
              <a:gd name="T27" fmla="*/ 142 h 268"/>
              <a:gd name="T28" fmla="*/ 212 w 292"/>
              <a:gd name="T29" fmla="*/ 138 h 268"/>
              <a:gd name="T30" fmla="*/ 211 w 292"/>
              <a:gd name="T31" fmla="*/ 137 h 268"/>
              <a:gd name="T32" fmla="*/ 207 w 292"/>
              <a:gd name="T33" fmla="*/ 135 h 268"/>
              <a:gd name="T34" fmla="*/ 207 w 292"/>
              <a:gd name="T35" fmla="*/ 137 h 268"/>
              <a:gd name="T36" fmla="*/ 202 w 292"/>
              <a:gd name="T37" fmla="*/ 140 h 268"/>
              <a:gd name="T38" fmla="*/ 197 w 292"/>
              <a:gd name="T39" fmla="*/ 135 h 268"/>
              <a:gd name="T40" fmla="*/ 192 w 292"/>
              <a:gd name="T41" fmla="*/ 137 h 268"/>
              <a:gd name="T42" fmla="*/ 192 w 292"/>
              <a:gd name="T43" fmla="*/ 133 h 268"/>
              <a:gd name="T44" fmla="*/ 194 w 292"/>
              <a:gd name="T45" fmla="*/ 128 h 268"/>
              <a:gd name="T46" fmla="*/ 196 w 292"/>
              <a:gd name="T47" fmla="*/ 121 h 268"/>
              <a:gd name="T48" fmla="*/ 202 w 292"/>
              <a:gd name="T49" fmla="*/ 113 h 268"/>
              <a:gd name="T50" fmla="*/ 204 w 292"/>
              <a:gd name="T51" fmla="*/ 111 h 268"/>
              <a:gd name="T52" fmla="*/ 209 w 292"/>
              <a:gd name="T53" fmla="*/ 103 h 268"/>
              <a:gd name="T54" fmla="*/ 214 w 292"/>
              <a:gd name="T55" fmla="*/ 96 h 268"/>
              <a:gd name="T56" fmla="*/ 211 w 292"/>
              <a:gd name="T57" fmla="*/ 87 h 268"/>
              <a:gd name="T58" fmla="*/ 212 w 292"/>
              <a:gd name="T59" fmla="*/ 75 h 268"/>
              <a:gd name="T60" fmla="*/ 158 w 292"/>
              <a:gd name="T61" fmla="*/ 0 h 268"/>
              <a:gd name="T62" fmla="*/ 165 w 292"/>
              <a:gd name="T63" fmla="*/ 2 h 268"/>
              <a:gd name="T64" fmla="*/ 168 w 292"/>
              <a:gd name="T65" fmla="*/ 2 h 268"/>
              <a:gd name="T66" fmla="*/ 168 w 292"/>
              <a:gd name="T67" fmla="*/ 9 h 268"/>
              <a:gd name="T68" fmla="*/ 163 w 292"/>
              <a:gd name="T69" fmla="*/ 17 h 268"/>
              <a:gd name="T70" fmla="*/ 162 w 292"/>
              <a:gd name="T71" fmla="*/ 21 h 268"/>
              <a:gd name="T72" fmla="*/ 156 w 292"/>
              <a:gd name="T73" fmla="*/ 29 h 268"/>
              <a:gd name="T74" fmla="*/ 150 w 292"/>
              <a:gd name="T75" fmla="*/ 28 h 268"/>
              <a:gd name="T76" fmla="*/ 143 w 292"/>
              <a:gd name="T77" fmla="*/ 23 h 268"/>
              <a:gd name="T78" fmla="*/ 146 w 292"/>
              <a:gd name="T79" fmla="*/ 16 h 268"/>
              <a:gd name="T80" fmla="*/ 151 w 292"/>
              <a:gd name="T81" fmla="*/ 16 h 268"/>
              <a:gd name="T82" fmla="*/ 153 w 292"/>
              <a:gd name="T83" fmla="*/ 12 h 268"/>
              <a:gd name="T84" fmla="*/ 156 w 292"/>
              <a:gd name="T85" fmla="*/ 0 h 268"/>
              <a:gd name="T86" fmla="*/ 0 w 292"/>
              <a:gd name="T87" fmla="*/ 264 h 268"/>
              <a:gd name="T88" fmla="*/ 3 w 292"/>
              <a:gd name="T89" fmla="*/ 268 h 268"/>
              <a:gd name="T90" fmla="*/ 0 w 292"/>
              <a:gd name="T91" fmla="*/ 264 h 268"/>
              <a:gd name="T92" fmla="*/ 190 w 292"/>
              <a:gd name="T93" fmla="*/ 145 h 268"/>
              <a:gd name="T94" fmla="*/ 189 w 292"/>
              <a:gd name="T95" fmla="*/ 147 h 268"/>
              <a:gd name="T96" fmla="*/ 211 w 292"/>
              <a:gd name="T97" fmla="*/ 138 h 268"/>
              <a:gd name="T98" fmla="*/ 212 w 292"/>
              <a:gd name="T99" fmla="*/ 140 h 268"/>
              <a:gd name="T100" fmla="*/ 211 w 292"/>
              <a:gd name="T101" fmla="*/ 138 h 268"/>
              <a:gd name="T102" fmla="*/ 199 w 292"/>
              <a:gd name="T103" fmla="*/ 142 h 268"/>
              <a:gd name="T104" fmla="*/ 197 w 292"/>
              <a:gd name="T105"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68">
                <a:moveTo>
                  <a:pt x="214" y="74"/>
                </a:moveTo>
                <a:lnTo>
                  <a:pt x="216" y="79"/>
                </a:lnTo>
                <a:lnTo>
                  <a:pt x="218" y="79"/>
                </a:lnTo>
                <a:lnTo>
                  <a:pt x="218" y="80"/>
                </a:lnTo>
                <a:lnTo>
                  <a:pt x="219" y="80"/>
                </a:lnTo>
                <a:lnTo>
                  <a:pt x="224" y="82"/>
                </a:lnTo>
                <a:lnTo>
                  <a:pt x="226" y="82"/>
                </a:lnTo>
                <a:lnTo>
                  <a:pt x="229" y="84"/>
                </a:lnTo>
                <a:lnTo>
                  <a:pt x="231" y="82"/>
                </a:lnTo>
                <a:lnTo>
                  <a:pt x="233" y="84"/>
                </a:lnTo>
                <a:lnTo>
                  <a:pt x="233" y="82"/>
                </a:lnTo>
                <a:lnTo>
                  <a:pt x="243" y="82"/>
                </a:lnTo>
                <a:lnTo>
                  <a:pt x="282" y="82"/>
                </a:lnTo>
                <a:lnTo>
                  <a:pt x="292" y="82"/>
                </a:lnTo>
                <a:lnTo>
                  <a:pt x="291" y="86"/>
                </a:lnTo>
                <a:lnTo>
                  <a:pt x="291" y="104"/>
                </a:lnTo>
                <a:lnTo>
                  <a:pt x="291" y="118"/>
                </a:lnTo>
                <a:lnTo>
                  <a:pt x="291" y="142"/>
                </a:lnTo>
                <a:lnTo>
                  <a:pt x="272" y="142"/>
                </a:lnTo>
                <a:lnTo>
                  <a:pt x="262" y="142"/>
                </a:lnTo>
                <a:lnTo>
                  <a:pt x="245" y="142"/>
                </a:lnTo>
                <a:lnTo>
                  <a:pt x="223" y="142"/>
                </a:lnTo>
                <a:lnTo>
                  <a:pt x="223" y="143"/>
                </a:lnTo>
                <a:lnTo>
                  <a:pt x="223" y="145"/>
                </a:lnTo>
                <a:lnTo>
                  <a:pt x="221" y="145"/>
                </a:lnTo>
                <a:lnTo>
                  <a:pt x="218" y="145"/>
                </a:lnTo>
                <a:lnTo>
                  <a:pt x="218" y="142"/>
                </a:lnTo>
                <a:lnTo>
                  <a:pt x="216" y="142"/>
                </a:lnTo>
                <a:lnTo>
                  <a:pt x="212" y="142"/>
                </a:lnTo>
                <a:lnTo>
                  <a:pt x="212" y="138"/>
                </a:lnTo>
                <a:lnTo>
                  <a:pt x="214" y="138"/>
                </a:lnTo>
                <a:lnTo>
                  <a:pt x="211" y="137"/>
                </a:lnTo>
                <a:lnTo>
                  <a:pt x="207" y="138"/>
                </a:lnTo>
                <a:lnTo>
                  <a:pt x="207" y="135"/>
                </a:lnTo>
                <a:lnTo>
                  <a:pt x="209" y="135"/>
                </a:lnTo>
                <a:lnTo>
                  <a:pt x="207" y="137"/>
                </a:lnTo>
                <a:lnTo>
                  <a:pt x="206" y="138"/>
                </a:lnTo>
                <a:lnTo>
                  <a:pt x="202" y="140"/>
                </a:lnTo>
                <a:lnTo>
                  <a:pt x="199" y="135"/>
                </a:lnTo>
                <a:lnTo>
                  <a:pt x="197" y="135"/>
                </a:lnTo>
                <a:lnTo>
                  <a:pt x="194" y="137"/>
                </a:lnTo>
                <a:lnTo>
                  <a:pt x="192" y="137"/>
                </a:lnTo>
                <a:lnTo>
                  <a:pt x="190" y="133"/>
                </a:lnTo>
                <a:lnTo>
                  <a:pt x="192" y="133"/>
                </a:lnTo>
                <a:lnTo>
                  <a:pt x="192" y="128"/>
                </a:lnTo>
                <a:lnTo>
                  <a:pt x="194" y="128"/>
                </a:lnTo>
                <a:lnTo>
                  <a:pt x="196" y="125"/>
                </a:lnTo>
                <a:lnTo>
                  <a:pt x="196" y="121"/>
                </a:lnTo>
                <a:lnTo>
                  <a:pt x="201" y="118"/>
                </a:lnTo>
                <a:lnTo>
                  <a:pt x="202" y="113"/>
                </a:lnTo>
                <a:lnTo>
                  <a:pt x="204" y="113"/>
                </a:lnTo>
                <a:lnTo>
                  <a:pt x="204" y="111"/>
                </a:lnTo>
                <a:lnTo>
                  <a:pt x="204" y="108"/>
                </a:lnTo>
                <a:lnTo>
                  <a:pt x="209" y="103"/>
                </a:lnTo>
                <a:lnTo>
                  <a:pt x="211" y="99"/>
                </a:lnTo>
                <a:lnTo>
                  <a:pt x="214" y="96"/>
                </a:lnTo>
                <a:lnTo>
                  <a:pt x="214" y="94"/>
                </a:lnTo>
                <a:lnTo>
                  <a:pt x="211" y="87"/>
                </a:lnTo>
                <a:lnTo>
                  <a:pt x="212" y="82"/>
                </a:lnTo>
                <a:lnTo>
                  <a:pt x="212" y="75"/>
                </a:lnTo>
                <a:lnTo>
                  <a:pt x="214" y="74"/>
                </a:lnTo>
                <a:close/>
                <a:moveTo>
                  <a:pt x="158" y="0"/>
                </a:moveTo>
                <a:lnTo>
                  <a:pt x="160" y="2"/>
                </a:lnTo>
                <a:lnTo>
                  <a:pt x="165" y="2"/>
                </a:lnTo>
                <a:lnTo>
                  <a:pt x="167" y="2"/>
                </a:lnTo>
                <a:lnTo>
                  <a:pt x="168" y="2"/>
                </a:lnTo>
                <a:lnTo>
                  <a:pt x="170" y="4"/>
                </a:lnTo>
                <a:lnTo>
                  <a:pt x="168" y="9"/>
                </a:lnTo>
                <a:lnTo>
                  <a:pt x="165" y="12"/>
                </a:lnTo>
                <a:lnTo>
                  <a:pt x="163" y="17"/>
                </a:lnTo>
                <a:lnTo>
                  <a:pt x="163" y="19"/>
                </a:lnTo>
                <a:lnTo>
                  <a:pt x="162" y="21"/>
                </a:lnTo>
                <a:lnTo>
                  <a:pt x="162" y="24"/>
                </a:lnTo>
                <a:lnTo>
                  <a:pt x="156" y="29"/>
                </a:lnTo>
                <a:lnTo>
                  <a:pt x="151" y="28"/>
                </a:lnTo>
                <a:lnTo>
                  <a:pt x="150" y="28"/>
                </a:lnTo>
                <a:lnTo>
                  <a:pt x="145" y="26"/>
                </a:lnTo>
                <a:lnTo>
                  <a:pt x="143" y="23"/>
                </a:lnTo>
                <a:lnTo>
                  <a:pt x="145" y="19"/>
                </a:lnTo>
                <a:lnTo>
                  <a:pt x="146" y="16"/>
                </a:lnTo>
                <a:lnTo>
                  <a:pt x="151" y="17"/>
                </a:lnTo>
                <a:lnTo>
                  <a:pt x="151" y="16"/>
                </a:lnTo>
                <a:lnTo>
                  <a:pt x="151" y="14"/>
                </a:lnTo>
                <a:lnTo>
                  <a:pt x="153" y="12"/>
                </a:lnTo>
                <a:lnTo>
                  <a:pt x="153" y="7"/>
                </a:lnTo>
                <a:lnTo>
                  <a:pt x="156" y="0"/>
                </a:lnTo>
                <a:lnTo>
                  <a:pt x="158" y="0"/>
                </a:lnTo>
                <a:close/>
                <a:moveTo>
                  <a:pt x="0" y="264"/>
                </a:moveTo>
                <a:lnTo>
                  <a:pt x="3" y="264"/>
                </a:lnTo>
                <a:lnTo>
                  <a:pt x="3" y="268"/>
                </a:lnTo>
                <a:lnTo>
                  <a:pt x="0" y="268"/>
                </a:lnTo>
                <a:lnTo>
                  <a:pt x="0" y="264"/>
                </a:lnTo>
                <a:close/>
                <a:moveTo>
                  <a:pt x="189" y="145"/>
                </a:moveTo>
                <a:lnTo>
                  <a:pt x="190" y="145"/>
                </a:lnTo>
                <a:lnTo>
                  <a:pt x="190" y="147"/>
                </a:lnTo>
                <a:lnTo>
                  <a:pt x="189" y="147"/>
                </a:lnTo>
                <a:lnTo>
                  <a:pt x="189" y="145"/>
                </a:lnTo>
                <a:close/>
                <a:moveTo>
                  <a:pt x="211" y="138"/>
                </a:moveTo>
                <a:lnTo>
                  <a:pt x="212" y="138"/>
                </a:lnTo>
                <a:lnTo>
                  <a:pt x="212" y="140"/>
                </a:lnTo>
                <a:lnTo>
                  <a:pt x="211" y="140"/>
                </a:lnTo>
                <a:lnTo>
                  <a:pt x="211" y="138"/>
                </a:lnTo>
                <a:close/>
                <a:moveTo>
                  <a:pt x="197" y="142"/>
                </a:moveTo>
                <a:lnTo>
                  <a:pt x="199" y="142"/>
                </a:lnTo>
                <a:lnTo>
                  <a:pt x="199" y="143"/>
                </a:lnTo>
                <a:lnTo>
                  <a:pt x="197" y="143"/>
                </a:lnTo>
                <a:lnTo>
                  <a:pt x="197" y="1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3" name="Freeform 26">
            <a:extLst>
              <a:ext uri="{FF2B5EF4-FFF2-40B4-BE49-F238E27FC236}">
                <a16:creationId xmlns:a16="http://schemas.microsoft.com/office/drawing/2014/main" id="{75B3E917-C02D-481A-AE12-CD25106387FC}"/>
              </a:ext>
            </a:extLst>
          </p:cNvPr>
          <p:cNvSpPr>
            <a:spLocks noEditPoints="1"/>
          </p:cNvSpPr>
          <p:nvPr/>
        </p:nvSpPr>
        <p:spPr bwMode="gray">
          <a:xfrm>
            <a:off x="6465937" y="3223619"/>
            <a:ext cx="383627" cy="323651"/>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4" name="Freeform 27">
            <a:extLst>
              <a:ext uri="{FF2B5EF4-FFF2-40B4-BE49-F238E27FC236}">
                <a16:creationId xmlns:a16="http://schemas.microsoft.com/office/drawing/2014/main" id="{98ABF871-A6A5-46D3-B819-796041355389}"/>
              </a:ext>
            </a:extLst>
          </p:cNvPr>
          <p:cNvSpPr>
            <a:spLocks/>
          </p:cNvSpPr>
          <p:nvPr/>
        </p:nvSpPr>
        <p:spPr bwMode="gray">
          <a:xfrm>
            <a:off x="6267899" y="3400156"/>
            <a:ext cx="860051" cy="660881"/>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5" name="Freeform 28">
            <a:extLst>
              <a:ext uri="{FF2B5EF4-FFF2-40B4-BE49-F238E27FC236}">
                <a16:creationId xmlns:a16="http://schemas.microsoft.com/office/drawing/2014/main" id="{1B5DC512-913E-486D-BE78-B84C88734AA5}"/>
              </a:ext>
            </a:extLst>
          </p:cNvPr>
          <p:cNvSpPr>
            <a:spLocks noEditPoints="1"/>
          </p:cNvSpPr>
          <p:nvPr/>
        </p:nvSpPr>
        <p:spPr bwMode="gray">
          <a:xfrm>
            <a:off x="4877107" y="4122146"/>
            <a:ext cx="332704" cy="359863"/>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6" name="Freeform 29">
            <a:extLst>
              <a:ext uri="{FF2B5EF4-FFF2-40B4-BE49-F238E27FC236}">
                <a16:creationId xmlns:a16="http://schemas.microsoft.com/office/drawing/2014/main" id="{C41D2CDA-791B-4952-BC01-FA4DA9869DC1}"/>
              </a:ext>
            </a:extLst>
          </p:cNvPr>
          <p:cNvSpPr>
            <a:spLocks/>
          </p:cNvSpPr>
          <p:nvPr/>
        </p:nvSpPr>
        <p:spPr bwMode="gray">
          <a:xfrm>
            <a:off x="3415021" y="3462397"/>
            <a:ext cx="173141" cy="44135"/>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7" name="Freeform 30">
            <a:extLst>
              <a:ext uri="{FF2B5EF4-FFF2-40B4-BE49-F238E27FC236}">
                <a16:creationId xmlns:a16="http://schemas.microsoft.com/office/drawing/2014/main" id="{F5831A40-690F-4592-AC43-640EE3367714}"/>
              </a:ext>
            </a:extLst>
          </p:cNvPr>
          <p:cNvSpPr>
            <a:spLocks/>
          </p:cNvSpPr>
          <p:nvPr/>
        </p:nvSpPr>
        <p:spPr bwMode="gray">
          <a:xfrm>
            <a:off x="4190199" y="3614037"/>
            <a:ext cx="255752" cy="370048"/>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8" name="Freeform 31">
            <a:extLst>
              <a:ext uri="{FF2B5EF4-FFF2-40B4-BE49-F238E27FC236}">
                <a16:creationId xmlns:a16="http://schemas.microsoft.com/office/drawing/2014/main" id="{8FEA3E4A-B60C-458D-AAA6-057AF8B10F71}"/>
              </a:ext>
            </a:extLst>
          </p:cNvPr>
          <p:cNvSpPr>
            <a:spLocks noEditPoints="1"/>
          </p:cNvSpPr>
          <p:nvPr/>
        </p:nvSpPr>
        <p:spPr bwMode="gray">
          <a:xfrm>
            <a:off x="3513475" y="3528033"/>
            <a:ext cx="426630" cy="315729"/>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29" name="Freeform 32">
            <a:extLst>
              <a:ext uri="{FF2B5EF4-FFF2-40B4-BE49-F238E27FC236}">
                <a16:creationId xmlns:a16="http://schemas.microsoft.com/office/drawing/2014/main" id="{CF6A26E3-7F40-4069-B2E9-67B128D69E20}"/>
              </a:ext>
            </a:extLst>
          </p:cNvPr>
          <p:cNvSpPr>
            <a:spLocks noEditPoints="1"/>
          </p:cNvSpPr>
          <p:nvPr/>
        </p:nvSpPr>
        <p:spPr bwMode="gray">
          <a:xfrm>
            <a:off x="3419548" y="3528033"/>
            <a:ext cx="176537" cy="101848"/>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0" name="Freeform 33">
            <a:extLst>
              <a:ext uri="{FF2B5EF4-FFF2-40B4-BE49-F238E27FC236}">
                <a16:creationId xmlns:a16="http://schemas.microsoft.com/office/drawing/2014/main" id="{5CA322DD-00B1-4C49-A42B-F5716F2293B2}"/>
              </a:ext>
            </a:extLst>
          </p:cNvPr>
          <p:cNvSpPr>
            <a:spLocks/>
          </p:cNvSpPr>
          <p:nvPr/>
        </p:nvSpPr>
        <p:spPr bwMode="gray">
          <a:xfrm>
            <a:off x="3884655" y="3638934"/>
            <a:ext cx="349678" cy="366653"/>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1" name="Freeform 34">
            <a:extLst>
              <a:ext uri="{FF2B5EF4-FFF2-40B4-BE49-F238E27FC236}">
                <a16:creationId xmlns:a16="http://schemas.microsoft.com/office/drawing/2014/main" id="{E1BD74AA-6123-4134-A3F7-1B0AFD4FC626}"/>
              </a:ext>
            </a:extLst>
          </p:cNvPr>
          <p:cNvSpPr>
            <a:spLocks noEditPoints="1"/>
          </p:cNvSpPr>
          <p:nvPr/>
        </p:nvSpPr>
        <p:spPr bwMode="gray">
          <a:xfrm>
            <a:off x="6322219" y="3939951"/>
            <a:ext cx="457185" cy="582798"/>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2" name="Freeform 35">
            <a:extLst>
              <a:ext uri="{FF2B5EF4-FFF2-40B4-BE49-F238E27FC236}">
                <a16:creationId xmlns:a16="http://schemas.microsoft.com/office/drawing/2014/main" id="{9D5D6EB3-8C4A-4A26-95BA-082CDAA60574}"/>
              </a:ext>
            </a:extLst>
          </p:cNvPr>
          <p:cNvSpPr>
            <a:spLocks/>
          </p:cNvSpPr>
          <p:nvPr/>
        </p:nvSpPr>
        <p:spPr bwMode="gray">
          <a:xfrm>
            <a:off x="5926142" y="5893171"/>
            <a:ext cx="140324" cy="121086"/>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3" name="Freeform 36">
            <a:extLst>
              <a:ext uri="{FF2B5EF4-FFF2-40B4-BE49-F238E27FC236}">
                <a16:creationId xmlns:a16="http://schemas.microsoft.com/office/drawing/2014/main" id="{05DB5557-C84D-4AB0-8D39-DF7A7F455A91}"/>
              </a:ext>
            </a:extLst>
          </p:cNvPr>
          <p:cNvSpPr>
            <a:spLocks/>
          </p:cNvSpPr>
          <p:nvPr/>
        </p:nvSpPr>
        <p:spPr bwMode="gray">
          <a:xfrm>
            <a:off x="3719434" y="3764546"/>
            <a:ext cx="236514" cy="241041"/>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4" name="Freeform 37">
            <a:extLst>
              <a:ext uri="{FF2B5EF4-FFF2-40B4-BE49-F238E27FC236}">
                <a16:creationId xmlns:a16="http://schemas.microsoft.com/office/drawing/2014/main" id="{D7D22031-7E20-4E74-8E91-36F38C95CEF6}"/>
              </a:ext>
            </a:extLst>
          </p:cNvPr>
          <p:cNvSpPr>
            <a:spLocks/>
          </p:cNvSpPr>
          <p:nvPr/>
        </p:nvSpPr>
        <p:spPr bwMode="gray">
          <a:xfrm>
            <a:off x="4915583" y="2353385"/>
            <a:ext cx="901921" cy="783099"/>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5" name="Freeform 38">
            <a:extLst>
              <a:ext uri="{FF2B5EF4-FFF2-40B4-BE49-F238E27FC236}">
                <a16:creationId xmlns:a16="http://schemas.microsoft.com/office/drawing/2014/main" id="{7EADB939-F16E-43B2-8583-DCDD5EE0D1BC}"/>
              </a:ext>
            </a:extLst>
          </p:cNvPr>
          <p:cNvSpPr>
            <a:spLocks noEditPoints="1"/>
          </p:cNvSpPr>
          <p:nvPr/>
        </p:nvSpPr>
        <p:spPr bwMode="gray">
          <a:xfrm>
            <a:off x="6855223" y="4940326"/>
            <a:ext cx="415314" cy="784230"/>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36" name="Freeform 39">
            <a:extLst>
              <a:ext uri="{FF2B5EF4-FFF2-40B4-BE49-F238E27FC236}">
                <a16:creationId xmlns:a16="http://schemas.microsoft.com/office/drawing/2014/main" id="{164ED7B1-7553-4187-B46E-6B05639F0C91}"/>
              </a:ext>
            </a:extLst>
          </p:cNvPr>
          <p:cNvSpPr>
            <a:spLocks noEditPoints="1"/>
          </p:cNvSpPr>
          <p:nvPr/>
        </p:nvSpPr>
        <p:spPr bwMode="gray">
          <a:xfrm>
            <a:off x="6250924" y="4792079"/>
            <a:ext cx="184458" cy="444737"/>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37" name="Freeform 40">
            <a:extLst>
              <a:ext uri="{FF2B5EF4-FFF2-40B4-BE49-F238E27FC236}">
                <a16:creationId xmlns:a16="http://schemas.microsoft.com/office/drawing/2014/main" id="{637A521A-14BC-4741-8E79-226DAAC484FD}"/>
              </a:ext>
            </a:extLst>
          </p:cNvPr>
          <p:cNvSpPr>
            <a:spLocks/>
          </p:cNvSpPr>
          <p:nvPr/>
        </p:nvSpPr>
        <p:spPr bwMode="gray">
          <a:xfrm>
            <a:off x="3676432" y="2820754"/>
            <a:ext cx="944923" cy="850997"/>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8" name="Freeform 41">
            <a:extLst>
              <a:ext uri="{FF2B5EF4-FFF2-40B4-BE49-F238E27FC236}">
                <a16:creationId xmlns:a16="http://schemas.microsoft.com/office/drawing/2014/main" id="{72F02708-836D-4CED-8C3C-113F2A01A05B}"/>
              </a:ext>
            </a:extLst>
          </p:cNvPr>
          <p:cNvSpPr>
            <a:spLocks noEditPoints="1"/>
          </p:cNvSpPr>
          <p:nvPr/>
        </p:nvSpPr>
        <p:spPr bwMode="gray">
          <a:xfrm>
            <a:off x="3400311" y="2688352"/>
            <a:ext cx="701620" cy="721989"/>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39" name="Freeform 42">
            <a:extLst>
              <a:ext uri="{FF2B5EF4-FFF2-40B4-BE49-F238E27FC236}">
                <a16:creationId xmlns:a16="http://schemas.microsoft.com/office/drawing/2014/main" id="{141926C5-AFE4-41D6-955C-272EFADB6F66}"/>
              </a:ext>
            </a:extLst>
          </p:cNvPr>
          <p:cNvSpPr>
            <a:spLocks/>
          </p:cNvSpPr>
          <p:nvPr/>
        </p:nvSpPr>
        <p:spPr bwMode="gray">
          <a:xfrm>
            <a:off x="3623244" y="2196086"/>
            <a:ext cx="695961" cy="473027"/>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0" name="Freeform 43">
            <a:extLst>
              <a:ext uri="{FF2B5EF4-FFF2-40B4-BE49-F238E27FC236}">
                <a16:creationId xmlns:a16="http://schemas.microsoft.com/office/drawing/2014/main" id="{F393725A-B7A8-43B4-8C79-F437B3397E89}"/>
              </a:ext>
            </a:extLst>
          </p:cNvPr>
          <p:cNvSpPr>
            <a:spLocks noEditPoints="1"/>
          </p:cNvSpPr>
          <p:nvPr/>
        </p:nvSpPr>
        <p:spPr bwMode="gray">
          <a:xfrm>
            <a:off x="6110600" y="4855452"/>
            <a:ext cx="607694" cy="940398"/>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41" name="Freeform 44">
            <a:extLst>
              <a:ext uri="{FF2B5EF4-FFF2-40B4-BE49-F238E27FC236}">
                <a16:creationId xmlns:a16="http://schemas.microsoft.com/office/drawing/2014/main" id="{94679E83-3976-4081-AB46-6EF2C09F26A5}"/>
              </a:ext>
            </a:extLst>
          </p:cNvPr>
          <p:cNvSpPr>
            <a:spLocks noEditPoints="1"/>
          </p:cNvSpPr>
          <p:nvPr/>
        </p:nvSpPr>
        <p:spPr bwMode="gray">
          <a:xfrm>
            <a:off x="5050249" y="5227764"/>
            <a:ext cx="775177" cy="689173"/>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42" name="Freeform 45">
            <a:extLst>
              <a:ext uri="{FF2B5EF4-FFF2-40B4-BE49-F238E27FC236}">
                <a16:creationId xmlns:a16="http://schemas.microsoft.com/office/drawing/2014/main" id="{C52B6B5D-203E-4F8E-8686-2B49AD350DB7}"/>
              </a:ext>
            </a:extLst>
          </p:cNvPr>
          <p:cNvSpPr>
            <a:spLocks/>
          </p:cNvSpPr>
          <p:nvPr/>
        </p:nvSpPr>
        <p:spPr bwMode="gray">
          <a:xfrm>
            <a:off x="4387105" y="2905628"/>
            <a:ext cx="907580" cy="677856"/>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3" name="Freeform 46">
            <a:extLst>
              <a:ext uri="{FF2B5EF4-FFF2-40B4-BE49-F238E27FC236}">
                <a16:creationId xmlns:a16="http://schemas.microsoft.com/office/drawing/2014/main" id="{37196A26-57E5-465F-9586-C07DAFB6D632}"/>
              </a:ext>
            </a:extLst>
          </p:cNvPr>
          <p:cNvSpPr>
            <a:spLocks noEditPoints="1"/>
          </p:cNvSpPr>
          <p:nvPr/>
        </p:nvSpPr>
        <p:spPr bwMode="gray">
          <a:xfrm>
            <a:off x="4530823" y="3460134"/>
            <a:ext cx="689172" cy="551112"/>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4" name="Freeform 47">
            <a:extLst>
              <a:ext uri="{FF2B5EF4-FFF2-40B4-BE49-F238E27FC236}">
                <a16:creationId xmlns:a16="http://schemas.microsoft.com/office/drawing/2014/main" id="{6859954A-A7C2-42CF-844F-1DB0013713DB}"/>
              </a:ext>
            </a:extLst>
          </p:cNvPr>
          <p:cNvSpPr>
            <a:spLocks/>
          </p:cNvSpPr>
          <p:nvPr/>
        </p:nvSpPr>
        <p:spPr bwMode="gray">
          <a:xfrm>
            <a:off x="6031385" y="4314526"/>
            <a:ext cx="117692" cy="102980"/>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45" name="Freeform 48">
            <a:extLst>
              <a:ext uri="{FF2B5EF4-FFF2-40B4-BE49-F238E27FC236}">
                <a16:creationId xmlns:a16="http://schemas.microsoft.com/office/drawing/2014/main" id="{3C651C28-1C60-4BC9-9D3D-2255656F8FDD}"/>
              </a:ext>
            </a:extLst>
          </p:cNvPr>
          <p:cNvSpPr>
            <a:spLocks noEditPoints="1"/>
          </p:cNvSpPr>
          <p:nvPr/>
        </p:nvSpPr>
        <p:spPr bwMode="gray">
          <a:xfrm>
            <a:off x="6957072" y="4978801"/>
            <a:ext cx="16975" cy="21502"/>
          </a:xfrm>
          <a:custGeom>
            <a:avLst/>
            <a:gdLst>
              <a:gd name="T0" fmla="*/ 5 w 15"/>
              <a:gd name="T1" fmla="*/ 2 h 19"/>
              <a:gd name="T2" fmla="*/ 7 w 15"/>
              <a:gd name="T3" fmla="*/ 4 h 19"/>
              <a:gd name="T4" fmla="*/ 7 w 15"/>
              <a:gd name="T5" fmla="*/ 5 h 19"/>
              <a:gd name="T6" fmla="*/ 8 w 15"/>
              <a:gd name="T7" fmla="*/ 5 h 19"/>
              <a:gd name="T8" fmla="*/ 10 w 15"/>
              <a:gd name="T9" fmla="*/ 5 h 19"/>
              <a:gd name="T10" fmla="*/ 12 w 15"/>
              <a:gd name="T11" fmla="*/ 7 h 19"/>
              <a:gd name="T12" fmla="*/ 12 w 15"/>
              <a:gd name="T13" fmla="*/ 9 h 19"/>
              <a:gd name="T14" fmla="*/ 10 w 15"/>
              <a:gd name="T15" fmla="*/ 11 h 19"/>
              <a:gd name="T16" fmla="*/ 10 w 15"/>
              <a:gd name="T17" fmla="*/ 12 h 19"/>
              <a:gd name="T18" fmla="*/ 12 w 15"/>
              <a:gd name="T19" fmla="*/ 12 h 19"/>
              <a:gd name="T20" fmla="*/ 10 w 15"/>
              <a:gd name="T21" fmla="*/ 14 h 19"/>
              <a:gd name="T22" fmla="*/ 10 w 15"/>
              <a:gd name="T23" fmla="*/ 16 h 19"/>
              <a:gd name="T24" fmla="*/ 8 w 15"/>
              <a:gd name="T25" fmla="*/ 16 h 19"/>
              <a:gd name="T26" fmla="*/ 8 w 15"/>
              <a:gd name="T27" fmla="*/ 17 h 19"/>
              <a:gd name="T28" fmla="*/ 10 w 15"/>
              <a:gd name="T29" fmla="*/ 17 h 19"/>
              <a:gd name="T30" fmla="*/ 8 w 15"/>
              <a:gd name="T31" fmla="*/ 19 h 19"/>
              <a:gd name="T32" fmla="*/ 8 w 15"/>
              <a:gd name="T33" fmla="*/ 17 h 19"/>
              <a:gd name="T34" fmla="*/ 7 w 15"/>
              <a:gd name="T35" fmla="*/ 19 h 19"/>
              <a:gd name="T36" fmla="*/ 5 w 15"/>
              <a:gd name="T37" fmla="*/ 19 h 19"/>
              <a:gd name="T38" fmla="*/ 5 w 15"/>
              <a:gd name="T39" fmla="*/ 17 h 19"/>
              <a:gd name="T40" fmla="*/ 3 w 15"/>
              <a:gd name="T41" fmla="*/ 17 h 19"/>
              <a:gd name="T42" fmla="*/ 5 w 15"/>
              <a:gd name="T43" fmla="*/ 16 h 19"/>
              <a:gd name="T44" fmla="*/ 3 w 15"/>
              <a:gd name="T45" fmla="*/ 14 h 19"/>
              <a:gd name="T46" fmla="*/ 5 w 15"/>
              <a:gd name="T47" fmla="*/ 14 h 19"/>
              <a:gd name="T48" fmla="*/ 5 w 15"/>
              <a:gd name="T49" fmla="*/ 16 h 19"/>
              <a:gd name="T50" fmla="*/ 7 w 15"/>
              <a:gd name="T51" fmla="*/ 16 h 19"/>
              <a:gd name="T52" fmla="*/ 7 w 15"/>
              <a:gd name="T53" fmla="*/ 14 h 19"/>
              <a:gd name="T54" fmla="*/ 5 w 15"/>
              <a:gd name="T55" fmla="*/ 12 h 19"/>
              <a:gd name="T56" fmla="*/ 5 w 15"/>
              <a:gd name="T57" fmla="*/ 11 h 19"/>
              <a:gd name="T58" fmla="*/ 5 w 15"/>
              <a:gd name="T59" fmla="*/ 7 h 19"/>
              <a:gd name="T60" fmla="*/ 1 w 15"/>
              <a:gd name="T61" fmla="*/ 7 h 19"/>
              <a:gd name="T62" fmla="*/ 3 w 15"/>
              <a:gd name="T63" fmla="*/ 5 h 19"/>
              <a:gd name="T64" fmla="*/ 1 w 15"/>
              <a:gd name="T65" fmla="*/ 5 h 19"/>
              <a:gd name="T66" fmla="*/ 1 w 15"/>
              <a:gd name="T67" fmla="*/ 4 h 19"/>
              <a:gd name="T68" fmla="*/ 3 w 15"/>
              <a:gd name="T69" fmla="*/ 4 h 19"/>
              <a:gd name="T70" fmla="*/ 5 w 15"/>
              <a:gd name="T71" fmla="*/ 2 h 19"/>
              <a:gd name="T72" fmla="*/ 12 w 15"/>
              <a:gd name="T73" fmla="*/ 7 h 19"/>
              <a:gd name="T74" fmla="*/ 15 w 15"/>
              <a:gd name="T75" fmla="*/ 7 h 19"/>
              <a:gd name="T76" fmla="*/ 15 w 15"/>
              <a:gd name="T77" fmla="*/ 11 h 19"/>
              <a:gd name="T78" fmla="*/ 12 w 15"/>
              <a:gd name="T79" fmla="*/ 11 h 19"/>
              <a:gd name="T80" fmla="*/ 12 w 15"/>
              <a:gd name="T81" fmla="*/ 7 h 19"/>
              <a:gd name="T82" fmla="*/ 0 w 15"/>
              <a:gd name="T83" fmla="*/ 0 h 19"/>
              <a:gd name="T84" fmla="*/ 1 w 15"/>
              <a:gd name="T85" fmla="*/ 0 h 19"/>
              <a:gd name="T86" fmla="*/ 1 w 15"/>
              <a:gd name="T87" fmla="*/ 2 h 19"/>
              <a:gd name="T88" fmla="*/ 0 w 15"/>
              <a:gd name="T89" fmla="*/ 2 h 19"/>
              <a:gd name="T90" fmla="*/ 0 w 15"/>
              <a:gd name="T9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19">
                <a:moveTo>
                  <a:pt x="5" y="2"/>
                </a:moveTo>
                <a:lnTo>
                  <a:pt x="7" y="4"/>
                </a:lnTo>
                <a:lnTo>
                  <a:pt x="7" y="5"/>
                </a:lnTo>
                <a:lnTo>
                  <a:pt x="8" y="5"/>
                </a:lnTo>
                <a:lnTo>
                  <a:pt x="10" y="5"/>
                </a:lnTo>
                <a:lnTo>
                  <a:pt x="12" y="7"/>
                </a:lnTo>
                <a:lnTo>
                  <a:pt x="12" y="9"/>
                </a:lnTo>
                <a:lnTo>
                  <a:pt x="10" y="11"/>
                </a:lnTo>
                <a:lnTo>
                  <a:pt x="10" y="12"/>
                </a:lnTo>
                <a:lnTo>
                  <a:pt x="12" y="12"/>
                </a:lnTo>
                <a:lnTo>
                  <a:pt x="10" y="14"/>
                </a:lnTo>
                <a:lnTo>
                  <a:pt x="10" y="16"/>
                </a:lnTo>
                <a:lnTo>
                  <a:pt x="8" y="16"/>
                </a:lnTo>
                <a:lnTo>
                  <a:pt x="8" y="17"/>
                </a:lnTo>
                <a:lnTo>
                  <a:pt x="10" y="17"/>
                </a:lnTo>
                <a:lnTo>
                  <a:pt x="8" y="19"/>
                </a:lnTo>
                <a:lnTo>
                  <a:pt x="8" y="17"/>
                </a:lnTo>
                <a:lnTo>
                  <a:pt x="7" y="19"/>
                </a:lnTo>
                <a:lnTo>
                  <a:pt x="5" y="19"/>
                </a:lnTo>
                <a:lnTo>
                  <a:pt x="5" y="17"/>
                </a:lnTo>
                <a:lnTo>
                  <a:pt x="3" y="17"/>
                </a:lnTo>
                <a:lnTo>
                  <a:pt x="5" y="16"/>
                </a:lnTo>
                <a:lnTo>
                  <a:pt x="3" y="14"/>
                </a:lnTo>
                <a:lnTo>
                  <a:pt x="5" y="14"/>
                </a:lnTo>
                <a:lnTo>
                  <a:pt x="5" y="16"/>
                </a:lnTo>
                <a:lnTo>
                  <a:pt x="7" y="16"/>
                </a:lnTo>
                <a:lnTo>
                  <a:pt x="7" y="14"/>
                </a:lnTo>
                <a:lnTo>
                  <a:pt x="5" y="12"/>
                </a:lnTo>
                <a:lnTo>
                  <a:pt x="5" y="11"/>
                </a:lnTo>
                <a:lnTo>
                  <a:pt x="5" y="7"/>
                </a:lnTo>
                <a:lnTo>
                  <a:pt x="1" y="7"/>
                </a:lnTo>
                <a:lnTo>
                  <a:pt x="3" y="5"/>
                </a:lnTo>
                <a:lnTo>
                  <a:pt x="1" y="5"/>
                </a:lnTo>
                <a:lnTo>
                  <a:pt x="1" y="4"/>
                </a:lnTo>
                <a:lnTo>
                  <a:pt x="3" y="4"/>
                </a:lnTo>
                <a:lnTo>
                  <a:pt x="5" y="2"/>
                </a:lnTo>
                <a:close/>
                <a:moveTo>
                  <a:pt x="12" y="7"/>
                </a:moveTo>
                <a:lnTo>
                  <a:pt x="15" y="7"/>
                </a:lnTo>
                <a:lnTo>
                  <a:pt x="15" y="11"/>
                </a:lnTo>
                <a:lnTo>
                  <a:pt x="12" y="11"/>
                </a:lnTo>
                <a:lnTo>
                  <a:pt x="12" y="7"/>
                </a:lnTo>
                <a:close/>
                <a:moveTo>
                  <a:pt x="0" y="0"/>
                </a:moveTo>
                <a:lnTo>
                  <a:pt x="1" y="0"/>
                </a:lnTo>
                <a:lnTo>
                  <a:pt x="1" y="2"/>
                </a:lnTo>
                <a:lnTo>
                  <a:pt x="0" y="2"/>
                </a:lnTo>
                <a:lnTo>
                  <a:pt x="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6" name="Freeform 49">
            <a:extLst>
              <a:ext uri="{FF2B5EF4-FFF2-40B4-BE49-F238E27FC236}">
                <a16:creationId xmlns:a16="http://schemas.microsoft.com/office/drawing/2014/main" id="{A1EF7A6F-71BF-49DC-B3F1-34C3A3B992CE}"/>
              </a:ext>
            </a:extLst>
          </p:cNvPr>
          <p:cNvSpPr>
            <a:spLocks noEditPoints="1"/>
          </p:cNvSpPr>
          <p:nvPr/>
        </p:nvSpPr>
        <p:spPr bwMode="gray">
          <a:xfrm>
            <a:off x="4748099" y="4157228"/>
            <a:ext cx="57714" cy="98454"/>
          </a:xfrm>
          <a:custGeom>
            <a:avLst/>
            <a:gdLst>
              <a:gd name="T0" fmla="*/ 12 w 51"/>
              <a:gd name="T1" fmla="*/ 66 h 87"/>
              <a:gd name="T2" fmla="*/ 14 w 51"/>
              <a:gd name="T3" fmla="*/ 68 h 87"/>
              <a:gd name="T4" fmla="*/ 12 w 51"/>
              <a:gd name="T5" fmla="*/ 68 h 87"/>
              <a:gd name="T6" fmla="*/ 14 w 51"/>
              <a:gd name="T7" fmla="*/ 70 h 87"/>
              <a:gd name="T8" fmla="*/ 16 w 51"/>
              <a:gd name="T9" fmla="*/ 71 h 87"/>
              <a:gd name="T10" fmla="*/ 14 w 51"/>
              <a:gd name="T11" fmla="*/ 73 h 87"/>
              <a:gd name="T12" fmla="*/ 14 w 51"/>
              <a:gd name="T13" fmla="*/ 75 h 87"/>
              <a:gd name="T14" fmla="*/ 9 w 51"/>
              <a:gd name="T15" fmla="*/ 80 h 87"/>
              <a:gd name="T16" fmla="*/ 10 w 51"/>
              <a:gd name="T17" fmla="*/ 82 h 87"/>
              <a:gd name="T18" fmla="*/ 7 w 51"/>
              <a:gd name="T19" fmla="*/ 83 h 87"/>
              <a:gd name="T20" fmla="*/ 5 w 51"/>
              <a:gd name="T21" fmla="*/ 82 h 87"/>
              <a:gd name="T22" fmla="*/ 5 w 51"/>
              <a:gd name="T23" fmla="*/ 85 h 87"/>
              <a:gd name="T24" fmla="*/ 4 w 51"/>
              <a:gd name="T25" fmla="*/ 83 h 87"/>
              <a:gd name="T26" fmla="*/ 4 w 51"/>
              <a:gd name="T27" fmla="*/ 85 h 87"/>
              <a:gd name="T28" fmla="*/ 2 w 51"/>
              <a:gd name="T29" fmla="*/ 83 h 87"/>
              <a:gd name="T30" fmla="*/ 4 w 51"/>
              <a:gd name="T31" fmla="*/ 82 h 87"/>
              <a:gd name="T32" fmla="*/ 2 w 51"/>
              <a:gd name="T33" fmla="*/ 82 h 87"/>
              <a:gd name="T34" fmla="*/ 0 w 51"/>
              <a:gd name="T35" fmla="*/ 76 h 87"/>
              <a:gd name="T36" fmla="*/ 0 w 51"/>
              <a:gd name="T37" fmla="*/ 73 h 87"/>
              <a:gd name="T38" fmla="*/ 2 w 51"/>
              <a:gd name="T39" fmla="*/ 70 h 87"/>
              <a:gd name="T40" fmla="*/ 4 w 51"/>
              <a:gd name="T41" fmla="*/ 68 h 87"/>
              <a:gd name="T42" fmla="*/ 5 w 51"/>
              <a:gd name="T43" fmla="*/ 68 h 87"/>
              <a:gd name="T44" fmla="*/ 7 w 51"/>
              <a:gd name="T45" fmla="*/ 66 h 87"/>
              <a:gd name="T46" fmla="*/ 12 w 51"/>
              <a:gd name="T47" fmla="*/ 66 h 87"/>
              <a:gd name="T48" fmla="*/ 51 w 51"/>
              <a:gd name="T49" fmla="*/ 2 h 87"/>
              <a:gd name="T50" fmla="*/ 50 w 51"/>
              <a:gd name="T51" fmla="*/ 3 h 87"/>
              <a:gd name="T52" fmla="*/ 51 w 51"/>
              <a:gd name="T53" fmla="*/ 5 h 87"/>
              <a:gd name="T54" fmla="*/ 50 w 51"/>
              <a:gd name="T55" fmla="*/ 5 h 87"/>
              <a:gd name="T56" fmla="*/ 50 w 51"/>
              <a:gd name="T57" fmla="*/ 8 h 87"/>
              <a:gd name="T58" fmla="*/ 48 w 51"/>
              <a:gd name="T59" fmla="*/ 8 h 87"/>
              <a:gd name="T60" fmla="*/ 46 w 51"/>
              <a:gd name="T61" fmla="*/ 7 h 87"/>
              <a:gd name="T62" fmla="*/ 44 w 51"/>
              <a:gd name="T63" fmla="*/ 8 h 87"/>
              <a:gd name="T64" fmla="*/ 44 w 51"/>
              <a:gd name="T65" fmla="*/ 5 h 87"/>
              <a:gd name="T66" fmla="*/ 46 w 51"/>
              <a:gd name="T67" fmla="*/ 5 h 87"/>
              <a:gd name="T68" fmla="*/ 46 w 51"/>
              <a:gd name="T69" fmla="*/ 2 h 87"/>
              <a:gd name="T70" fmla="*/ 48 w 51"/>
              <a:gd name="T71" fmla="*/ 0 h 87"/>
              <a:gd name="T72" fmla="*/ 51 w 51"/>
              <a:gd name="T73" fmla="*/ 2 h 87"/>
              <a:gd name="T74" fmla="*/ 2 w 51"/>
              <a:gd name="T75" fmla="*/ 87 h 87"/>
              <a:gd name="T76" fmla="*/ 4 w 51"/>
              <a:gd name="T77" fmla="*/ 87 h 87"/>
              <a:gd name="T78" fmla="*/ 2 w 51"/>
              <a:gd name="T7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87">
                <a:moveTo>
                  <a:pt x="12" y="66"/>
                </a:moveTo>
                <a:lnTo>
                  <a:pt x="14" y="68"/>
                </a:lnTo>
                <a:lnTo>
                  <a:pt x="12" y="68"/>
                </a:lnTo>
                <a:lnTo>
                  <a:pt x="14" y="70"/>
                </a:lnTo>
                <a:lnTo>
                  <a:pt x="16" y="71"/>
                </a:lnTo>
                <a:lnTo>
                  <a:pt x="14" y="73"/>
                </a:lnTo>
                <a:lnTo>
                  <a:pt x="14" y="75"/>
                </a:lnTo>
                <a:lnTo>
                  <a:pt x="9" y="80"/>
                </a:lnTo>
                <a:lnTo>
                  <a:pt x="10" y="82"/>
                </a:lnTo>
                <a:lnTo>
                  <a:pt x="7" y="83"/>
                </a:lnTo>
                <a:lnTo>
                  <a:pt x="5" y="82"/>
                </a:lnTo>
                <a:lnTo>
                  <a:pt x="5" y="85"/>
                </a:lnTo>
                <a:lnTo>
                  <a:pt x="4" y="83"/>
                </a:lnTo>
                <a:lnTo>
                  <a:pt x="4" y="85"/>
                </a:lnTo>
                <a:lnTo>
                  <a:pt x="2" y="83"/>
                </a:lnTo>
                <a:lnTo>
                  <a:pt x="4" y="82"/>
                </a:lnTo>
                <a:lnTo>
                  <a:pt x="2" y="82"/>
                </a:lnTo>
                <a:lnTo>
                  <a:pt x="0" y="76"/>
                </a:lnTo>
                <a:lnTo>
                  <a:pt x="0" y="73"/>
                </a:lnTo>
                <a:lnTo>
                  <a:pt x="2" y="70"/>
                </a:lnTo>
                <a:lnTo>
                  <a:pt x="4" y="68"/>
                </a:lnTo>
                <a:lnTo>
                  <a:pt x="5" y="68"/>
                </a:lnTo>
                <a:lnTo>
                  <a:pt x="7" y="66"/>
                </a:lnTo>
                <a:lnTo>
                  <a:pt x="12" y="66"/>
                </a:lnTo>
                <a:close/>
                <a:moveTo>
                  <a:pt x="51" y="2"/>
                </a:moveTo>
                <a:lnTo>
                  <a:pt x="50" y="3"/>
                </a:lnTo>
                <a:lnTo>
                  <a:pt x="51" y="5"/>
                </a:lnTo>
                <a:lnTo>
                  <a:pt x="50" y="5"/>
                </a:lnTo>
                <a:lnTo>
                  <a:pt x="50" y="8"/>
                </a:lnTo>
                <a:lnTo>
                  <a:pt x="48" y="8"/>
                </a:lnTo>
                <a:lnTo>
                  <a:pt x="46" y="7"/>
                </a:lnTo>
                <a:lnTo>
                  <a:pt x="44" y="8"/>
                </a:lnTo>
                <a:lnTo>
                  <a:pt x="44" y="5"/>
                </a:lnTo>
                <a:lnTo>
                  <a:pt x="46" y="5"/>
                </a:lnTo>
                <a:lnTo>
                  <a:pt x="46" y="2"/>
                </a:lnTo>
                <a:lnTo>
                  <a:pt x="48" y="0"/>
                </a:lnTo>
                <a:lnTo>
                  <a:pt x="51" y="2"/>
                </a:lnTo>
                <a:close/>
                <a:moveTo>
                  <a:pt x="2" y="87"/>
                </a:moveTo>
                <a:lnTo>
                  <a:pt x="4" y="87"/>
                </a:lnTo>
                <a:lnTo>
                  <a:pt x="2" y="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7" name="Freeform 50">
            <a:extLst>
              <a:ext uri="{FF2B5EF4-FFF2-40B4-BE49-F238E27FC236}">
                <a16:creationId xmlns:a16="http://schemas.microsoft.com/office/drawing/2014/main" id="{AED9B0B1-FC09-4823-9795-AD4349D40924}"/>
              </a:ext>
            </a:extLst>
          </p:cNvPr>
          <p:cNvSpPr>
            <a:spLocks noEditPoints="1"/>
          </p:cNvSpPr>
          <p:nvPr/>
        </p:nvSpPr>
        <p:spPr bwMode="gray">
          <a:xfrm>
            <a:off x="3373151" y="3298308"/>
            <a:ext cx="354204" cy="250094"/>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48" name="Freeform 51">
            <a:extLst>
              <a:ext uri="{FF2B5EF4-FFF2-40B4-BE49-F238E27FC236}">
                <a16:creationId xmlns:a16="http://schemas.microsoft.com/office/drawing/2014/main" id="{CF765D35-56F8-48C8-B93A-89FB2E097898}"/>
              </a:ext>
            </a:extLst>
          </p:cNvPr>
          <p:cNvSpPr>
            <a:spLocks noEditPoints="1"/>
          </p:cNvSpPr>
          <p:nvPr/>
        </p:nvSpPr>
        <p:spPr bwMode="gray">
          <a:xfrm>
            <a:off x="3615323" y="3681936"/>
            <a:ext cx="173141" cy="176537"/>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49" name="Freeform 52">
            <a:extLst>
              <a:ext uri="{FF2B5EF4-FFF2-40B4-BE49-F238E27FC236}">
                <a16:creationId xmlns:a16="http://schemas.microsoft.com/office/drawing/2014/main" id="{E4A352A5-4A8B-4D3A-A32A-58CD6CFBEE0A}"/>
              </a:ext>
            </a:extLst>
          </p:cNvPr>
          <p:cNvSpPr>
            <a:spLocks noEditPoints="1"/>
          </p:cNvSpPr>
          <p:nvPr/>
        </p:nvSpPr>
        <p:spPr bwMode="gray">
          <a:xfrm>
            <a:off x="6727347" y="3567639"/>
            <a:ext cx="596377" cy="781967"/>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0" name="Freeform 53">
            <a:extLst>
              <a:ext uri="{FF2B5EF4-FFF2-40B4-BE49-F238E27FC236}">
                <a16:creationId xmlns:a16="http://schemas.microsoft.com/office/drawing/2014/main" id="{1D1E1E38-667B-4A5D-8B47-28925888DA12}"/>
              </a:ext>
            </a:extLst>
          </p:cNvPr>
          <p:cNvSpPr>
            <a:spLocks noEditPoints="1"/>
          </p:cNvSpPr>
          <p:nvPr/>
        </p:nvSpPr>
        <p:spPr bwMode="gray">
          <a:xfrm>
            <a:off x="5321844" y="5524255"/>
            <a:ext cx="940397" cy="728779"/>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1" name="Freeform 54">
            <a:extLst>
              <a:ext uri="{FF2B5EF4-FFF2-40B4-BE49-F238E27FC236}">
                <a16:creationId xmlns:a16="http://schemas.microsoft.com/office/drawing/2014/main" id="{C5D6169C-3F28-4B34-B8CA-8146431D7598}"/>
              </a:ext>
            </a:extLst>
          </p:cNvPr>
          <p:cNvSpPr>
            <a:spLocks/>
          </p:cNvSpPr>
          <p:nvPr/>
        </p:nvSpPr>
        <p:spPr bwMode="gray">
          <a:xfrm>
            <a:off x="5762054" y="3555192"/>
            <a:ext cx="638248" cy="500187"/>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52" name="Freeform 55">
            <a:extLst>
              <a:ext uri="{FF2B5EF4-FFF2-40B4-BE49-F238E27FC236}">
                <a16:creationId xmlns:a16="http://schemas.microsoft.com/office/drawing/2014/main" id="{1B8DC638-F06D-4548-9F26-D0D656EC1F31}"/>
              </a:ext>
            </a:extLst>
          </p:cNvPr>
          <p:cNvSpPr>
            <a:spLocks noEditPoints="1"/>
          </p:cNvSpPr>
          <p:nvPr/>
        </p:nvSpPr>
        <p:spPr bwMode="gray">
          <a:xfrm>
            <a:off x="5627388" y="2992764"/>
            <a:ext cx="965293" cy="763861"/>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53" name="Freeform 56">
            <a:extLst>
              <a:ext uri="{FF2B5EF4-FFF2-40B4-BE49-F238E27FC236}">
                <a16:creationId xmlns:a16="http://schemas.microsoft.com/office/drawing/2014/main" id="{1DFE9E99-E742-4244-AAA8-B126E522AF53}"/>
              </a:ext>
            </a:extLst>
          </p:cNvPr>
          <p:cNvSpPr>
            <a:spLocks/>
          </p:cNvSpPr>
          <p:nvPr/>
        </p:nvSpPr>
        <p:spPr bwMode="gray">
          <a:xfrm>
            <a:off x="6143419" y="5730214"/>
            <a:ext cx="76952" cy="91663"/>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4" name="Freeform 57">
            <a:extLst>
              <a:ext uri="{FF2B5EF4-FFF2-40B4-BE49-F238E27FC236}">
                <a16:creationId xmlns:a16="http://schemas.microsoft.com/office/drawing/2014/main" id="{82ECAFF4-1BDF-4E12-807E-BCEACAD77D92}"/>
              </a:ext>
            </a:extLst>
          </p:cNvPr>
          <p:cNvSpPr>
            <a:spLocks noEditPoints="1"/>
          </p:cNvSpPr>
          <p:nvPr/>
        </p:nvSpPr>
        <p:spPr bwMode="gray">
          <a:xfrm>
            <a:off x="6061940" y="4311131"/>
            <a:ext cx="633721" cy="617878"/>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solidFill>
            <a:schemeClr val="accent4"/>
          </a:solidFill>
          <a:ln w="9525">
            <a:solidFill>
              <a:srgbClr val="808080"/>
            </a:solidFill>
            <a:miter lim="800000"/>
            <a:headEnd/>
            <a:tailEnd/>
          </a:ln>
          <a:effectLs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55" name="Freeform 58">
            <a:extLst>
              <a:ext uri="{FF2B5EF4-FFF2-40B4-BE49-F238E27FC236}">
                <a16:creationId xmlns:a16="http://schemas.microsoft.com/office/drawing/2014/main" id="{2702950D-77E0-498B-8C7E-77B879876231}"/>
              </a:ext>
            </a:extLst>
          </p:cNvPr>
          <p:cNvSpPr>
            <a:spLocks/>
          </p:cNvSpPr>
          <p:nvPr/>
        </p:nvSpPr>
        <p:spPr bwMode="gray">
          <a:xfrm>
            <a:off x="4368999" y="3616300"/>
            <a:ext cx="112033" cy="288569"/>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6" name="Freeform 59">
            <a:extLst>
              <a:ext uri="{FF2B5EF4-FFF2-40B4-BE49-F238E27FC236}">
                <a16:creationId xmlns:a16="http://schemas.microsoft.com/office/drawing/2014/main" id="{3120F756-2ACC-4C53-BBCE-6130056E31E4}"/>
              </a:ext>
            </a:extLst>
          </p:cNvPr>
          <p:cNvSpPr>
            <a:spLocks noEditPoints="1"/>
          </p:cNvSpPr>
          <p:nvPr/>
        </p:nvSpPr>
        <p:spPr bwMode="gray">
          <a:xfrm>
            <a:off x="4810340" y="2103291"/>
            <a:ext cx="231987" cy="417578"/>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7" name="Freeform 60">
            <a:extLst>
              <a:ext uri="{FF2B5EF4-FFF2-40B4-BE49-F238E27FC236}">
                <a16:creationId xmlns:a16="http://schemas.microsoft.com/office/drawing/2014/main" id="{0C6AE956-5C5A-434D-831F-D80CE4E1E0A7}"/>
              </a:ext>
            </a:extLst>
          </p:cNvPr>
          <p:cNvSpPr>
            <a:spLocks/>
          </p:cNvSpPr>
          <p:nvPr/>
        </p:nvSpPr>
        <p:spPr bwMode="gray">
          <a:xfrm>
            <a:off x="6072124" y="4012376"/>
            <a:ext cx="313465" cy="328177"/>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8" name="Freeform 61">
            <a:extLst>
              <a:ext uri="{FF2B5EF4-FFF2-40B4-BE49-F238E27FC236}">
                <a16:creationId xmlns:a16="http://schemas.microsoft.com/office/drawing/2014/main" id="{AFD3669F-4261-46FD-AFB5-A42659CB3ADC}"/>
              </a:ext>
            </a:extLst>
          </p:cNvPr>
          <p:cNvSpPr>
            <a:spLocks/>
          </p:cNvSpPr>
          <p:nvPr/>
        </p:nvSpPr>
        <p:spPr bwMode="gray">
          <a:xfrm>
            <a:off x="3398046" y="2666850"/>
            <a:ext cx="483213" cy="397207"/>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59" name="Freeform 62">
            <a:extLst>
              <a:ext uri="{FF2B5EF4-FFF2-40B4-BE49-F238E27FC236}">
                <a16:creationId xmlns:a16="http://schemas.microsoft.com/office/drawing/2014/main" id="{FF9DC4C9-5A1F-4664-B587-E4FC326DBE8E}"/>
              </a:ext>
            </a:extLst>
          </p:cNvPr>
          <p:cNvSpPr>
            <a:spLocks/>
          </p:cNvSpPr>
          <p:nvPr/>
        </p:nvSpPr>
        <p:spPr bwMode="gray">
          <a:xfrm>
            <a:off x="5638704" y="4726445"/>
            <a:ext cx="669934" cy="564691"/>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60" name="Freeform 63">
            <a:extLst>
              <a:ext uri="{FF2B5EF4-FFF2-40B4-BE49-F238E27FC236}">
                <a16:creationId xmlns:a16="http://schemas.microsoft.com/office/drawing/2014/main" id="{25103603-F6FE-4138-A500-73127E471EBC}"/>
              </a:ext>
            </a:extLst>
          </p:cNvPr>
          <p:cNvSpPr>
            <a:spLocks/>
          </p:cNvSpPr>
          <p:nvPr/>
        </p:nvSpPr>
        <p:spPr bwMode="gray">
          <a:xfrm>
            <a:off x="5823162" y="5150812"/>
            <a:ext cx="449263" cy="390418"/>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a:ea typeface="+mn-ea"/>
              <a:cs typeface="+mn-cs"/>
            </a:endParaRPr>
          </a:p>
        </p:txBody>
      </p:sp>
      <p:sp>
        <p:nvSpPr>
          <p:cNvPr id="61" name="Freeform 64">
            <a:extLst>
              <a:ext uri="{FF2B5EF4-FFF2-40B4-BE49-F238E27FC236}">
                <a16:creationId xmlns:a16="http://schemas.microsoft.com/office/drawing/2014/main" id="{CD5A7BE5-09EF-44F9-ABA6-8C7AA05D3FCF}"/>
              </a:ext>
            </a:extLst>
          </p:cNvPr>
          <p:cNvSpPr>
            <a:spLocks/>
          </p:cNvSpPr>
          <p:nvPr/>
        </p:nvSpPr>
        <p:spPr bwMode="gray">
          <a:xfrm>
            <a:off x="4046479" y="5165523"/>
            <a:ext cx="7921" cy="7922"/>
          </a:xfrm>
          <a:custGeom>
            <a:avLst/>
            <a:gdLst>
              <a:gd name="T0" fmla="*/ 7 w 7"/>
              <a:gd name="T1" fmla="*/ 2 h 7"/>
              <a:gd name="T2" fmla="*/ 7 w 7"/>
              <a:gd name="T3" fmla="*/ 4 h 7"/>
              <a:gd name="T4" fmla="*/ 1 w 7"/>
              <a:gd name="T5" fmla="*/ 7 h 7"/>
              <a:gd name="T6" fmla="*/ 0 w 7"/>
              <a:gd name="T7" fmla="*/ 5 h 7"/>
              <a:gd name="T8" fmla="*/ 3 w 7"/>
              <a:gd name="T9" fmla="*/ 0 h 7"/>
              <a:gd name="T10" fmla="*/ 7 w 7"/>
              <a:gd name="T11" fmla="*/ 2 h 7"/>
            </a:gdLst>
            <a:ahLst/>
            <a:cxnLst>
              <a:cxn ang="0">
                <a:pos x="T0" y="T1"/>
              </a:cxn>
              <a:cxn ang="0">
                <a:pos x="T2" y="T3"/>
              </a:cxn>
              <a:cxn ang="0">
                <a:pos x="T4" y="T5"/>
              </a:cxn>
              <a:cxn ang="0">
                <a:pos x="T6" y="T7"/>
              </a:cxn>
              <a:cxn ang="0">
                <a:pos x="T8" y="T9"/>
              </a:cxn>
              <a:cxn ang="0">
                <a:pos x="T10" y="T11"/>
              </a:cxn>
            </a:cxnLst>
            <a:rect l="0" t="0" r="r" b="b"/>
            <a:pathLst>
              <a:path w="7" h="7">
                <a:moveTo>
                  <a:pt x="7" y="2"/>
                </a:moveTo>
                <a:lnTo>
                  <a:pt x="7" y="4"/>
                </a:lnTo>
                <a:lnTo>
                  <a:pt x="1" y="7"/>
                </a:lnTo>
                <a:lnTo>
                  <a:pt x="0" y="5"/>
                </a:lnTo>
                <a:lnTo>
                  <a:pt x="3" y="0"/>
                </a:lnTo>
                <a:lnTo>
                  <a:pt x="7" y="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a:latin typeface="Arial" charset="0"/>
              <a:ea typeface="+mn-ea"/>
              <a:cs typeface="+mn-cs"/>
            </a:endParaRPr>
          </a:p>
        </p:txBody>
      </p:sp>
      <p:sp>
        <p:nvSpPr>
          <p:cNvPr id="62" name="Freeform: Shape 61">
            <a:extLst>
              <a:ext uri="{FF2B5EF4-FFF2-40B4-BE49-F238E27FC236}">
                <a16:creationId xmlns:a16="http://schemas.microsoft.com/office/drawing/2014/main" id="{00DAD405-0C1A-422A-8021-0A007F517861}"/>
              </a:ext>
            </a:extLst>
          </p:cNvPr>
          <p:cNvSpPr/>
          <p:nvPr/>
        </p:nvSpPr>
        <p:spPr>
          <a:xfrm>
            <a:off x="7417812" y="5572350"/>
            <a:ext cx="46074" cy="35505"/>
          </a:xfrm>
          <a:custGeom>
            <a:avLst/>
            <a:gdLst>
              <a:gd name="connsiteX0" fmla="*/ 6480 w 74853"/>
              <a:gd name="connsiteY0" fmla="*/ 4524 h 57683"/>
              <a:gd name="connsiteX1" fmla="*/ 68684 w 74853"/>
              <a:gd name="connsiteY1" fmla="*/ 10745 h 57683"/>
              <a:gd name="connsiteX2" fmla="*/ 62464 w 74853"/>
              <a:gd name="connsiteY2" fmla="*/ 54288 h 57683"/>
              <a:gd name="connsiteX3" fmla="*/ 6480 w 74853"/>
              <a:gd name="connsiteY3" fmla="*/ 48067 h 57683"/>
              <a:gd name="connsiteX4" fmla="*/ 6480 w 74853"/>
              <a:gd name="connsiteY4" fmla="*/ 4524 h 57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53" h="57683">
                <a:moveTo>
                  <a:pt x="6480" y="4524"/>
                </a:moveTo>
                <a:cubicBezTo>
                  <a:pt x="16847" y="-1696"/>
                  <a:pt x="53109" y="-3099"/>
                  <a:pt x="68684" y="10745"/>
                </a:cubicBezTo>
                <a:cubicBezTo>
                  <a:pt x="79642" y="20486"/>
                  <a:pt x="75036" y="46745"/>
                  <a:pt x="62464" y="54288"/>
                </a:cubicBezTo>
                <a:cubicBezTo>
                  <a:pt x="46364" y="63948"/>
                  <a:pt x="25141" y="50141"/>
                  <a:pt x="6480" y="48067"/>
                </a:cubicBezTo>
                <a:cubicBezTo>
                  <a:pt x="-244" y="21174"/>
                  <a:pt x="-3887" y="10744"/>
                  <a:pt x="6480" y="4524"/>
                </a:cubicBez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632" kern="1200" dirty="0" err="1">
              <a:latin typeface="Arial" charset="0"/>
              <a:ea typeface="+mn-ea"/>
              <a:cs typeface="+mn-cs"/>
            </a:endParaRPr>
          </a:p>
        </p:txBody>
      </p:sp>
      <p:sp>
        <p:nvSpPr>
          <p:cNvPr id="63" name="Freeform: Shape 62">
            <a:extLst>
              <a:ext uri="{FF2B5EF4-FFF2-40B4-BE49-F238E27FC236}">
                <a16:creationId xmlns:a16="http://schemas.microsoft.com/office/drawing/2014/main" id="{B3377658-0C9B-4A62-886C-22ACAB348AE2}"/>
              </a:ext>
            </a:extLst>
          </p:cNvPr>
          <p:cNvSpPr/>
          <p:nvPr/>
        </p:nvSpPr>
        <p:spPr>
          <a:xfrm>
            <a:off x="7351047" y="5653742"/>
            <a:ext cx="46074" cy="35505"/>
          </a:xfrm>
          <a:custGeom>
            <a:avLst/>
            <a:gdLst>
              <a:gd name="connsiteX0" fmla="*/ 6480 w 74853"/>
              <a:gd name="connsiteY0" fmla="*/ 4524 h 57683"/>
              <a:gd name="connsiteX1" fmla="*/ 68684 w 74853"/>
              <a:gd name="connsiteY1" fmla="*/ 10745 h 57683"/>
              <a:gd name="connsiteX2" fmla="*/ 62464 w 74853"/>
              <a:gd name="connsiteY2" fmla="*/ 54288 h 57683"/>
              <a:gd name="connsiteX3" fmla="*/ 6480 w 74853"/>
              <a:gd name="connsiteY3" fmla="*/ 48067 h 57683"/>
              <a:gd name="connsiteX4" fmla="*/ 6480 w 74853"/>
              <a:gd name="connsiteY4" fmla="*/ 4524 h 57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53" h="57683">
                <a:moveTo>
                  <a:pt x="6480" y="4524"/>
                </a:moveTo>
                <a:cubicBezTo>
                  <a:pt x="16847" y="-1696"/>
                  <a:pt x="53109" y="-3099"/>
                  <a:pt x="68684" y="10745"/>
                </a:cubicBezTo>
                <a:cubicBezTo>
                  <a:pt x="79642" y="20486"/>
                  <a:pt x="75036" y="46745"/>
                  <a:pt x="62464" y="54288"/>
                </a:cubicBezTo>
                <a:cubicBezTo>
                  <a:pt x="46364" y="63948"/>
                  <a:pt x="25141" y="50141"/>
                  <a:pt x="6480" y="48067"/>
                </a:cubicBezTo>
                <a:cubicBezTo>
                  <a:pt x="-244" y="21174"/>
                  <a:pt x="-3887" y="10744"/>
                  <a:pt x="6480" y="4524"/>
                </a:cubicBezTo>
                <a:close/>
              </a:path>
            </a:pathLst>
          </a:cu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ts val="300"/>
              </a:spcBef>
              <a:spcAft>
                <a:spcPts val="300"/>
              </a:spcAft>
              <a:buClrTx/>
              <a:buFontTx/>
              <a:buNone/>
            </a:pPr>
            <a:endParaRPr lang="en-US" sz="900" kern="1200" dirty="0" err="1">
              <a:solidFill>
                <a:srgbClr val="000000"/>
              </a:solidFill>
            </a:endParaRPr>
          </a:p>
        </p:txBody>
      </p:sp>
      <p:sp>
        <p:nvSpPr>
          <p:cNvPr id="64" name="Freeform: Shape 63">
            <a:extLst>
              <a:ext uri="{FF2B5EF4-FFF2-40B4-BE49-F238E27FC236}">
                <a16:creationId xmlns:a16="http://schemas.microsoft.com/office/drawing/2014/main" id="{D46765CD-4D74-45C9-9469-D11BE0D8B272}"/>
              </a:ext>
            </a:extLst>
          </p:cNvPr>
          <p:cNvSpPr/>
          <p:nvPr/>
        </p:nvSpPr>
        <p:spPr>
          <a:xfrm>
            <a:off x="7394775" y="4620070"/>
            <a:ext cx="46074" cy="35505"/>
          </a:xfrm>
          <a:custGeom>
            <a:avLst/>
            <a:gdLst>
              <a:gd name="connsiteX0" fmla="*/ 6480 w 74853"/>
              <a:gd name="connsiteY0" fmla="*/ 4524 h 57683"/>
              <a:gd name="connsiteX1" fmla="*/ 68684 w 74853"/>
              <a:gd name="connsiteY1" fmla="*/ 10745 h 57683"/>
              <a:gd name="connsiteX2" fmla="*/ 62464 w 74853"/>
              <a:gd name="connsiteY2" fmla="*/ 54288 h 57683"/>
              <a:gd name="connsiteX3" fmla="*/ 6480 w 74853"/>
              <a:gd name="connsiteY3" fmla="*/ 48067 h 57683"/>
              <a:gd name="connsiteX4" fmla="*/ 6480 w 74853"/>
              <a:gd name="connsiteY4" fmla="*/ 4524 h 57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53" h="57683">
                <a:moveTo>
                  <a:pt x="6480" y="4524"/>
                </a:moveTo>
                <a:cubicBezTo>
                  <a:pt x="16847" y="-1696"/>
                  <a:pt x="53109" y="-3099"/>
                  <a:pt x="68684" y="10745"/>
                </a:cubicBezTo>
                <a:cubicBezTo>
                  <a:pt x="79642" y="20486"/>
                  <a:pt x="75036" y="46745"/>
                  <a:pt x="62464" y="54288"/>
                </a:cubicBezTo>
                <a:cubicBezTo>
                  <a:pt x="46364" y="63948"/>
                  <a:pt x="25141" y="50141"/>
                  <a:pt x="6480" y="48067"/>
                </a:cubicBezTo>
                <a:cubicBezTo>
                  <a:pt x="-244" y="21174"/>
                  <a:pt x="-3887" y="10744"/>
                  <a:pt x="6480" y="4524"/>
                </a:cubicBezTo>
                <a:close/>
              </a:path>
            </a:pathLst>
          </a:cu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dirty="0" err="1">
              <a:ea typeface="+mn-ea"/>
              <a:cs typeface="+mn-cs"/>
            </a:endParaRPr>
          </a:p>
        </p:txBody>
      </p:sp>
      <p:sp>
        <p:nvSpPr>
          <p:cNvPr id="66" name="Rectangle 65">
            <a:extLst>
              <a:ext uri="{FF2B5EF4-FFF2-40B4-BE49-F238E27FC236}">
                <a16:creationId xmlns:a16="http://schemas.microsoft.com/office/drawing/2014/main" id="{E69E59AA-11CA-4D80-8473-CA8FE5A7C0A4}"/>
              </a:ext>
            </a:extLst>
          </p:cNvPr>
          <p:cNvSpPr>
            <a:spLocks/>
          </p:cNvSpPr>
          <p:nvPr/>
        </p:nvSpPr>
        <p:spPr>
          <a:xfrm>
            <a:off x="407293" y="1255659"/>
            <a:ext cx="6943753" cy="464606"/>
          </a:xfrm>
          <a:prstGeom prst="rect">
            <a:avLst/>
          </a:prstGeom>
          <a:gradFill flip="none" rotWithShape="1">
            <a:gsLst>
              <a:gs pos="0">
                <a:srgbClr val="4D6B38">
                  <a:shade val="30000"/>
                  <a:satMod val="115000"/>
                  <a:lumMod val="97000"/>
                </a:srgbClr>
              </a:gs>
              <a:gs pos="50000">
                <a:srgbClr val="4D6B38">
                  <a:shade val="67500"/>
                  <a:satMod val="115000"/>
                </a:srgbClr>
              </a:gs>
              <a:gs pos="100000">
                <a:srgbClr val="4D6B38">
                  <a:shade val="100000"/>
                  <a:satMod val="115000"/>
                </a:srgbClr>
              </a:gs>
            </a:gsLst>
            <a:lin ang="16200000" scaled="1"/>
            <a:tileRect/>
          </a:gradFill>
          <a:ln w="9525">
            <a:noFill/>
            <a:miter lim="800000"/>
            <a:headEnd/>
            <a:tailEnd/>
          </a:ln>
          <a:effectLst/>
        </p:spPr>
        <p:txBody>
          <a:bodyPr wrap="square" tIns="91440" bIns="91440" anchor="ctr">
            <a:noAutofit/>
          </a:bodyPr>
          <a:lstStyle/>
          <a:p>
            <a:pPr algn="ctr">
              <a:buClr>
                <a:srgbClr val="FFFFFF"/>
              </a:buClr>
              <a:defRPr/>
            </a:pPr>
            <a:r>
              <a:rPr lang="en-US" sz="1800" b="1" dirty="0">
                <a:solidFill>
                  <a:srgbClr val="FFFFFF"/>
                </a:solidFill>
                <a:latin typeface="Arial" charset="0"/>
                <a:ea typeface="+mn-ea"/>
              </a:rPr>
              <a:t>Risk communication &amp; community engagement</a:t>
            </a:r>
            <a:endParaRPr lang="en-US" sz="1600" dirty="0">
              <a:solidFill>
                <a:srgbClr val="FFFFFF"/>
              </a:solidFill>
              <a:latin typeface="Arial" charset="0"/>
              <a:ea typeface="+mn-ea"/>
            </a:endParaRPr>
          </a:p>
        </p:txBody>
      </p:sp>
      <p:sp>
        <p:nvSpPr>
          <p:cNvPr id="70" name="Rectangle 69">
            <a:extLst>
              <a:ext uri="{FF2B5EF4-FFF2-40B4-BE49-F238E27FC236}">
                <a16:creationId xmlns:a16="http://schemas.microsoft.com/office/drawing/2014/main" id="{23E3753B-866E-4B4F-95D4-821FE34D6839}"/>
              </a:ext>
            </a:extLst>
          </p:cNvPr>
          <p:cNvSpPr>
            <a:spLocks/>
          </p:cNvSpPr>
          <p:nvPr/>
        </p:nvSpPr>
        <p:spPr>
          <a:xfrm>
            <a:off x="7799752" y="1255659"/>
            <a:ext cx="3874148" cy="464606"/>
          </a:xfrm>
          <a:prstGeom prst="rect">
            <a:avLst/>
          </a:prstGeom>
          <a:gradFill flip="none" rotWithShape="1">
            <a:gsLst>
              <a:gs pos="0">
                <a:srgbClr val="4D6B38">
                  <a:shade val="30000"/>
                  <a:satMod val="115000"/>
                  <a:lumMod val="97000"/>
                </a:srgbClr>
              </a:gs>
              <a:gs pos="50000">
                <a:srgbClr val="4D6B38">
                  <a:shade val="67500"/>
                  <a:satMod val="115000"/>
                </a:srgbClr>
              </a:gs>
              <a:gs pos="100000">
                <a:srgbClr val="4D6B38">
                  <a:shade val="100000"/>
                  <a:satMod val="115000"/>
                </a:srgbClr>
              </a:gs>
            </a:gsLst>
            <a:lin ang="16200000" scaled="1"/>
            <a:tileRect/>
          </a:gradFill>
          <a:ln w="9525">
            <a:noFill/>
            <a:miter lim="800000"/>
            <a:headEnd/>
            <a:tailEnd/>
          </a:ln>
          <a:effectLst/>
        </p:spPr>
        <p:txBody>
          <a:bodyPr wrap="square" tIns="91440" bIns="91440" anchor="ctr">
            <a:noAutofit/>
          </a:bodyPr>
          <a:lstStyle/>
          <a:p>
            <a:pPr algn="ctr">
              <a:buClr>
                <a:srgbClr val="FFFFFF"/>
              </a:buClr>
              <a:defRPr/>
            </a:pPr>
            <a:r>
              <a:rPr lang="en-US" sz="1800" b="1" dirty="0">
                <a:solidFill>
                  <a:srgbClr val="FFFFFF"/>
                </a:solidFill>
                <a:latin typeface="Arial" charset="0"/>
                <a:ea typeface="+mn-ea"/>
              </a:rPr>
              <a:t>Clinical care management</a:t>
            </a:r>
            <a:endParaRPr lang="en-US" sz="1600" dirty="0">
              <a:solidFill>
                <a:srgbClr val="FFFFFF"/>
              </a:solidFill>
              <a:latin typeface="Arial" charset="0"/>
              <a:ea typeface="+mn-ea"/>
            </a:endParaRPr>
          </a:p>
        </p:txBody>
      </p:sp>
      <p:grpSp>
        <p:nvGrpSpPr>
          <p:cNvPr id="5" name="Group 4">
            <a:extLst>
              <a:ext uri="{FF2B5EF4-FFF2-40B4-BE49-F238E27FC236}">
                <a16:creationId xmlns:a16="http://schemas.microsoft.com/office/drawing/2014/main" id="{0FE67F57-811B-4CCC-A7BB-954B380E8D5E}"/>
              </a:ext>
            </a:extLst>
          </p:cNvPr>
          <p:cNvGrpSpPr/>
          <p:nvPr/>
        </p:nvGrpSpPr>
        <p:grpSpPr>
          <a:xfrm>
            <a:off x="7899682" y="2035445"/>
            <a:ext cx="3674289" cy="1864374"/>
            <a:chOff x="7899682" y="4109450"/>
            <a:chExt cx="3674289" cy="1864374"/>
          </a:xfrm>
        </p:grpSpPr>
        <p:sp>
          <p:nvSpPr>
            <p:cNvPr id="71" name="TextBox 70">
              <a:extLst>
                <a:ext uri="{FF2B5EF4-FFF2-40B4-BE49-F238E27FC236}">
                  <a16:creationId xmlns:a16="http://schemas.microsoft.com/office/drawing/2014/main" id="{8D3507A9-AAF2-4778-8120-8A19166C8558}"/>
                </a:ext>
              </a:extLst>
            </p:cNvPr>
            <p:cNvSpPr txBox="1"/>
            <p:nvPr/>
          </p:nvSpPr>
          <p:spPr>
            <a:xfrm>
              <a:off x="7899682" y="4865828"/>
              <a:ext cx="3674289" cy="1107996"/>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lgn="ctr" fontAlgn="base">
                <a:spcBef>
                  <a:spcPts val="600"/>
                </a:spcBef>
                <a:spcAft>
                  <a:spcPct val="0"/>
                </a:spcAft>
                <a:buClr>
                  <a:srgbClr val="303D24"/>
                </a:buClr>
                <a:buFont typeface="Arial" charset="0"/>
                <a:buNone/>
              </a:pPr>
              <a:r>
                <a:rPr lang="en-US" sz="1800" b="1" kern="1200" dirty="0">
                  <a:ea typeface="+mn-ea"/>
                  <a:cs typeface="+mn-cs"/>
                </a:rPr>
                <a:t>Developed a network of clinicians </a:t>
              </a:r>
              <a:r>
                <a:rPr lang="en-US" sz="1800" kern="1200" dirty="0">
                  <a:ea typeface="+mn-ea"/>
                  <a:cs typeface="+mn-cs"/>
                </a:rPr>
                <a:t>to facilitate dissemination of clinical guidelines</a:t>
              </a:r>
            </a:p>
          </p:txBody>
        </p:sp>
        <p:pic>
          <p:nvPicPr>
            <p:cNvPr id="73" name="CustomIcon">
              <a:extLst>
                <a:ext uri="{FF2B5EF4-FFF2-40B4-BE49-F238E27FC236}">
                  <a16:creationId xmlns:a16="http://schemas.microsoft.com/office/drawing/2014/main" id="{FAF889B9-9ED5-4AE6-B147-B37D1D1ED40E}"/>
                </a:ext>
              </a:extLst>
            </p:cNvPr>
            <p:cNvPicPr>
              <a:picLocks/>
            </p:cNvPicPr>
            <p:nvPr>
              <p:custDataLst>
                <p:tags r:id="rId9"/>
              </p:custDataLst>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30502" y="4109450"/>
              <a:ext cx="612648" cy="612648"/>
            </a:xfrm>
            <a:prstGeom prst="rect">
              <a:avLst/>
            </a:prstGeom>
          </p:spPr>
        </p:pic>
      </p:grpSp>
      <p:grpSp>
        <p:nvGrpSpPr>
          <p:cNvPr id="65" name="Group 64">
            <a:extLst>
              <a:ext uri="{FF2B5EF4-FFF2-40B4-BE49-F238E27FC236}">
                <a16:creationId xmlns:a16="http://schemas.microsoft.com/office/drawing/2014/main" id="{F94DAE6B-42DC-428A-A81D-610586A84AD7}"/>
              </a:ext>
            </a:extLst>
          </p:cNvPr>
          <p:cNvGrpSpPr/>
          <p:nvPr/>
        </p:nvGrpSpPr>
        <p:grpSpPr>
          <a:xfrm>
            <a:off x="8066695" y="4109450"/>
            <a:ext cx="3340263" cy="1606425"/>
            <a:chOff x="8066695" y="2035445"/>
            <a:chExt cx="3340263" cy="1606425"/>
          </a:xfrm>
        </p:grpSpPr>
        <p:sp>
          <p:nvSpPr>
            <p:cNvPr id="72" name="TextBox 71">
              <a:extLst>
                <a:ext uri="{FF2B5EF4-FFF2-40B4-BE49-F238E27FC236}">
                  <a16:creationId xmlns:a16="http://schemas.microsoft.com/office/drawing/2014/main" id="{66C33731-3633-4DF5-A6B4-2B9956001C7C}"/>
                </a:ext>
              </a:extLst>
            </p:cNvPr>
            <p:cNvSpPr txBox="1"/>
            <p:nvPr/>
          </p:nvSpPr>
          <p:spPr>
            <a:xfrm>
              <a:off x="8066695" y="2810873"/>
              <a:ext cx="3340263" cy="83099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lgn="ctr" fontAlgn="base">
                <a:spcBef>
                  <a:spcPts val="600"/>
                </a:spcBef>
                <a:spcAft>
                  <a:spcPct val="0"/>
                </a:spcAft>
                <a:buClr>
                  <a:srgbClr val="303D24"/>
                </a:buClr>
                <a:buFont typeface="Arial" charset="0"/>
                <a:buNone/>
              </a:pPr>
              <a:r>
                <a:rPr lang="en-US" sz="1800" b="1" kern="1200" dirty="0">
                  <a:ea typeface="+mn-ea"/>
                  <a:cs typeface="+mn-cs"/>
                </a:rPr>
                <a:t>Planned regional trainings of 10+ countries </a:t>
              </a:r>
              <a:r>
                <a:rPr lang="en-US" sz="1800" kern="1200" dirty="0">
                  <a:ea typeface="+mn-ea"/>
                  <a:cs typeface="+mn-cs"/>
                </a:rPr>
                <a:t>for management </a:t>
              </a:r>
              <a:r>
                <a:rPr lang="en-US" sz="1800" kern="1200">
                  <a:ea typeface="+mn-ea"/>
                  <a:cs typeface="+mn-cs"/>
                </a:rPr>
                <a:t>of severe </a:t>
              </a:r>
              <a:r>
                <a:rPr lang="en-US" sz="1800" kern="1200" dirty="0">
                  <a:ea typeface="+mn-ea"/>
                  <a:cs typeface="+mn-cs"/>
                </a:rPr>
                <a:t>infections</a:t>
              </a:r>
            </a:p>
          </p:txBody>
        </p:sp>
        <p:pic>
          <p:nvPicPr>
            <p:cNvPr id="74" name="CustomIcon">
              <a:extLst>
                <a:ext uri="{FF2B5EF4-FFF2-40B4-BE49-F238E27FC236}">
                  <a16:creationId xmlns:a16="http://schemas.microsoft.com/office/drawing/2014/main" id="{B8408E74-5EF9-4EBD-BE34-9AD6F937AD37}"/>
                </a:ext>
              </a:extLst>
            </p:cNvPr>
            <p:cNvPicPr>
              <a:picLocks/>
            </p:cNvPicPr>
            <p:nvPr>
              <p:custDataLst>
                <p:tags r:id="rId8"/>
              </p:custDataLst>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430502" y="2035445"/>
              <a:ext cx="612648" cy="612648"/>
            </a:xfrm>
            <a:prstGeom prst="rect">
              <a:avLst/>
            </a:prstGeom>
          </p:spPr>
        </p:pic>
      </p:grpSp>
      <p:grpSp>
        <p:nvGrpSpPr>
          <p:cNvPr id="75" name="Group 74">
            <a:extLst>
              <a:ext uri="{FF2B5EF4-FFF2-40B4-BE49-F238E27FC236}">
                <a16:creationId xmlns:a16="http://schemas.microsoft.com/office/drawing/2014/main" id="{BEF24F69-A813-4931-B088-E91C2595D62D}"/>
              </a:ext>
            </a:extLst>
          </p:cNvPr>
          <p:cNvGrpSpPr/>
          <p:nvPr/>
        </p:nvGrpSpPr>
        <p:grpSpPr>
          <a:xfrm>
            <a:off x="3351721" y="4045283"/>
            <a:ext cx="1364325" cy="973994"/>
            <a:chOff x="6744125" y="3806722"/>
            <a:chExt cx="3048000" cy="973994"/>
          </a:xfrm>
        </p:grpSpPr>
        <p:sp>
          <p:nvSpPr>
            <p:cNvPr id="76" name="TextBox 75">
              <a:extLst>
                <a:ext uri="{FF2B5EF4-FFF2-40B4-BE49-F238E27FC236}">
                  <a16:creationId xmlns:a16="http://schemas.microsoft.com/office/drawing/2014/main" id="{2F34E7C6-69B5-4D53-9D35-5D69588B46F6}"/>
                </a:ext>
              </a:extLst>
            </p:cNvPr>
            <p:cNvSpPr txBox="1"/>
            <p:nvPr/>
          </p:nvSpPr>
          <p:spPr>
            <a:xfrm>
              <a:off x="6744125" y="4503717"/>
              <a:ext cx="3048000" cy="276999"/>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800" kern="1200" dirty="0">
                  <a:ea typeface="+mn-ea"/>
                  <a:cs typeface="+mn-cs"/>
                </a:rPr>
                <a:t>countries</a:t>
              </a:r>
              <a:endParaRPr lang="en-US" sz="1800" kern="1200" baseline="30000" dirty="0">
                <a:ea typeface="+mn-ea"/>
                <a:cs typeface="+mn-cs"/>
              </a:endParaRPr>
            </a:p>
          </p:txBody>
        </p:sp>
        <p:sp>
          <p:nvSpPr>
            <p:cNvPr id="77" name="TextBox 76">
              <a:extLst>
                <a:ext uri="{FF2B5EF4-FFF2-40B4-BE49-F238E27FC236}">
                  <a16:creationId xmlns:a16="http://schemas.microsoft.com/office/drawing/2014/main" id="{8472E075-740F-458B-B935-EDE39ABF79A7}"/>
                </a:ext>
              </a:extLst>
            </p:cNvPr>
            <p:cNvSpPr txBox="1"/>
            <p:nvPr/>
          </p:nvSpPr>
          <p:spPr>
            <a:xfrm>
              <a:off x="6744125" y="3806722"/>
              <a:ext cx="3048000" cy="83099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5400" b="1" kern="1200" dirty="0">
                  <a:ea typeface="+mn-ea"/>
                  <a:cs typeface="+mn-cs"/>
                </a:rPr>
                <a:t>25</a:t>
              </a:r>
            </a:p>
          </p:txBody>
        </p:sp>
      </p:grpSp>
      <p:grpSp>
        <p:nvGrpSpPr>
          <p:cNvPr id="78" name="Group 77">
            <a:extLst>
              <a:ext uri="{FF2B5EF4-FFF2-40B4-BE49-F238E27FC236}">
                <a16:creationId xmlns:a16="http://schemas.microsoft.com/office/drawing/2014/main" id="{6166665E-EDB6-42C8-80C3-33A45AD35D2C}"/>
              </a:ext>
            </a:extLst>
          </p:cNvPr>
          <p:cNvGrpSpPr/>
          <p:nvPr/>
        </p:nvGrpSpPr>
        <p:grpSpPr>
          <a:xfrm>
            <a:off x="3882966" y="5068172"/>
            <a:ext cx="1364325" cy="973994"/>
            <a:chOff x="6744125" y="3806722"/>
            <a:chExt cx="3048000" cy="973994"/>
          </a:xfrm>
        </p:grpSpPr>
        <p:sp>
          <p:nvSpPr>
            <p:cNvPr id="79" name="TextBox 78">
              <a:extLst>
                <a:ext uri="{FF2B5EF4-FFF2-40B4-BE49-F238E27FC236}">
                  <a16:creationId xmlns:a16="http://schemas.microsoft.com/office/drawing/2014/main" id="{8EA34AF6-8CC7-44FF-99FB-627638903393}"/>
                </a:ext>
              </a:extLst>
            </p:cNvPr>
            <p:cNvSpPr txBox="1"/>
            <p:nvPr/>
          </p:nvSpPr>
          <p:spPr>
            <a:xfrm>
              <a:off x="6744125" y="4503717"/>
              <a:ext cx="3048000" cy="276999"/>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1800" kern="1200" dirty="0">
                  <a:ea typeface="+mn-ea"/>
                  <a:cs typeface="+mn-cs"/>
                </a:rPr>
                <a:t>participants</a:t>
              </a:r>
              <a:endParaRPr lang="en-US" sz="1800" kern="1200" baseline="30000" dirty="0">
                <a:ea typeface="+mn-ea"/>
                <a:cs typeface="+mn-cs"/>
              </a:endParaRPr>
            </a:p>
          </p:txBody>
        </p:sp>
        <p:sp>
          <p:nvSpPr>
            <p:cNvPr id="80" name="TextBox 79">
              <a:extLst>
                <a:ext uri="{FF2B5EF4-FFF2-40B4-BE49-F238E27FC236}">
                  <a16:creationId xmlns:a16="http://schemas.microsoft.com/office/drawing/2014/main" id="{ED29991E-4BC0-410B-BB86-AA148D215975}"/>
                </a:ext>
              </a:extLst>
            </p:cNvPr>
            <p:cNvSpPr txBox="1"/>
            <p:nvPr/>
          </p:nvSpPr>
          <p:spPr>
            <a:xfrm>
              <a:off x="6744125" y="3806722"/>
              <a:ext cx="3048000" cy="830997"/>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03D24"/>
                </a:buClr>
                <a:buFontTx/>
                <a:buNone/>
              </a:pPr>
              <a:r>
                <a:rPr lang="en-US" sz="5400" b="1" kern="1200" dirty="0">
                  <a:ea typeface="+mn-ea"/>
                  <a:cs typeface="+mn-cs"/>
                </a:rPr>
                <a:t>45+</a:t>
              </a:r>
            </a:p>
          </p:txBody>
        </p:sp>
      </p:grpSp>
      <p:sp>
        <p:nvSpPr>
          <p:cNvPr id="81" name="TextBox 80">
            <a:extLst>
              <a:ext uri="{FF2B5EF4-FFF2-40B4-BE49-F238E27FC236}">
                <a16:creationId xmlns:a16="http://schemas.microsoft.com/office/drawing/2014/main" id="{713B5659-892F-46C1-B79F-80CFAA7043F7}"/>
              </a:ext>
            </a:extLst>
          </p:cNvPr>
          <p:cNvSpPr txBox="1"/>
          <p:nvPr/>
        </p:nvSpPr>
        <p:spPr>
          <a:xfrm>
            <a:off x="547707" y="2872778"/>
            <a:ext cx="2342749" cy="55399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03D24"/>
              </a:buClr>
              <a:buFontTx/>
              <a:buNone/>
            </a:pPr>
            <a:r>
              <a:rPr lang="en-US" sz="1800" b="1" kern="1200" dirty="0">
                <a:ea typeface="+mn-ea"/>
                <a:cs typeface="+mn-cs"/>
              </a:rPr>
              <a:t>Risk communication trainings</a:t>
            </a:r>
          </a:p>
        </p:txBody>
      </p:sp>
      <p:grpSp>
        <p:nvGrpSpPr>
          <p:cNvPr id="82" name="Group 81">
            <a:extLst>
              <a:ext uri="{FF2B5EF4-FFF2-40B4-BE49-F238E27FC236}">
                <a16:creationId xmlns:a16="http://schemas.microsoft.com/office/drawing/2014/main" id="{3636B10B-234A-449C-9A78-AC33A241FD8B}"/>
              </a:ext>
            </a:extLst>
          </p:cNvPr>
          <p:cNvGrpSpPr/>
          <p:nvPr/>
        </p:nvGrpSpPr>
        <p:grpSpPr>
          <a:xfrm>
            <a:off x="1471981" y="2098783"/>
            <a:ext cx="612648" cy="612648"/>
            <a:chOff x="10283766" y="2795760"/>
            <a:chExt cx="612648" cy="612648"/>
          </a:xfrm>
        </p:grpSpPr>
        <p:pic>
          <p:nvPicPr>
            <p:cNvPr id="83" name="CustomIcon">
              <a:extLst>
                <a:ext uri="{FF2B5EF4-FFF2-40B4-BE49-F238E27FC236}">
                  <a16:creationId xmlns:a16="http://schemas.microsoft.com/office/drawing/2014/main" id="{6E64A902-8022-4078-BAB1-90D85A72B245}"/>
                </a:ext>
              </a:extLst>
            </p:cNvPr>
            <p:cNvPicPr>
              <a:picLocks/>
            </p:cNvPicPr>
            <p:nvPr>
              <p:custDataLst>
                <p:tags r:id="rId6"/>
              </p:custDataLst>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283766" y="2795760"/>
              <a:ext cx="612648" cy="612648"/>
            </a:xfrm>
            <a:prstGeom prst="rect">
              <a:avLst/>
            </a:prstGeom>
          </p:spPr>
        </p:pic>
        <p:pic>
          <p:nvPicPr>
            <p:cNvPr id="84" name="CustomIcon">
              <a:extLst>
                <a:ext uri="{FF2B5EF4-FFF2-40B4-BE49-F238E27FC236}">
                  <a16:creationId xmlns:a16="http://schemas.microsoft.com/office/drawing/2014/main" id="{9FAA5CDF-736C-4A79-8141-6C840C764ADE}"/>
                </a:ext>
              </a:extLst>
            </p:cNvPr>
            <p:cNvPicPr>
              <a:picLocks noChangeAspect="1"/>
            </p:cNvPicPr>
            <p:nvPr>
              <p:custDataLst>
                <p:tags r:id="rId7"/>
              </p:custDataLst>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664264" y="2891840"/>
              <a:ext cx="212945" cy="257156"/>
            </a:xfrm>
            <a:prstGeom prst="rect">
              <a:avLst/>
            </a:prstGeom>
          </p:spPr>
        </p:pic>
      </p:grpSp>
      <p:sp>
        <p:nvSpPr>
          <p:cNvPr id="85" name="TextBox 84">
            <a:extLst>
              <a:ext uri="{FF2B5EF4-FFF2-40B4-BE49-F238E27FC236}">
                <a16:creationId xmlns:a16="http://schemas.microsoft.com/office/drawing/2014/main" id="{17460A0C-58F7-4EE0-88D2-19C511ED001D}"/>
              </a:ext>
            </a:extLst>
          </p:cNvPr>
          <p:cNvSpPr txBox="1"/>
          <p:nvPr/>
        </p:nvSpPr>
        <p:spPr>
          <a:xfrm>
            <a:off x="458379" y="5299327"/>
            <a:ext cx="2590625" cy="83099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lvl="1" indent="0" algn="ctr" fontAlgn="base">
              <a:spcBef>
                <a:spcPts val="600"/>
              </a:spcBef>
              <a:spcAft>
                <a:spcPct val="0"/>
              </a:spcAft>
              <a:buClr>
                <a:srgbClr val="303D24"/>
              </a:buClr>
              <a:buFont typeface="Arial" charset="0"/>
              <a:buNone/>
            </a:pPr>
            <a:r>
              <a:rPr lang="en-US" sz="1800" kern="1200" dirty="0">
                <a:ea typeface="+mn-ea"/>
                <a:cs typeface="+mn-cs"/>
              </a:rPr>
              <a:t>COVID-19 </a:t>
            </a:r>
            <a:r>
              <a:rPr lang="en-US" sz="1800" b="1" kern="1200" dirty="0">
                <a:ea typeface="+mn-ea"/>
                <a:cs typeface="+mn-cs"/>
              </a:rPr>
              <a:t>informational materials </a:t>
            </a:r>
            <a:r>
              <a:rPr lang="en-US" sz="1800" kern="1200" dirty="0">
                <a:ea typeface="+mn-ea"/>
                <a:cs typeface="+mn-cs"/>
              </a:rPr>
              <a:t>for the general public</a:t>
            </a:r>
          </a:p>
        </p:txBody>
      </p:sp>
      <p:pic>
        <p:nvPicPr>
          <p:cNvPr id="86" name="CustomIcon">
            <a:extLst>
              <a:ext uri="{FF2B5EF4-FFF2-40B4-BE49-F238E27FC236}">
                <a16:creationId xmlns:a16="http://schemas.microsoft.com/office/drawing/2014/main" id="{6586FC20-5698-4BC0-9756-6B58B243CB3C}"/>
              </a:ext>
            </a:extLst>
          </p:cNvPr>
          <p:cNvPicPr>
            <a:picLocks/>
          </p:cNvPicPr>
          <p:nvPr>
            <p:custDataLst>
              <p:tags r:id="rId5"/>
            </p:custDataLst>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378942" y="4556281"/>
            <a:ext cx="612648" cy="612648"/>
          </a:xfrm>
          <a:prstGeom prst="rect">
            <a:avLst/>
          </a:prstGeom>
        </p:spPr>
      </p:pic>
      <p:grpSp>
        <p:nvGrpSpPr>
          <p:cNvPr id="93" name="LegendBoxes">
            <a:extLst>
              <a:ext uri="{FF2B5EF4-FFF2-40B4-BE49-F238E27FC236}">
                <a16:creationId xmlns:a16="http://schemas.microsoft.com/office/drawing/2014/main" id="{F87C4164-C872-468E-B9BF-20DE6BC1D8A9}"/>
              </a:ext>
            </a:extLst>
          </p:cNvPr>
          <p:cNvGrpSpPr/>
          <p:nvPr/>
        </p:nvGrpSpPr>
        <p:grpSpPr>
          <a:xfrm>
            <a:off x="5379713" y="1817087"/>
            <a:ext cx="1269389" cy="169277"/>
            <a:chOff x="10940631" y="928783"/>
            <a:chExt cx="1341724" cy="193148"/>
          </a:xfrm>
        </p:grpSpPr>
        <p:sp>
          <p:nvSpPr>
            <p:cNvPr id="94" name="Legend4">
              <a:extLst>
                <a:ext uri="{FF2B5EF4-FFF2-40B4-BE49-F238E27FC236}">
                  <a16:creationId xmlns:a16="http://schemas.microsoft.com/office/drawing/2014/main" id="{922BBD72-0D2D-4BAC-8BDB-D539711F4504}"/>
                </a:ext>
              </a:extLst>
            </p:cNvPr>
            <p:cNvSpPr>
              <a:spLocks noChangeArrowheads="1"/>
            </p:cNvSpPr>
            <p:nvPr/>
          </p:nvSpPr>
          <p:spPr bwMode="auto">
            <a:xfrm>
              <a:off x="11279300" y="928783"/>
              <a:ext cx="1003055" cy="193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100" kern="1200" dirty="0">
                  <a:ea typeface="+mn-ea"/>
                  <a:cs typeface="+mn-cs"/>
                </a:rPr>
                <a:t>Already trained</a:t>
              </a:r>
            </a:p>
          </p:txBody>
        </p:sp>
        <p:sp>
          <p:nvSpPr>
            <p:cNvPr id="95" name="RectangleLegend4">
              <a:extLst>
                <a:ext uri="{FF2B5EF4-FFF2-40B4-BE49-F238E27FC236}">
                  <a16:creationId xmlns:a16="http://schemas.microsoft.com/office/drawing/2014/main" id="{308A7190-1103-4EA4-A3EF-03C408544E7F}"/>
                </a:ext>
              </a:extLst>
            </p:cNvPr>
            <p:cNvSpPr>
              <a:spLocks noChangeArrowheads="1"/>
            </p:cNvSpPr>
            <p:nvPr/>
          </p:nvSpPr>
          <p:spPr bwMode="auto">
            <a:xfrm>
              <a:off x="10940631" y="939896"/>
              <a:ext cx="220134" cy="160338"/>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a:ea typeface="+mn-ea"/>
                <a:cs typeface="+mn-cs"/>
              </a:endParaRPr>
            </a:p>
          </p:txBody>
        </p:sp>
      </p:grpSp>
      <p:grpSp>
        <p:nvGrpSpPr>
          <p:cNvPr id="101" name="LegendBoxes">
            <a:extLst>
              <a:ext uri="{FF2B5EF4-FFF2-40B4-BE49-F238E27FC236}">
                <a16:creationId xmlns:a16="http://schemas.microsoft.com/office/drawing/2014/main" id="{FA1E1DC3-FDDD-4C49-8A4E-BE878B087BD0}"/>
              </a:ext>
            </a:extLst>
          </p:cNvPr>
          <p:cNvGrpSpPr/>
          <p:nvPr/>
        </p:nvGrpSpPr>
        <p:grpSpPr>
          <a:xfrm>
            <a:off x="5379719" y="2033129"/>
            <a:ext cx="1822425" cy="169277"/>
            <a:chOff x="10940631" y="928783"/>
            <a:chExt cx="1926273" cy="193148"/>
          </a:xfrm>
        </p:grpSpPr>
        <p:sp>
          <p:nvSpPr>
            <p:cNvPr id="102" name="Legend4">
              <a:extLst>
                <a:ext uri="{FF2B5EF4-FFF2-40B4-BE49-F238E27FC236}">
                  <a16:creationId xmlns:a16="http://schemas.microsoft.com/office/drawing/2014/main" id="{5E2AF29E-C7DF-4EC6-B08F-0CF85A39052B}"/>
                </a:ext>
              </a:extLst>
            </p:cNvPr>
            <p:cNvSpPr>
              <a:spLocks noChangeArrowheads="1"/>
            </p:cNvSpPr>
            <p:nvPr/>
          </p:nvSpPr>
          <p:spPr bwMode="auto">
            <a:xfrm>
              <a:off x="11279300" y="928783"/>
              <a:ext cx="1587604" cy="193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100" kern="1200" dirty="0">
                  <a:ea typeface="+mn-ea"/>
                  <a:cs typeface="+mn-cs"/>
                </a:rPr>
                <a:t>To be trained in 2-4 Mar</a:t>
              </a:r>
            </a:p>
          </p:txBody>
        </p:sp>
        <p:sp>
          <p:nvSpPr>
            <p:cNvPr id="103" name="RectangleLegend4">
              <a:extLst>
                <a:ext uri="{FF2B5EF4-FFF2-40B4-BE49-F238E27FC236}">
                  <a16:creationId xmlns:a16="http://schemas.microsoft.com/office/drawing/2014/main" id="{3954FACE-34EE-4566-ABEA-A2C093B3AB07}"/>
                </a:ext>
              </a:extLst>
            </p:cNvPr>
            <p:cNvSpPr>
              <a:spLocks noChangeArrowheads="1"/>
            </p:cNvSpPr>
            <p:nvPr/>
          </p:nvSpPr>
          <p:spPr bwMode="auto">
            <a:xfrm>
              <a:off x="10940631" y="939896"/>
              <a:ext cx="220134" cy="160338"/>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600" kern="1200">
                <a:ea typeface="+mn-ea"/>
                <a:cs typeface="+mn-cs"/>
              </a:endParaRPr>
            </a:p>
          </p:txBody>
        </p:sp>
      </p:grpSp>
    </p:spTree>
    <p:extLst>
      <p:ext uri="{BB962C8B-B14F-4D97-AF65-F5344CB8AC3E}">
        <p14:creationId xmlns:p14="http://schemas.microsoft.com/office/powerpoint/2010/main" val="2786421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1795D8-7722-44E3-A09B-2A4E23FDC93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51" imgW="473" imgH="476" progId="TCLayout.ActiveDocument.1">
                  <p:embed/>
                </p:oleObj>
              </mc:Choice>
              <mc:Fallback>
                <p:oleObj name="think-cell Slide" r:id="rId51" imgW="473" imgH="476" progId="TCLayout.ActiveDocument.1">
                  <p:embed/>
                  <p:pic>
                    <p:nvPicPr>
                      <p:cNvPr id="0" name=""/>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78" name="Rectangle 77" hidden="1">
            <a:extLst>
              <a:ext uri="{FF2B5EF4-FFF2-40B4-BE49-F238E27FC236}">
                <a16:creationId xmlns:a16="http://schemas.microsoft.com/office/drawing/2014/main" id="{BB1B5AD9-F3A6-4A73-A46E-BC8D631E944A}"/>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ZA" sz="2400" kern="1200" dirty="0" err="1">
              <a:solidFill>
                <a:srgbClr val="000000"/>
              </a:solidFill>
              <a:sym typeface="Arial" panose="020B0604020202020204" pitchFamily="34" charset="0"/>
            </a:endParaRPr>
          </a:p>
        </p:txBody>
      </p:sp>
      <p:sp>
        <p:nvSpPr>
          <p:cNvPr id="2" name="Title 1">
            <a:extLst>
              <a:ext uri="{FF2B5EF4-FFF2-40B4-BE49-F238E27FC236}">
                <a16:creationId xmlns:a16="http://schemas.microsoft.com/office/drawing/2014/main" id="{D3D4554E-A9D5-4BCD-AA0D-0B8E6F15EEA3}"/>
              </a:ext>
            </a:extLst>
          </p:cNvPr>
          <p:cNvSpPr>
            <a:spLocks noGrp="1"/>
          </p:cNvSpPr>
          <p:nvPr>
            <p:ph type="title"/>
          </p:nvPr>
        </p:nvSpPr>
        <p:spPr>
          <a:xfrm>
            <a:off x="106873" y="433461"/>
            <a:ext cx="11725484" cy="369332"/>
          </a:xfrm>
        </p:spPr>
        <p:txBody>
          <a:bodyPr>
            <a:noAutofit/>
          </a:bodyPr>
          <a:lstStyle/>
          <a:p>
            <a:r>
              <a:rPr lang="en-ZA" b="1" dirty="0"/>
              <a:t>Africa CDC Summary Dashboard: Trainings and Supplies, </a:t>
            </a:r>
            <a:r>
              <a:rPr lang="en-ZA" sz="2000" b="1" dirty="0"/>
              <a:t>13 November 2020</a:t>
            </a:r>
          </a:p>
        </p:txBody>
      </p:sp>
      <p:grpSp>
        <p:nvGrpSpPr>
          <p:cNvPr id="13" name="Group 12">
            <a:extLst>
              <a:ext uri="{FF2B5EF4-FFF2-40B4-BE49-F238E27FC236}">
                <a16:creationId xmlns:a16="http://schemas.microsoft.com/office/drawing/2014/main" id="{792C3989-B9D9-4EA0-953A-B7FBB4A4147C}"/>
              </a:ext>
            </a:extLst>
          </p:cNvPr>
          <p:cNvGrpSpPr>
            <a:grpSpLocks/>
          </p:cNvGrpSpPr>
          <p:nvPr/>
        </p:nvGrpSpPr>
        <p:grpSpPr>
          <a:xfrm>
            <a:off x="1628472" y="918593"/>
            <a:ext cx="2266102" cy="284860"/>
            <a:chOff x="554734" y="1478096"/>
            <a:chExt cx="11082528" cy="213564"/>
          </a:xfrm>
        </p:grpSpPr>
        <p:sp>
          <p:nvSpPr>
            <p:cNvPr id="18" name="TextBox 17">
              <a:extLst>
                <a:ext uri="{FF2B5EF4-FFF2-40B4-BE49-F238E27FC236}">
                  <a16:creationId xmlns:a16="http://schemas.microsoft.com/office/drawing/2014/main" id="{DA3FDF37-4793-4ED1-BBA2-9D05941EF3F2}"/>
                </a:ext>
              </a:extLst>
            </p:cNvPr>
            <p:cNvSpPr txBox="1">
              <a:spLocks/>
            </p:cNvSpPr>
            <p:nvPr/>
          </p:nvSpPr>
          <p:spPr>
            <a:xfrm>
              <a:off x="554734" y="1478096"/>
              <a:ext cx="11082528" cy="175366"/>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200" b="1" kern="1200" dirty="0">
                  <a:solidFill>
                    <a:srgbClr val="303D24"/>
                  </a:solidFill>
                  <a:ea typeface="+mn-ea"/>
                  <a:cs typeface="+mn-cs"/>
                  <a:sym typeface="MS London" panose="020B0503020203020204" pitchFamily="34" charset="0"/>
                </a:rPr>
                <a:t>        </a:t>
              </a:r>
              <a:r>
                <a:rPr lang="en-US" sz="1400" b="1" kern="1200" dirty="0">
                  <a:solidFill>
                    <a:srgbClr val="303D24"/>
                  </a:solidFill>
                  <a:ea typeface="+mn-ea"/>
                  <a:cs typeface="+mn-cs"/>
                  <a:sym typeface="MS London" panose="020B0503020203020204" pitchFamily="34" charset="0"/>
                </a:rPr>
                <a:t>Trainings</a:t>
              </a:r>
              <a:r>
                <a:rPr lang="en-US" sz="1200" b="1" kern="1200" dirty="0">
                  <a:solidFill>
                    <a:srgbClr val="303D24"/>
                  </a:solidFill>
                  <a:ea typeface="+mn-ea"/>
                  <a:cs typeface="+mn-cs"/>
                  <a:sym typeface="MS London" panose="020B0503020203020204" pitchFamily="34" charset="0"/>
                </a:rPr>
                <a:t> </a:t>
              </a:r>
              <a:r>
                <a:rPr lang="en-US" sz="1400" b="1" kern="1200" dirty="0">
                  <a:solidFill>
                    <a:srgbClr val="303D24"/>
                  </a:solidFill>
                  <a:ea typeface="+mn-ea"/>
                  <a:cs typeface="+mn-cs"/>
                  <a:sym typeface="MS London" panose="020B0503020203020204" pitchFamily="34" charset="0"/>
                </a:rPr>
                <a:t>conducted</a:t>
              </a:r>
              <a:r>
                <a:rPr lang="en-US" sz="1200" b="1" kern="1200" dirty="0">
                  <a:solidFill>
                    <a:srgbClr val="303D24"/>
                  </a:solidFill>
                  <a:ea typeface="+mn-ea"/>
                  <a:cs typeface="+mn-cs"/>
                  <a:sym typeface="MS London" panose="020B0503020203020204" pitchFamily="34" charset="0"/>
                </a:rPr>
                <a:t> </a:t>
              </a:r>
            </a:p>
          </p:txBody>
        </p:sp>
        <p:cxnSp>
          <p:nvCxnSpPr>
            <p:cNvPr id="23" name="Straight Connector 22">
              <a:extLst>
                <a:ext uri="{FF2B5EF4-FFF2-40B4-BE49-F238E27FC236}">
                  <a16:creationId xmlns:a16="http://schemas.microsoft.com/office/drawing/2014/main" id="{BC6B0E05-474D-4068-BE56-ADE366259587}"/>
                </a:ext>
              </a:extLst>
            </p:cNvPr>
            <p:cNvCxnSpPr>
              <a:cxnSpLocks/>
            </p:cNvCxnSpPr>
            <p:nvPr/>
          </p:nvCxnSpPr>
          <p:spPr>
            <a:xfrm>
              <a:off x="554734" y="1691660"/>
              <a:ext cx="11082528"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B4FF3120-3D86-4DF1-A2ED-40AD978C7022}"/>
              </a:ext>
            </a:extLst>
          </p:cNvPr>
          <p:cNvGrpSpPr/>
          <p:nvPr/>
        </p:nvGrpSpPr>
        <p:grpSpPr>
          <a:xfrm>
            <a:off x="1051380" y="1284920"/>
            <a:ext cx="888766" cy="248459"/>
            <a:chOff x="-510755" y="1172767"/>
            <a:chExt cx="11579210" cy="248860"/>
          </a:xfrm>
        </p:grpSpPr>
        <p:sp>
          <p:nvSpPr>
            <p:cNvPr id="25" name="TextBox 24">
              <a:extLst>
                <a:ext uri="{FF2B5EF4-FFF2-40B4-BE49-F238E27FC236}">
                  <a16:creationId xmlns:a16="http://schemas.microsoft.com/office/drawing/2014/main" id="{BE4B4AAA-EBF2-4936-9982-A4A7C170B8D5}"/>
                </a:ext>
              </a:extLst>
            </p:cNvPr>
            <p:cNvSpPr txBox="1">
              <a:spLocks/>
            </p:cNvSpPr>
            <p:nvPr/>
          </p:nvSpPr>
          <p:spPr>
            <a:xfrm>
              <a:off x="-14073" y="1172767"/>
              <a:ext cx="11082528" cy="218874"/>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300" b="1" kern="1200" dirty="0">
                  <a:solidFill>
                    <a:srgbClr val="303D24"/>
                  </a:solidFill>
                  <a:ea typeface="+mn-ea"/>
                  <a:cs typeface="+mn-cs"/>
                  <a:sym typeface="MS London" panose="020B0503020203020204" pitchFamily="34" charset="0"/>
                </a:rPr>
                <a:t>Trained</a:t>
              </a:r>
              <a:r>
                <a:rPr lang="en-US" sz="1200" b="1" kern="1200" dirty="0">
                  <a:solidFill>
                    <a:srgbClr val="303D24"/>
                  </a:solidFill>
                  <a:ea typeface="+mn-ea"/>
                  <a:cs typeface="+mn-cs"/>
                  <a:sym typeface="MS London" panose="020B0503020203020204" pitchFamily="34" charset="0"/>
                </a:rPr>
                <a:t> on</a:t>
              </a:r>
            </a:p>
          </p:txBody>
        </p:sp>
        <p:cxnSp>
          <p:nvCxnSpPr>
            <p:cNvPr id="26" name="Straight Connector 25">
              <a:extLst>
                <a:ext uri="{FF2B5EF4-FFF2-40B4-BE49-F238E27FC236}">
                  <a16:creationId xmlns:a16="http://schemas.microsoft.com/office/drawing/2014/main" id="{B9EC3A6E-E419-4072-A9A6-E763E06DBC53}"/>
                </a:ext>
              </a:extLst>
            </p:cNvPr>
            <p:cNvCxnSpPr>
              <a:cxnSpLocks/>
            </p:cNvCxnSpPr>
            <p:nvPr/>
          </p:nvCxnSpPr>
          <p:spPr>
            <a:xfrm>
              <a:off x="-510755" y="1421627"/>
              <a:ext cx="11082528"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7D0CFE46-7470-4BEA-A848-61856D89BCC3}"/>
              </a:ext>
            </a:extLst>
          </p:cNvPr>
          <p:cNvGrpSpPr/>
          <p:nvPr/>
        </p:nvGrpSpPr>
        <p:grpSpPr>
          <a:xfrm>
            <a:off x="2838841" y="1284920"/>
            <a:ext cx="1764846" cy="252793"/>
            <a:chOff x="187956" y="1426663"/>
            <a:chExt cx="14872769" cy="253201"/>
          </a:xfrm>
        </p:grpSpPr>
        <p:sp>
          <p:nvSpPr>
            <p:cNvPr id="28" name="TextBox 27">
              <a:extLst>
                <a:ext uri="{FF2B5EF4-FFF2-40B4-BE49-F238E27FC236}">
                  <a16:creationId xmlns:a16="http://schemas.microsoft.com/office/drawing/2014/main" id="{5904E8A8-1F3A-4280-9F2E-97A33444DB45}"/>
                </a:ext>
              </a:extLst>
            </p:cNvPr>
            <p:cNvSpPr txBox="1">
              <a:spLocks/>
            </p:cNvSpPr>
            <p:nvPr/>
          </p:nvSpPr>
          <p:spPr>
            <a:xfrm>
              <a:off x="187956" y="1426663"/>
              <a:ext cx="14872769" cy="218873"/>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300" b="1" kern="1200" dirty="0">
                  <a:solidFill>
                    <a:srgbClr val="303D24"/>
                  </a:solidFill>
                  <a:ea typeface="+mn-ea"/>
                  <a:cs typeface="+mn-cs"/>
                  <a:sym typeface="MS London" panose="020B0503020203020204" pitchFamily="34" charset="0"/>
                </a:rPr>
                <a:t>Personnel</a:t>
              </a:r>
              <a:r>
                <a:rPr lang="en-US" sz="1200" b="1" kern="1200" dirty="0">
                  <a:solidFill>
                    <a:srgbClr val="303D24"/>
                  </a:solidFill>
                  <a:ea typeface="+mn-ea"/>
                  <a:cs typeface="+mn-cs"/>
                  <a:sym typeface="MS London" panose="020B0503020203020204" pitchFamily="34" charset="0"/>
                </a:rPr>
                <a:t> Trained, </a:t>
              </a:r>
              <a:r>
                <a:rPr lang="en-US" sz="1200" kern="1200" dirty="0">
                  <a:solidFill>
                    <a:srgbClr val="808080"/>
                  </a:solidFill>
                  <a:ea typeface="+mn-ea"/>
                  <a:cs typeface="+mn-cs"/>
                  <a:sym typeface="MS London" panose="020B0503020203020204" pitchFamily="34" charset="0"/>
                </a:rPr>
                <a:t>#</a:t>
              </a:r>
            </a:p>
          </p:txBody>
        </p:sp>
        <p:cxnSp>
          <p:nvCxnSpPr>
            <p:cNvPr id="29" name="Straight Connector 28">
              <a:extLst>
                <a:ext uri="{FF2B5EF4-FFF2-40B4-BE49-F238E27FC236}">
                  <a16:creationId xmlns:a16="http://schemas.microsoft.com/office/drawing/2014/main" id="{1921470D-DE9C-4F2E-8735-5A7AC5DFBC93}"/>
                </a:ext>
              </a:extLst>
            </p:cNvPr>
            <p:cNvCxnSpPr>
              <a:cxnSpLocks/>
            </p:cNvCxnSpPr>
            <p:nvPr/>
          </p:nvCxnSpPr>
          <p:spPr>
            <a:xfrm>
              <a:off x="554734" y="1679864"/>
              <a:ext cx="11082528"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176B3BA8-AA41-4531-BD44-675B68014DDA}"/>
              </a:ext>
            </a:extLst>
          </p:cNvPr>
          <p:cNvGrpSpPr>
            <a:grpSpLocks/>
          </p:cNvGrpSpPr>
          <p:nvPr/>
        </p:nvGrpSpPr>
        <p:grpSpPr>
          <a:xfrm>
            <a:off x="7239172" y="951771"/>
            <a:ext cx="2540059" cy="229796"/>
            <a:chOff x="526468" y="1481453"/>
            <a:chExt cx="11110794" cy="180883"/>
          </a:xfrm>
        </p:grpSpPr>
        <p:sp>
          <p:nvSpPr>
            <p:cNvPr id="38" name="TextBox 37">
              <a:extLst>
                <a:ext uri="{FF2B5EF4-FFF2-40B4-BE49-F238E27FC236}">
                  <a16:creationId xmlns:a16="http://schemas.microsoft.com/office/drawing/2014/main" id="{04D5E063-F5AB-43B1-84FE-379BF496E0E6}"/>
                </a:ext>
              </a:extLst>
            </p:cNvPr>
            <p:cNvSpPr txBox="1">
              <a:spLocks/>
            </p:cNvSpPr>
            <p:nvPr/>
          </p:nvSpPr>
          <p:spPr>
            <a:xfrm>
              <a:off x="554734" y="1481453"/>
              <a:ext cx="11082528" cy="172008"/>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300" b="1" kern="1200" dirty="0">
                  <a:solidFill>
                    <a:srgbClr val="303D24"/>
                  </a:solidFill>
                  <a:ea typeface="+mn-ea"/>
                  <a:cs typeface="+mn-cs"/>
                  <a:sym typeface="MS London" panose="020B0503020203020204" pitchFamily="34" charset="0"/>
                </a:rPr>
                <a:t>         Lab and IPC Supplies</a:t>
              </a:r>
            </a:p>
          </p:txBody>
        </p:sp>
        <p:cxnSp>
          <p:nvCxnSpPr>
            <p:cNvPr id="39" name="Straight Connector 38">
              <a:extLst>
                <a:ext uri="{FF2B5EF4-FFF2-40B4-BE49-F238E27FC236}">
                  <a16:creationId xmlns:a16="http://schemas.microsoft.com/office/drawing/2014/main" id="{DDD34ECA-2FB5-41E3-975F-D215A85E3B14}"/>
                </a:ext>
              </a:extLst>
            </p:cNvPr>
            <p:cNvCxnSpPr>
              <a:cxnSpLocks/>
            </p:cNvCxnSpPr>
            <p:nvPr/>
          </p:nvCxnSpPr>
          <p:spPr>
            <a:xfrm>
              <a:off x="526468" y="1662336"/>
              <a:ext cx="11082528"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660ECBF3-6E80-4E91-A686-53DE1530EBDD}"/>
              </a:ext>
            </a:extLst>
          </p:cNvPr>
          <p:cNvGrpSpPr>
            <a:grpSpLocks/>
          </p:cNvGrpSpPr>
          <p:nvPr/>
        </p:nvGrpSpPr>
        <p:grpSpPr>
          <a:xfrm>
            <a:off x="7918193" y="1281321"/>
            <a:ext cx="1189170" cy="262676"/>
            <a:chOff x="-119899" y="1416764"/>
            <a:chExt cx="11082528" cy="263100"/>
          </a:xfrm>
        </p:grpSpPr>
        <p:sp>
          <p:nvSpPr>
            <p:cNvPr id="34" name="TextBox 33">
              <a:extLst>
                <a:ext uri="{FF2B5EF4-FFF2-40B4-BE49-F238E27FC236}">
                  <a16:creationId xmlns:a16="http://schemas.microsoft.com/office/drawing/2014/main" id="{AF4A4034-F274-4AD6-9B93-EF7C0DB96498}"/>
                </a:ext>
              </a:extLst>
            </p:cNvPr>
            <p:cNvSpPr txBox="1">
              <a:spLocks/>
            </p:cNvSpPr>
            <p:nvPr/>
          </p:nvSpPr>
          <p:spPr>
            <a:xfrm>
              <a:off x="-119899" y="1416764"/>
              <a:ext cx="11082528" cy="218874"/>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000" b="1" kern="1200" dirty="0">
                  <a:solidFill>
                    <a:srgbClr val="303D24"/>
                  </a:solidFill>
                  <a:ea typeface="+mn-ea"/>
                  <a:cs typeface="+mn-cs"/>
                  <a:sym typeface="MS London" panose="020B0503020203020204" pitchFamily="34" charset="0"/>
                </a:rPr>
                <a:t>    </a:t>
              </a:r>
              <a:r>
                <a:rPr lang="en-US" sz="1300" b="1" kern="1200" dirty="0">
                  <a:solidFill>
                    <a:srgbClr val="303D24"/>
                  </a:solidFill>
                  <a:ea typeface="+mn-ea"/>
                  <a:cs typeface="+mn-cs"/>
                  <a:sym typeface="MS London" panose="020B0503020203020204" pitchFamily="34" charset="0"/>
                </a:rPr>
                <a:t>Total</a:t>
              </a:r>
              <a:r>
                <a:rPr lang="en-US" sz="1200" b="1" kern="1200" dirty="0">
                  <a:solidFill>
                    <a:srgbClr val="303D24"/>
                  </a:solidFill>
                  <a:ea typeface="+mn-ea"/>
                  <a:cs typeface="+mn-cs"/>
                  <a:sym typeface="MS London" panose="020B0503020203020204" pitchFamily="34" charset="0"/>
                </a:rPr>
                <a:t>, </a:t>
              </a:r>
              <a:r>
                <a:rPr lang="en-US" sz="1200" kern="1200" dirty="0">
                  <a:solidFill>
                    <a:srgbClr val="808080"/>
                  </a:solidFill>
                  <a:ea typeface="+mn-ea"/>
                  <a:cs typeface="+mn-cs"/>
                  <a:sym typeface="MS London" panose="020B0503020203020204" pitchFamily="34" charset="0"/>
                </a:rPr>
                <a:t>#</a:t>
              </a:r>
            </a:p>
          </p:txBody>
        </p:sp>
        <p:cxnSp>
          <p:nvCxnSpPr>
            <p:cNvPr id="35" name="Straight Connector 34">
              <a:extLst>
                <a:ext uri="{FF2B5EF4-FFF2-40B4-BE49-F238E27FC236}">
                  <a16:creationId xmlns:a16="http://schemas.microsoft.com/office/drawing/2014/main" id="{9501F70A-3EF4-4799-BE12-8BC90161796A}"/>
                </a:ext>
              </a:extLst>
            </p:cNvPr>
            <p:cNvCxnSpPr>
              <a:cxnSpLocks/>
            </p:cNvCxnSpPr>
            <p:nvPr/>
          </p:nvCxnSpPr>
          <p:spPr>
            <a:xfrm flipV="1">
              <a:off x="554734" y="1678610"/>
              <a:ext cx="6595827" cy="1254"/>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FA99B64C-DEA6-4BF9-9F06-90DADE68AD83}"/>
              </a:ext>
            </a:extLst>
          </p:cNvPr>
          <p:cNvGrpSpPr>
            <a:grpSpLocks/>
          </p:cNvGrpSpPr>
          <p:nvPr/>
        </p:nvGrpSpPr>
        <p:grpSpPr>
          <a:xfrm>
            <a:off x="6481343" y="1301395"/>
            <a:ext cx="913980" cy="244881"/>
            <a:chOff x="554734" y="1434588"/>
            <a:chExt cx="11082528" cy="245276"/>
          </a:xfrm>
        </p:grpSpPr>
        <p:sp>
          <p:nvSpPr>
            <p:cNvPr id="36" name="TextBox 35">
              <a:extLst>
                <a:ext uri="{FF2B5EF4-FFF2-40B4-BE49-F238E27FC236}">
                  <a16:creationId xmlns:a16="http://schemas.microsoft.com/office/drawing/2014/main" id="{B1DEA10E-2546-4038-BAD8-3E7AC6CDBD54}"/>
                </a:ext>
              </a:extLst>
            </p:cNvPr>
            <p:cNvSpPr txBox="1">
              <a:spLocks/>
            </p:cNvSpPr>
            <p:nvPr/>
          </p:nvSpPr>
          <p:spPr>
            <a:xfrm>
              <a:off x="554734" y="1434588"/>
              <a:ext cx="11082528" cy="218873"/>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300" b="1" kern="1200" dirty="0">
                  <a:solidFill>
                    <a:srgbClr val="303D24"/>
                  </a:solidFill>
                  <a:ea typeface="+mn-ea"/>
                  <a:cs typeface="+mn-cs"/>
                  <a:sym typeface="MS London" panose="020B0503020203020204" pitchFamily="34" charset="0"/>
                </a:rPr>
                <a:t>       Item</a:t>
              </a:r>
            </a:p>
          </p:txBody>
        </p:sp>
        <p:cxnSp>
          <p:nvCxnSpPr>
            <p:cNvPr id="37" name="Straight Connector 36">
              <a:extLst>
                <a:ext uri="{FF2B5EF4-FFF2-40B4-BE49-F238E27FC236}">
                  <a16:creationId xmlns:a16="http://schemas.microsoft.com/office/drawing/2014/main" id="{2BC5308A-EC3C-432F-9975-DB3AD96B60FC}"/>
                </a:ext>
              </a:extLst>
            </p:cNvPr>
            <p:cNvCxnSpPr>
              <a:cxnSpLocks/>
            </p:cNvCxnSpPr>
            <p:nvPr/>
          </p:nvCxnSpPr>
          <p:spPr>
            <a:xfrm>
              <a:off x="554734" y="1679864"/>
              <a:ext cx="11082528"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45044E24-0C16-4F0E-AAE6-285A0AFC2174}"/>
              </a:ext>
            </a:extLst>
          </p:cNvPr>
          <p:cNvGrpSpPr>
            <a:grpSpLocks/>
          </p:cNvGrpSpPr>
          <p:nvPr/>
        </p:nvGrpSpPr>
        <p:grpSpPr>
          <a:xfrm>
            <a:off x="9758770" y="1114931"/>
            <a:ext cx="1364057" cy="415721"/>
            <a:chOff x="554734" y="1377760"/>
            <a:chExt cx="13665993" cy="372668"/>
          </a:xfrm>
        </p:grpSpPr>
        <p:sp>
          <p:nvSpPr>
            <p:cNvPr id="41" name="TextBox 40">
              <a:extLst>
                <a:ext uri="{FF2B5EF4-FFF2-40B4-BE49-F238E27FC236}">
                  <a16:creationId xmlns:a16="http://schemas.microsoft.com/office/drawing/2014/main" id="{996F6C21-8F42-4A46-8652-9E1265A3CC8F}"/>
                </a:ext>
              </a:extLst>
            </p:cNvPr>
            <p:cNvSpPr txBox="1">
              <a:spLocks/>
            </p:cNvSpPr>
            <p:nvPr/>
          </p:nvSpPr>
          <p:spPr>
            <a:xfrm>
              <a:off x="907177" y="1377760"/>
              <a:ext cx="13313537" cy="347636"/>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200" b="1" kern="1200" dirty="0">
                  <a:solidFill>
                    <a:srgbClr val="303D24"/>
                  </a:solidFill>
                  <a:ea typeface="+mn-ea"/>
                  <a:cs typeface="+mn-cs"/>
                  <a:sym typeface="MS London" panose="020B0503020203020204" pitchFamily="34" charset="0"/>
                </a:rPr>
                <a:t>New (last Week)</a:t>
              </a:r>
            </a:p>
          </p:txBody>
        </p:sp>
        <p:cxnSp>
          <p:nvCxnSpPr>
            <p:cNvPr id="42" name="Straight Connector 41">
              <a:extLst>
                <a:ext uri="{FF2B5EF4-FFF2-40B4-BE49-F238E27FC236}">
                  <a16:creationId xmlns:a16="http://schemas.microsoft.com/office/drawing/2014/main" id="{BD44DED4-02DD-4243-A6AC-CF312B4A22AE}"/>
                </a:ext>
              </a:extLst>
            </p:cNvPr>
            <p:cNvCxnSpPr>
              <a:cxnSpLocks/>
            </p:cNvCxnSpPr>
            <p:nvPr/>
          </p:nvCxnSpPr>
          <p:spPr>
            <a:xfrm>
              <a:off x="554734" y="1750428"/>
              <a:ext cx="13665993"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aphicFrame>
        <p:nvGraphicFramePr>
          <p:cNvPr id="162" name="Chart 161">
            <a:extLst>
              <a:ext uri="{FF2B5EF4-FFF2-40B4-BE49-F238E27FC236}">
                <a16:creationId xmlns:a16="http://schemas.microsoft.com/office/drawing/2014/main" id="{F43EF70D-A60C-4B20-98E7-5183589C8ABE}"/>
              </a:ext>
            </a:extLst>
          </p:cNvPr>
          <p:cNvGraphicFramePr/>
          <p:nvPr>
            <p:custDataLst>
              <p:tags r:id="rId4"/>
            </p:custDataLst>
            <p:extLst/>
          </p:nvPr>
        </p:nvGraphicFramePr>
        <p:xfrm>
          <a:off x="1846474" y="1536569"/>
          <a:ext cx="1902364" cy="4331636"/>
        </p:xfrm>
        <a:graphic>
          <a:graphicData uri="http://schemas.openxmlformats.org/drawingml/2006/chart">
            <c:chart xmlns:c="http://schemas.openxmlformats.org/drawingml/2006/chart" xmlns:r="http://schemas.openxmlformats.org/officeDocument/2006/relationships" r:id="rId53"/>
          </a:graphicData>
        </a:graphic>
      </p:graphicFrame>
      <p:sp>
        <p:nvSpPr>
          <p:cNvPr id="80" name="Text Placeholder 2">
            <a:extLst>
              <a:ext uri="{FF2B5EF4-FFF2-40B4-BE49-F238E27FC236}">
                <a16:creationId xmlns:a16="http://schemas.microsoft.com/office/drawing/2014/main" id="{5E9EEAA0-6F30-4AC7-85D4-6AE472F76AB6}"/>
              </a:ext>
            </a:extLst>
          </p:cNvPr>
          <p:cNvSpPr>
            <a:spLocks noGrp="1"/>
          </p:cNvSpPr>
          <p:nvPr>
            <p:custDataLst>
              <p:tags r:id="rId5"/>
            </p:custDataLst>
          </p:nvPr>
        </p:nvSpPr>
        <p:spPr bwMode="auto">
          <a:xfrm>
            <a:off x="1250118" y="3620072"/>
            <a:ext cx="5571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D7ED6614-6549-41DE-9701-8EBE432C63A3}" type="datetime'''''''''''''''''''''''''''''''I''''''''''''''''''P''''C'''''''">
              <a:rPr lang="en-US" altLang="en-US" sz="1200" kern="1200" smtClean="0">
                <a:solidFill>
                  <a:srgbClr val="000000"/>
                </a:solidFill>
              </a:rPr>
              <a:pPr>
                <a:buClr>
                  <a:srgbClr val="303D24"/>
                </a:buClr>
                <a:buFontTx/>
                <a:buNone/>
              </a:pPr>
              <a:t>IPC</a:t>
            </a:fld>
            <a:endParaRPr lang="en-US" sz="1200" kern="1200" dirty="0">
              <a:solidFill>
                <a:srgbClr val="000000"/>
              </a:solidFill>
              <a:sym typeface="+mn-lt"/>
            </a:endParaRPr>
          </a:p>
        </p:txBody>
      </p:sp>
      <p:sp>
        <p:nvSpPr>
          <p:cNvPr id="79" name="Text Placeholder 2">
            <a:extLst>
              <a:ext uri="{FF2B5EF4-FFF2-40B4-BE49-F238E27FC236}">
                <a16:creationId xmlns:a16="http://schemas.microsoft.com/office/drawing/2014/main" id="{AFD5AA18-6B98-4AC0-A613-95F1E5AED1B4}"/>
              </a:ext>
            </a:extLst>
          </p:cNvPr>
          <p:cNvSpPr>
            <a:spLocks noGrp="1"/>
          </p:cNvSpPr>
          <p:nvPr>
            <p:custDataLst>
              <p:tags r:id="rId6"/>
            </p:custDataLst>
          </p:nvPr>
        </p:nvSpPr>
        <p:spPr bwMode="auto">
          <a:xfrm>
            <a:off x="1024111" y="2943106"/>
            <a:ext cx="758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61E50C2F-9BDF-4C1A-BB5F-1B6F31DC295D}" type="datetime'''S''''u''rv''''''''''ei''l''l''''''''''an''''c''''''''''e'">
              <a:rPr lang="en-US" altLang="en-US" sz="1200" kern="1200" smtClean="0">
                <a:solidFill>
                  <a:srgbClr val="000000"/>
                </a:solidFill>
              </a:rPr>
              <a:pPr>
                <a:buClr>
                  <a:srgbClr val="303D24"/>
                </a:buClr>
                <a:buFontTx/>
                <a:buNone/>
              </a:pPr>
              <a:t>Surveillance</a:t>
            </a:fld>
            <a:r>
              <a:rPr lang="en-US" altLang="en-US" sz="1200" kern="1200" dirty="0">
                <a:solidFill>
                  <a:srgbClr val="000000"/>
                </a:solidFill>
              </a:rPr>
              <a:t>  </a:t>
            </a:r>
            <a:endParaRPr lang="en-US" sz="1200" kern="1200" dirty="0">
              <a:solidFill>
                <a:srgbClr val="000000"/>
              </a:solidFill>
              <a:sym typeface="+mn-lt"/>
            </a:endParaRPr>
          </a:p>
        </p:txBody>
      </p:sp>
      <p:sp>
        <p:nvSpPr>
          <p:cNvPr id="136" name="Text Placeholder 2">
            <a:extLst>
              <a:ext uri="{FF2B5EF4-FFF2-40B4-BE49-F238E27FC236}">
                <a16:creationId xmlns:a16="http://schemas.microsoft.com/office/drawing/2014/main" id="{8A84DC88-E484-4232-AA73-856AB917CE27}"/>
              </a:ext>
            </a:extLst>
          </p:cNvPr>
          <p:cNvSpPr>
            <a:spLocks noGrp="1"/>
          </p:cNvSpPr>
          <p:nvPr>
            <p:custDataLst>
              <p:tags r:id="rId7"/>
            </p:custDataLst>
          </p:nvPr>
        </p:nvSpPr>
        <p:spPr bwMode="gray">
          <a:xfrm>
            <a:off x="2095470" y="2889471"/>
            <a:ext cx="343299" cy="242759"/>
          </a:xfrm>
          <a:prstGeom prst="rect">
            <a:avLst/>
          </a:prstGeom>
          <a:solidFill>
            <a:schemeClr val="accent1"/>
          </a:solidFill>
          <a:ln>
            <a:noFill/>
          </a:ln>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buClr>
                <a:srgbClr val="303D24"/>
              </a:buClr>
              <a:buFontTx/>
              <a:buNone/>
            </a:pPr>
            <a:fld id="{14A00C6F-BB3F-4E3D-BFB8-1CD16D298346}" type="datetime'''2''''''1''''1'''''''''''''''''''''''''''''''''''''''''''">
              <a:rPr lang="en-US" altLang="en-US" sz="1200" kern="1200" smtClean="0">
                <a:solidFill>
                  <a:srgbClr val="000000"/>
                </a:solidFill>
                <a:sym typeface="+mn-lt"/>
              </a:rPr>
              <a:pPr algn="ctr">
                <a:buClr>
                  <a:srgbClr val="303D24"/>
                </a:buClr>
                <a:buFontTx/>
                <a:buNone/>
              </a:pPr>
              <a:t>211</a:t>
            </a:fld>
            <a:endParaRPr lang="en-US" sz="1200" kern="1200" dirty="0">
              <a:solidFill>
                <a:srgbClr val="000000"/>
              </a:solidFill>
              <a:sym typeface="+mn-lt"/>
            </a:endParaRPr>
          </a:p>
        </p:txBody>
      </p:sp>
      <p:sp>
        <p:nvSpPr>
          <p:cNvPr id="77" name="Text Placeholder 2">
            <a:extLst>
              <a:ext uri="{FF2B5EF4-FFF2-40B4-BE49-F238E27FC236}">
                <a16:creationId xmlns:a16="http://schemas.microsoft.com/office/drawing/2014/main" id="{AD93B73B-E940-43D0-9082-CE2BDD834DD0}"/>
              </a:ext>
            </a:extLst>
          </p:cNvPr>
          <p:cNvSpPr>
            <a:spLocks noGrp="1"/>
          </p:cNvSpPr>
          <p:nvPr>
            <p:custDataLst>
              <p:tags r:id="rId8"/>
            </p:custDataLst>
          </p:nvPr>
        </p:nvSpPr>
        <p:spPr bwMode="auto">
          <a:xfrm>
            <a:off x="1030429" y="1867781"/>
            <a:ext cx="892544" cy="30978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884C6E75-3C15-4D1F-BB12-96E777C8417B}" type="datetime'''L''a''''''b''''''''o''r''''a''t''''''o''''''''''''''ry'''">
              <a:rPr lang="en-US" altLang="en-US" sz="1200" kern="1200" smtClean="0">
                <a:solidFill>
                  <a:srgbClr val="000000"/>
                </a:solidFill>
              </a:rPr>
              <a:pPr>
                <a:buClr>
                  <a:srgbClr val="303D24"/>
                </a:buClr>
                <a:buFontTx/>
                <a:buNone/>
              </a:pPr>
              <a:t>Laboratory</a:t>
            </a:fld>
            <a:endParaRPr lang="en-US" sz="1200" kern="1200" dirty="0">
              <a:solidFill>
                <a:srgbClr val="000000"/>
              </a:solidFill>
              <a:sym typeface="+mn-lt"/>
            </a:endParaRPr>
          </a:p>
        </p:txBody>
      </p:sp>
      <p:sp>
        <p:nvSpPr>
          <p:cNvPr id="138" name="Text Placeholder 2">
            <a:extLst>
              <a:ext uri="{FF2B5EF4-FFF2-40B4-BE49-F238E27FC236}">
                <a16:creationId xmlns:a16="http://schemas.microsoft.com/office/drawing/2014/main" id="{A482CDB7-0D0E-4CB0-8523-025B4E51A3D1}"/>
              </a:ext>
            </a:extLst>
          </p:cNvPr>
          <p:cNvSpPr>
            <a:spLocks noGrp="1"/>
          </p:cNvSpPr>
          <p:nvPr>
            <p:custDataLst>
              <p:tags r:id="rId9"/>
            </p:custDataLst>
          </p:nvPr>
        </p:nvSpPr>
        <p:spPr bwMode="gray">
          <a:xfrm>
            <a:off x="2049346" y="3493226"/>
            <a:ext cx="357120" cy="193782"/>
          </a:xfrm>
          <a:prstGeom prst="rect">
            <a:avLst/>
          </a:prstGeom>
          <a:solidFill>
            <a:schemeClr val="accent1"/>
          </a:solidFill>
          <a:ln>
            <a:noFill/>
          </a:ln>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buClr>
                <a:srgbClr val="303D24"/>
              </a:buClr>
              <a:buFontTx/>
              <a:buNone/>
            </a:pPr>
            <a:r>
              <a:rPr lang="en-US" sz="1200" kern="1200" dirty="0">
                <a:solidFill>
                  <a:srgbClr val="000000"/>
                </a:solidFill>
                <a:sym typeface="+mn-lt"/>
              </a:rPr>
              <a:t>887</a:t>
            </a:r>
          </a:p>
        </p:txBody>
      </p:sp>
      <p:sp>
        <p:nvSpPr>
          <p:cNvPr id="96" name="Text Placeholder 2">
            <a:extLst>
              <a:ext uri="{FF2B5EF4-FFF2-40B4-BE49-F238E27FC236}">
                <a16:creationId xmlns:a16="http://schemas.microsoft.com/office/drawing/2014/main" id="{90C968E2-F234-4459-8EC7-7C425B7CD099}"/>
              </a:ext>
            </a:extLst>
          </p:cNvPr>
          <p:cNvSpPr>
            <a:spLocks noGrp="1"/>
          </p:cNvSpPr>
          <p:nvPr>
            <p:custDataLst>
              <p:tags r:id="rId10"/>
            </p:custDataLst>
          </p:nvPr>
        </p:nvSpPr>
        <p:spPr bwMode="auto">
          <a:xfrm>
            <a:off x="973026" y="4250973"/>
            <a:ext cx="657225" cy="25130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DD4A1F1D-150E-4D38-B1E1-04F4C3AC60AB}" type="datetime'Ris''''''''k C''''''''''''''''o''m''''''''''''''''''m'''">
              <a:rPr lang="en-US" altLang="en-US" sz="1200" kern="1200" smtClean="0">
                <a:solidFill>
                  <a:srgbClr val="000000"/>
                </a:solidFill>
              </a:rPr>
              <a:pPr>
                <a:buClr>
                  <a:srgbClr val="303D24"/>
                </a:buClr>
                <a:buFontTx/>
                <a:buNone/>
              </a:pPr>
              <a:t>Risk Comm</a:t>
            </a:fld>
            <a:endParaRPr lang="en-US" sz="1200" kern="1200" dirty="0">
              <a:solidFill>
                <a:srgbClr val="000000"/>
              </a:solidFill>
              <a:sym typeface="+mn-lt"/>
            </a:endParaRPr>
          </a:p>
        </p:txBody>
      </p:sp>
      <p:sp>
        <p:nvSpPr>
          <p:cNvPr id="140" name="Text Placeholder 2">
            <a:extLst>
              <a:ext uri="{FF2B5EF4-FFF2-40B4-BE49-F238E27FC236}">
                <a16:creationId xmlns:a16="http://schemas.microsoft.com/office/drawing/2014/main" id="{13D67EAA-2D9A-455F-90BA-F16D151699DB}"/>
              </a:ext>
            </a:extLst>
          </p:cNvPr>
          <p:cNvSpPr>
            <a:spLocks noGrp="1"/>
          </p:cNvSpPr>
          <p:nvPr>
            <p:custDataLst>
              <p:tags r:id="rId11"/>
            </p:custDataLst>
          </p:nvPr>
        </p:nvSpPr>
        <p:spPr bwMode="gray">
          <a:xfrm>
            <a:off x="2128074" y="4241786"/>
            <a:ext cx="244463" cy="221154"/>
          </a:xfrm>
          <a:prstGeom prst="rect">
            <a:avLst/>
          </a:prstGeom>
          <a:solidFill>
            <a:schemeClr val="accent1"/>
          </a:solidFill>
          <a:ln>
            <a:noFill/>
          </a:ln>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buClr>
                <a:srgbClr val="303D24"/>
              </a:buClr>
              <a:buFontTx/>
              <a:buNone/>
            </a:pPr>
            <a:r>
              <a:rPr lang="en-US" sz="1200" kern="1200" dirty="0">
                <a:solidFill>
                  <a:srgbClr val="000000"/>
                </a:solidFill>
                <a:sym typeface="+mn-lt"/>
              </a:rPr>
              <a:t>107</a:t>
            </a:r>
          </a:p>
        </p:txBody>
      </p:sp>
      <p:sp>
        <p:nvSpPr>
          <p:cNvPr id="97" name="Text Placeholder 2">
            <a:extLst>
              <a:ext uri="{FF2B5EF4-FFF2-40B4-BE49-F238E27FC236}">
                <a16:creationId xmlns:a16="http://schemas.microsoft.com/office/drawing/2014/main" id="{59C1A894-7FC8-4412-B963-E9C9A51D9BEF}"/>
              </a:ext>
            </a:extLst>
          </p:cNvPr>
          <p:cNvSpPr>
            <a:spLocks noGrp="1"/>
          </p:cNvSpPr>
          <p:nvPr>
            <p:custDataLst>
              <p:tags r:id="rId12"/>
            </p:custDataLst>
          </p:nvPr>
        </p:nvSpPr>
        <p:spPr bwMode="auto">
          <a:xfrm>
            <a:off x="913594" y="5013149"/>
            <a:ext cx="771525"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kern="1200" dirty="0">
                <a:solidFill>
                  <a:srgbClr val="000000"/>
                </a:solidFill>
              </a:rPr>
              <a:t>Case </a:t>
            </a:r>
            <a:br>
              <a:rPr lang="en-US" altLang="en-US" sz="1000" kern="1200" dirty="0">
                <a:solidFill>
                  <a:srgbClr val="000000"/>
                </a:solidFill>
              </a:rPr>
            </a:br>
            <a:r>
              <a:rPr lang="en-US" altLang="en-US" sz="1200" kern="1200" dirty="0">
                <a:solidFill>
                  <a:srgbClr val="000000"/>
                </a:solidFill>
              </a:rPr>
              <a:t>Management</a:t>
            </a:r>
            <a:r>
              <a:rPr lang="en-US" altLang="en-US" sz="1000" kern="1200" dirty="0">
                <a:solidFill>
                  <a:srgbClr val="000000"/>
                </a:solidFill>
              </a:rPr>
              <a:t> </a:t>
            </a:r>
            <a:endParaRPr lang="en-US" sz="1000" kern="1200" dirty="0">
              <a:solidFill>
                <a:srgbClr val="000000"/>
              </a:solidFill>
              <a:sym typeface="+mn-lt"/>
            </a:endParaRPr>
          </a:p>
        </p:txBody>
      </p:sp>
      <p:sp>
        <p:nvSpPr>
          <p:cNvPr id="83" name="Text Placeholder 2">
            <a:extLst>
              <a:ext uri="{FF2B5EF4-FFF2-40B4-BE49-F238E27FC236}">
                <a16:creationId xmlns:a16="http://schemas.microsoft.com/office/drawing/2014/main" id="{5378A050-180C-4CA8-905C-9A530E3FD473}"/>
              </a:ext>
            </a:extLst>
          </p:cNvPr>
          <p:cNvSpPr>
            <a:spLocks noGrp="1"/>
          </p:cNvSpPr>
          <p:nvPr>
            <p:custDataLst>
              <p:tags r:id="rId13"/>
            </p:custDataLst>
          </p:nvPr>
        </p:nvSpPr>
        <p:spPr bwMode="auto">
          <a:xfrm>
            <a:off x="4433031" y="1929632"/>
            <a:ext cx="7905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3FC3E220-1C4A-4975-980B-CFB24366E05B}" type="datetime'I''n'' ''''''''pe''''''''rs''''on'' t''''''ra''''i''''ni''ng'">
              <a:rPr lang="en-US" altLang="en-US" sz="1200" kern="1200" smtClean="0">
                <a:solidFill>
                  <a:srgbClr val="000000"/>
                </a:solidFill>
                <a:sym typeface="+mn-lt"/>
              </a:rPr>
              <a:pPr>
                <a:buClr>
                  <a:srgbClr val="303D24"/>
                </a:buClr>
                <a:buFontTx/>
                <a:buNone/>
              </a:pPr>
              <a:t>In person training</a:t>
            </a:fld>
            <a:endParaRPr lang="en-US" sz="1200" kern="1200" dirty="0">
              <a:solidFill>
                <a:srgbClr val="000000"/>
              </a:solidFill>
              <a:sym typeface="+mn-lt"/>
            </a:endParaRPr>
          </a:p>
        </p:txBody>
      </p:sp>
      <p:sp>
        <p:nvSpPr>
          <p:cNvPr id="82" name="Text Placeholder 2">
            <a:extLst>
              <a:ext uri="{FF2B5EF4-FFF2-40B4-BE49-F238E27FC236}">
                <a16:creationId xmlns:a16="http://schemas.microsoft.com/office/drawing/2014/main" id="{C03D0A30-4F69-4C2F-A470-708B4643625D}"/>
              </a:ext>
            </a:extLst>
          </p:cNvPr>
          <p:cNvSpPr>
            <a:spLocks noGrp="1"/>
          </p:cNvSpPr>
          <p:nvPr>
            <p:custDataLst>
              <p:tags r:id="rId14"/>
            </p:custDataLst>
          </p:nvPr>
        </p:nvSpPr>
        <p:spPr bwMode="auto">
          <a:xfrm>
            <a:off x="4441472" y="2252252"/>
            <a:ext cx="464919" cy="19089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24B1E1D4-F198-489C-94B5-5DDE67E1EE01}" type="datetime'''''''''''''''''''''''''''We''''b''i''''''na''''''''r'''''''">
              <a:rPr lang="en-US" altLang="en-US" sz="1200" kern="1200" smtClean="0">
                <a:solidFill>
                  <a:srgbClr val="000000"/>
                </a:solidFill>
              </a:rPr>
              <a:pPr>
                <a:buClr>
                  <a:srgbClr val="303D24"/>
                </a:buClr>
                <a:buFontTx/>
                <a:buNone/>
              </a:pPr>
              <a:t>Webinar</a:t>
            </a:fld>
            <a:endParaRPr lang="en-US" sz="1200" kern="1200" dirty="0">
              <a:solidFill>
                <a:srgbClr val="000000"/>
              </a:solidFill>
              <a:sym typeface="+mn-lt"/>
            </a:endParaRPr>
          </a:p>
        </p:txBody>
      </p:sp>
      <p:sp>
        <p:nvSpPr>
          <p:cNvPr id="170" name="Text Placeholder 2">
            <a:extLst>
              <a:ext uri="{FF2B5EF4-FFF2-40B4-BE49-F238E27FC236}">
                <a16:creationId xmlns:a16="http://schemas.microsoft.com/office/drawing/2014/main" id="{D6113D0E-917D-40FF-A427-E955DF070F96}"/>
              </a:ext>
            </a:extLst>
          </p:cNvPr>
          <p:cNvSpPr>
            <a:spLocks noGrp="1"/>
          </p:cNvSpPr>
          <p:nvPr>
            <p:custDataLst>
              <p:tags r:id="rId15"/>
            </p:custDataLst>
          </p:nvPr>
        </p:nvSpPr>
        <p:spPr bwMode="auto">
          <a:xfrm>
            <a:off x="6549065" y="2764775"/>
            <a:ext cx="1645919" cy="32177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kern="1200" dirty="0">
                <a:solidFill>
                  <a:srgbClr val="000000"/>
                </a:solidFill>
              </a:rPr>
              <a:t>Genome sequencing</a:t>
            </a:r>
          </a:p>
          <a:p>
            <a:pPr>
              <a:buClr>
                <a:srgbClr val="303D24"/>
              </a:buClr>
              <a:buFontTx/>
              <a:buNone/>
            </a:pPr>
            <a:r>
              <a:rPr lang="en-US" sz="1200" kern="1200" dirty="0">
                <a:solidFill>
                  <a:srgbClr val="000000"/>
                </a:solidFill>
                <a:sym typeface="+mn-lt"/>
              </a:rPr>
              <a:t>Equipment </a:t>
            </a:r>
          </a:p>
        </p:txBody>
      </p:sp>
      <p:sp>
        <p:nvSpPr>
          <p:cNvPr id="169" name="Text Placeholder 2">
            <a:extLst>
              <a:ext uri="{FF2B5EF4-FFF2-40B4-BE49-F238E27FC236}">
                <a16:creationId xmlns:a16="http://schemas.microsoft.com/office/drawing/2014/main" id="{297A5528-8E79-4292-AB97-3B82B46F5FC4}"/>
              </a:ext>
            </a:extLst>
          </p:cNvPr>
          <p:cNvSpPr>
            <a:spLocks noGrp="1"/>
          </p:cNvSpPr>
          <p:nvPr>
            <p:custDataLst>
              <p:tags r:id="rId16"/>
            </p:custDataLst>
          </p:nvPr>
        </p:nvSpPr>
        <p:spPr bwMode="auto">
          <a:xfrm>
            <a:off x="6628420" y="1737303"/>
            <a:ext cx="1110576" cy="29895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r">
              <a:buClr>
                <a:srgbClr val="303D24"/>
              </a:buClr>
              <a:buFontTx/>
              <a:buNone/>
            </a:pPr>
            <a:r>
              <a:rPr lang="en-US" sz="1200" kern="1200" dirty="0">
                <a:solidFill>
                  <a:srgbClr val="000000"/>
                </a:solidFill>
                <a:sym typeface="+mn-lt"/>
              </a:rPr>
              <a:t>    Laboratory tests</a:t>
            </a:r>
          </a:p>
        </p:txBody>
      </p:sp>
      <p:sp>
        <p:nvSpPr>
          <p:cNvPr id="182" name="Text Placeholder 2">
            <a:extLst>
              <a:ext uri="{FF2B5EF4-FFF2-40B4-BE49-F238E27FC236}">
                <a16:creationId xmlns:a16="http://schemas.microsoft.com/office/drawing/2014/main" id="{280CAE1A-DF4F-4E47-99A7-C7E636AE9D54}"/>
              </a:ext>
            </a:extLst>
          </p:cNvPr>
          <p:cNvSpPr>
            <a:spLocks noGrp="1"/>
          </p:cNvSpPr>
          <p:nvPr>
            <p:custDataLst>
              <p:tags r:id="rId17"/>
            </p:custDataLst>
          </p:nvPr>
        </p:nvSpPr>
        <p:spPr bwMode="auto">
          <a:xfrm>
            <a:off x="7419577" y="4879513"/>
            <a:ext cx="533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FC4D3581-9C3B-42AF-9F18-8506D8B90DC7}" type="datetime'''''Ve''''''n''t''''''''''''il''a''''''''t''''or'''''''''">
              <a:rPr lang="en-US" altLang="en-US" sz="1200" kern="1200" smtClean="0">
                <a:solidFill>
                  <a:srgbClr val="000000"/>
                </a:solidFill>
              </a:rPr>
              <a:pPr>
                <a:buClr>
                  <a:srgbClr val="303D24"/>
                </a:buClr>
                <a:buFontTx/>
                <a:buNone/>
              </a:pPr>
              <a:t>Ventilator</a:t>
            </a:fld>
            <a:endParaRPr lang="en-US" sz="1200" kern="1200" dirty="0">
              <a:solidFill>
                <a:srgbClr val="000000"/>
              </a:solidFill>
              <a:sym typeface="+mn-lt"/>
            </a:endParaRPr>
          </a:p>
        </p:txBody>
      </p:sp>
      <p:sp>
        <p:nvSpPr>
          <p:cNvPr id="167" name="Text Placeholder 2">
            <a:extLst>
              <a:ext uri="{FF2B5EF4-FFF2-40B4-BE49-F238E27FC236}">
                <a16:creationId xmlns:a16="http://schemas.microsoft.com/office/drawing/2014/main" id="{B9C68756-4B60-4915-B722-47334477B5C2}"/>
              </a:ext>
            </a:extLst>
          </p:cNvPr>
          <p:cNvSpPr>
            <a:spLocks noGrp="1"/>
          </p:cNvSpPr>
          <p:nvPr>
            <p:custDataLst>
              <p:tags r:id="rId18"/>
            </p:custDataLst>
          </p:nvPr>
        </p:nvSpPr>
        <p:spPr bwMode="auto">
          <a:xfrm>
            <a:off x="6812466" y="2248434"/>
            <a:ext cx="1317708" cy="28516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kern="1200" dirty="0">
                <a:solidFill>
                  <a:srgbClr val="000000"/>
                </a:solidFill>
              </a:rPr>
              <a:t>Mask of </a:t>
            </a:r>
            <a:br>
              <a:rPr lang="en-US" altLang="en-US" sz="1200" kern="1200" dirty="0">
                <a:solidFill>
                  <a:srgbClr val="000000"/>
                </a:solidFill>
              </a:rPr>
            </a:br>
            <a:r>
              <a:rPr lang="en-US" altLang="en-US" sz="1200" kern="1200" dirty="0">
                <a:solidFill>
                  <a:srgbClr val="000000"/>
                </a:solidFill>
              </a:rPr>
              <a:t>Different Types  </a:t>
            </a:r>
            <a:endParaRPr lang="en-US" sz="1200" kern="1200" dirty="0">
              <a:solidFill>
                <a:srgbClr val="000000"/>
              </a:solidFill>
              <a:sym typeface="+mn-lt"/>
            </a:endParaRPr>
          </a:p>
        </p:txBody>
      </p:sp>
      <p:sp>
        <p:nvSpPr>
          <p:cNvPr id="172" name="Text Placeholder 2">
            <a:extLst>
              <a:ext uri="{FF2B5EF4-FFF2-40B4-BE49-F238E27FC236}">
                <a16:creationId xmlns:a16="http://schemas.microsoft.com/office/drawing/2014/main" id="{9F949BE5-4D5D-437A-AD63-CD1362DE860B}"/>
              </a:ext>
            </a:extLst>
          </p:cNvPr>
          <p:cNvSpPr>
            <a:spLocks noGrp="1"/>
          </p:cNvSpPr>
          <p:nvPr>
            <p:custDataLst>
              <p:tags r:id="rId19"/>
            </p:custDataLst>
          </p:nvPr>
        </p:nvSpPr>
        <p:spPr bwMode="auto">
          <a:xfrm>
            <a:off x="7008452" y="3282192"/>
            <a:ext cx="857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A516D9B9-56B1-468B-8209-BB7D16453197}" type="datetime'''Prote''''''''''c''t''i''''ve ''s''''''ui''''''t''''s'''''">
              <a:rPr lang="en-US" altLang="en-US" sz="1200" kern="1200" smtClean="0">
                <a:solidFill>
                  <a:srgbClr val="000000"/>
                </a:solidFill>
              </a:rPr>
              <a:pPr>
                <a:buClr>
                  <a:srgbClr val="303D24"/>
                </a:buClr>
                <a:buFontTx/>
                <a:buNone/>
              </a:pPr>
              <a:t>Protective suits</a:t>
            </a:fld>
            <a:endParaRPr lang="en-US" sz="1200" kern="1200" dirty="0">
              <a:solidFill>
                <a:srgbClr val="000000"/>
              </a:solidFill>
              <a:sym typeface="+mn-lt"/>
            </a:endParaRPr>
          </a:p>
        </p:txBody>
      </p:sp>
      <p:sp>
        <p:nvSpPr>
          <p:cNvPr id="208" name="Text Placeholder 2">
            <a:extLst>
              <a:ext uri="{FF2B5EF4-FFF2-40B4-BE49-F238E27FC236}">
                <a16:creationId xmlns:a16="http://schemas.microsoft.com/office/drawing/2014/main" id="{F68EB685-49EE-468C-B982-DCD773177019}"/>
              </a:ext>
            </a:extLst>
          </p:cNvPr>
          <p:cNvSpPr>
            <a:spLocks noGrp="1"/>
          </p:cNvSpPr>
          <p:nvPr>
            <p:custDataLst>
              <p:tags r:id="rId20"/>
            </p:custDataLst>
          </p:nvPr>
        </p:nvSpPr>
        <p:spPr bwMode="gray">
          <a:xfrm>
            <a:off x="8561403" y="4406687"/>
            <a:ext cx="349250" cy="2495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kern="1200" dirty="0">
                <a:solidFill>
                  <a:srgbClr val="000000"/>
                </a:solidFill>
                <a:sym typeface="+mn-lt"/>
              </a:rPr>
              <a:t>3,553</a:t>
            </a:r>
            <a:endParaRPr lang="en-US" sz="1200" kern="1200" dirty="0">
              <a:solidFill>
                <a:srgbClr val="000000"/>
              </a:solidFill>
              <a:sym typeface="+mn-lt"/>
            </a:endParaRPr>
          </a:p>
        </p:txBody>
      </p:sp>
      <p:sp>
        <p:nvSpPr>
          <p:cNvPr id="171" name="Text Placeholder 2">
            <a:extLst>
              <a:ext uri="{FF2B5EF4-FFF2-40B4-BE49-F238E27FC236}">
                <a16:creationId xmlns:a16="http://schemas.microsoft.com/office/drawing/2014/main" id="{D01E6510-543A-46B9-BEC1-E16654CD655E}"/>
              </a:ext>
            </a:extLst>
          </p:cNvPr>
          <p:cNvSpPr>
            <a:spLocks noGrp="1"/>
          </p:cNvSpPr>
          <p:nvPr>
            <p:custDataLst>
              <p:tags r:id="rId21"/>
            </p:custDataLst>
          </p:nvPr>
        </p:nvSpPr>
        <p:spPr bwMode="auto">
          <a:xfrm>
            <a:off x="2895600" y="3532466"/>
            <a:ext cx="469900" cy="17180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180" name="Text Placeholder 2">
            <a:extLst>
              <a:ext uri="{FF2B5EF4-FFF2-40B4-BE49-F238E27FC236}">
                <a16:creationId xmlns:a16="http://schemas.microsoft.com/office/drawing/2014/main" id="{68F44519-EF47-4826-8ACF-4B47BF15CEE3}"/>
              </a:ext>
            </a:extLst>
          </p:cNvPr>
          <p:cNvSpPr>
            <a:spLocks noGrp="1"/>
          </p:cNvSpPr>
          <p:nvPr>
            <p:custDataLst>
              <p:tags r:id="rId22"/>
            </p:custDataLst>
          </p:nvPr>
        </p:nvSpPr>
        <p:spPr bwMode="auto">
          <a:xfrm>
            <a:off x="6994067" y="3992007"/>
            <a:ext cx="1189751" cy="29051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kern="1200" dirty="0">
                <a:solidFill>
                  <a:srgbClr val="000000"/>
                </a:solidFill>
              </a:rPr>
              <a:t>Thermo-scanner</a:t>
            </a:r>
            <a:endParaRPr lang="en-US" sz="1200" kern="1200" dirty="0">
              <a:solidFill>
                <a:srgbClr val="000000"/>
              </a:solidFill>
              <a:sym typeface="+mn-lt"/>
            </a:endParaRPr>
          </a:p>
        </p:txBody>
      </p:sp>
      <p:sp>
        <p:nvSpPr>
          <p:cNvPr id="181" name="Text Placeholder 2">
            <a:extLst>
              <a:ext uri="{FF2B5EF4-FFF2-40B4-BE49-F238E27FC236}">
                <a16:creationId xmlns:a16="http://schemas.microsoft.com/office/drawing/2014/main" id="{A7CCF166-65B5-405A-BE00-6895976FF45C}"/>
              </a:ext>
            </a:extLst>
          </p:cNvPr>
          <p:cNvSpPr>
            <a:spLocks noGrp="1"/>
          </p:cNvSpPr>
          <p:nvPr>
            <p:custDataLst>
              <p:tags r:id="rId23"/>
            </p:custDataLst>
          </p:nvPr>
        </p:nvSpPr>
        <p:spPr bwMode="auto">
          <a:xfrm>
            <a:off x="6628420" y="4450752"/>
            <a:ext cx="1391737" cy="27739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kern="1200" dirty="0">
                <a:solidFill>
                  <a:srgbClr val="000000"/>
                </a:solidFill>
              </a:rPr>
              <a:t>Infrared</a:t>
            </a:r>
            <a:r>
              <a:rPr lang="en-US" altLang="en-US" sz="1000" kern="1200" dirty="0">
                <a:solidFill>
                  <a:srgbClr val="000000"/>
                </a:solidFill>
              </a:rPr>
              <a:t> </a:t>
            </a:r>
            <a:r>
              <a:rPr lang="en-US" altLang="en-US" sz="1200" kern="1200" dirty="0">
                <a:solidFill>
                  <a:srgbClr val="000000"/>
                </a:solidFill>
              </a:rPr>
              <a:t>Thermometer</a:t>
            </a:r>
            <a:endParaRPr lang="en-US" sz="1200" kern="1200" dirty="0">
              <a:solidFill>
                <a:srgbClr val="000000"/>
              </a:solidFill>
              <a:sym typeface="+mn-lt"/>
            </a:endParaRPr>
          </a:p>
        </p:txBody>
      </p:sp>
      <p:sp>
        <p:nvSpPr>
          <p:cNvPr id="209" name="Text Placeholder 2">
            <a:extLst>
              <a:ext uri="{FF2B5EF4-FFF2-40B4-BE49-F238E27FC236}">
                <a16:creationId xmlns:a16="http://schemas.microsoft.com/office/drawing/2014/main" id="{297CBE7A-1945-4062-8834-CAE4D45701DC}"/>
              </a:ext>
            </a:extLst>
          </p:cNvPr>
          <p:cNvSpPr>
            <a:spLocks noGrp="1"/>
          </p:cNvSpPr>
          <p:nvPr>
            <p:custDataLst>
              <p:tags r:id="rId24"/>
            </p:custDataLst>
          </p:nvPr>
        </p:nvSpPr>
        <p:spPr bwMode="gray">
          <a:xfrm>
            <a:off x="8576085" y="488179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fld id="{E3FB5623-5753-480A-A597-BC1DE1518806}" type="datetime'''''''''''''6''''''3''''''''6'''''''''''''''">
              <a:rPr lang="en-US" altLang="en-US" sz="1200" kern="1200" smtClean="0">
                <a:solidFill>
                  <a:srgbClr val="000000"/>
                </a:solidFill>
                <a:sym typeface="+mn-lt"/>
              </a:rPr>
              <a:pPr>
                <a:buClr>
                  <a:srgbClr val="303D24"/>
                </a:buClr>
                <a:buFontTx/>
                <a:buNone/>
              </a:pPr>
              <a:t>636</a:t>
            </a:fld>
            <a:endParaRPr lang="en-US" sz="1200" kern="1200" dirty="0">
              <a:solidFill>
                <a:srgbClr val="000000"/>
              </a:solidFill>
              <a:sym typeface="+mn-lt"/>
            </a:endParaRPr>
          </a:p>
        </p:txBody>
      </p:sp>
      <p:sp>
        <p:nvSpPr>
          <p:cNvPr id="206" name="Text Placeholder 2">
            <a:extLst>
              <a:ext uri="{FF2B5EF4-FFF2-40B4-BE49-F238E27FC236}">
                <a16:creationId xmlns:a16="http://schemas.microsoft.com/office/drawing/2014/main" id="{D5E3875F-7C43-4D93-A76E-39FEFB0B4D8E}"/>
              </a:ext>
            </a:extLst>
          </p:cNvPr>
          <p:cNvSpPr>
            <a:spLocks noGrp="1"/>
          </p:cNvSpPr>
          <p:nvPr>
            <p:custDataLst>
              <p:tags r:id="rId25"/>
            </p:custDataLst>
          </p:nvPr>
        </p:nvSpPr>
        <p:spPr bwMode="gray">
          <a:xfrm>
            <a:off x="3665095" y="3564793"/>
            <a:ext cx="307804" cy="928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07" name="Text Placeholder 2">
            <a:extLst>
              <a:ext uri="{FF2B5EF4-FFF2-40B4-BE49-F238E27FC236}">
                <a16:creationId xmlns:a16="http://schemas.microsoft.com/office/drawing/2014/main" id="{E2A01F34-CD28-4796-BAB2-FD0EDDA021FB}"/>
              </a:ext>
            </a:extLst>
          </p:cNvPr>
          <p:cNvSpPr>
            <a:spLocks noGrp="1"/>
          </p:cNvSpPr>
          <p:nvPr>
            <p:custDataLst>
              <p:tags r:id="rId26"/>
            </p:custDataLst>
          </p:nvPr>
        </p:nvSpPr>
        <p:spPr bwMode="gray">
          <a:xfrm>
            <a:off x="8361947" y="4089386"/>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sz="1200" kern="1200" dirty="0">
                <a:solidFill>
                  <a:srgbClr val="000000"/>
                </a:solidFill>
                <a:sym typeface="+mn-lt"/>
              </a:rPr>
              <a:t>395</a:t>
            </a:r>
          </a:p>
        </p:txBody>
      </p:sp>
      <p:sp>
        <p:nvSpPr>
          <p:cNvPr id="219" name="Oval 218">
            <a:extLst>
              <a:ext uri="{FF2B5EF4-FFF2-40B4-BE49-F238E27FC236}">
                <a16:creationId xmlns:a16="http://schemas.microsoft.com/office/drawing/2014/main" id="{64415DC6-9B93-43FE-B8E5-13855D84DA2C}"/>
              </a:ext>
            </a:extLst>
          </p:cNvPr>
          <p:cNvSpPr>
            <a:spLocks/>
          </p:cNvSpPr>
          <p:nvPr/>
        </p:nvSpPr>
        <p:spPr>
          <a:xfrm>
            <a:off x="9833700" y="1621834"/>
            <a:ext cx="764412" cy="361275"/>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r>
              <a:rPr lang="en-US" sz="1200" kern="1200" dirty="0">
                <a:solidFill>
                  <a:srgbClr val="000000"/>
                </a:solidFill>
              </a:rPr>
              <a:t>         539,290        </a:t>
            </a:r>
          </a:p>
        </p:txBody>
      </p:sp>
      <p:sp>
        <p:nvSpPr>
          <p:cNvPr id="268" name="Text Placeholder 2">
            <a:extLst>
              <a:ext uri="{FF2B5EF4-FFF2-40B4-BE49-F238E27FC236}">
                <a16:creationId xmlns:a16="http://schemas.microsoft.com/office/drawing/2014/main" id="{E3C10B27-E631-43FF-962B-F9B623A93D6D}"/>
              </a:ext>
            </a:extLst>
          </p:cNvPr>
          <p:cNvSpPr>
            <a:spLocks noGrp="1"/>
          </p:cNvSpPr>
          <p:nvPr>
            <p:custDataLst>
              <p:tags r:id="rId27"/>
            </p:custDataLst>
          </p:nvPr>
        </p:nvSpPr>
        <p:spPr bwMode="auto">
          <a:xfrm>
            <a:off x="9581149" y="5428923"/>
            <a:ext cx="541042" cy="20526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59" name="Text Placeholder 2">
            <a:extLst>
              <a:ext uri="{FF2B5EF4-FFF2-40B4-BE49-F238E27FC236}">
                <a16:creationId xmlns:a16="http://schemas.microsoft.com/office/drawing/2014/main" id="{F10AF27A-7F74-4628-AC35-F76829B774B4}"/>
              </a:ext>
            </a:extLst>
          </p:cNvPr>
          <p:cNvSpPr>
            <a:spLocks noGrp="1"/>
          </p:cNvSpPr>
          <p:nvPr>
            <p:custDataLst>
              <p:tags r:id="rId28"/>
            </p:custDataLst>
          </p:nvPr>
        </p:nvSpPr>
        <p:spPr bwMode="auto">
          <a:xfrm>
            <a:off x="9558338" y="2851705"/>
            <a:ext cx="590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9" name="Text Placeholder 2">
            <a:extLst>
              <a:ext uri="{FF2B5EF4-FFF2-40B4-BE49-F238E27FC236}">
                <a16:creationId xmlns:a16="http://schemas.microsoft.com/office/drawing/2014/main" id="{B5985ED9-8E80-4966-8228-433ED2A36C43}"/>
              </a:ext>
            </a:extLst>
          </p:cNvPr>
          <p:cNvSpPr>
            <a:spLocks noGrp="1"/>
          </p:cNvSpPr>
          <p:nvPr>
            <p:custDataLst>
              <p:tags r:id="rId29"/>
            </p:custDataLst>
          </p:nvPr>
        </p:nvSpPr>
        <p:spPr bwMode="auto">
          <a:xfrm>
            <a:off x="9581149" y="5719127"/>
            <a:ext cx="731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0" name="Text Placeholder 2">
            <a:extLst>
              <a:ext uri="{FF2B5EF4-FFF2-40B4-BE49-F238E27FC236}">
                <a16:creationId xmlns:a16="http://schemas.microsoft.com/office/drawing/2014/main" id="{2BE617CD-3647-4565-98BB-109D9A97DEA0}"/>
              </a:ext>
            </a:extLst>
          </p:cNvPr>
          <p:cNvSpPr>
            <a:spLocks noGrp="1"/>
          </p:cNvSpPr>
          <p:nvPr>
            <p:custDataLst>
              <p:tags r:id="rId30"/>
            </p:custDataLst>
          </p:nvPr>
        </p:nvSpPr>
        <p:spPr bwMode="auto">
          <a:xfrm>
            <a:off x="9568094" y="3020015"/>
            <a:ext cx="4222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2" name="Text Placeholder 2">
            <a:extLst>
              <a:ext uri="{FF2B5EF4-FFF2-40B4-BE49-F238E27FC236}">
                <a16:creationId xmlns:a16="http://schemas.microsoft.com/office/drawing/2014/main" id="{515BF985-D9F9-4A25-9A45-48123C5EC8F0}"/>
              </a:ext>
            </a:extLst>
          </p:cNvPr>
          <p:cNvSpPr>
            <a:spLocks noGrp="1"/>
          </p:cNvSpPr>
          <p:nvPr>
            <p:custDataLst>
              <p:tags r:id="rId31"/>
            </p:custDataLst>
          </p:nvPr>
        </p:nvSpPr>
        <p:spPr bwMode="auto">
          <a:xfrm>
            <a:off x="9553767" y="3451780"/>
            <a:ext cx="519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71" name="Text Placeholder 2">
            <a:extLst>
              <a:ext uri="{FF2B5EF4-FFF2-40B4-BE49-F238E27FC236}">
                <a16:creationId xmlns:a16="http://schemas.microsoft.com/office/drawing/2014/main" id="{A6CA952D-24F6-4218-9A07-15125E7E3B71}"/>
              </a:ext>
            </a:extLst>
          </p:cNvPr>
          <p:cNvSpPr>
            <a:spLocks noGrp="1"/>
          </p:cNvSpPr>
          <p:nvPr>
            <p:custDataLst>
              <p:tags r:id="rId32"/>
            </p:custDataLst>
          </p:nvPr>
        </p:nvSpPr>
        <p:spPr bwMode="auto">
          <a:xfrm>
            <a:off x="9553767" y="6261100"/>
            <a:ext cx="3032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b="1" kern="1200" dirty="0">
              <a:solidFill>
                <a:srgbClr val="000000"/>
              </a:solidFill>
              <a:sym typeface="+mn-lt"/>
            </a:endParaRPr>
          </a:p>
        </p:txBody>
      </p:sp>
      <p:sp>
        <p:nvSpPr>
          <p:cNvPr id="270" name="Text Placeholder 2">
            <a:extLst>
              <a:ext uri="{FF2B5EF4-FFF2-40B4-BE49-F238E27FC236}">
                <a16:creationId xmlns:a16="http://schemas.microsoft.com/office/drawing/2014/main" id="{8BF60439-79CB-4699-80C1-BB0CC3A0CE8B}"/>
              </a:ext>
            </a:extLst>
          </p:cNvPr>
          <p:cNvSpPr>
            <a:spLocks noGrp="1"/>
          </p:cNvSpPr>
          <p:nvPr>
            <p:custDataLst>
              <p:tags r:id="rId33"/>
            </p:custDataLst>
          </p:nvPr>
        </p:nvSpPr>
        <p:spPr bwMode="auto">
          <a:xfrm>
            <a:off x="9585653" y="5950442"/>
            <a:ext cx="7223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55" name="Text Placeholder 2">
            <a:extLst>
              <a:ext uri="{FF2B5EF4-FFF2-40B4-BE49-F238E27FC236}">
                <a16:creationId xmlns:a16="http://schemas.microsoft.com/office/drawing/2014/main" id="{4BA2C612-1272-4512-8EC8-8F1D1DDBB607}"/>
              </a:ext>
            </a:extLst>
          </p:cNvPr>
          <p:cNvSpPr>
            <a:spLocks noGrp="1"/>
          </p:cNvSpPr>
          <p:nvPr>
            <p:custDataLst>
              <p:tags r:id="rId34"/>
            </p:custDataLst>
          </p:nvPr>
        </p:nvSpPr>
        <p:spPr bwMode="auto">
          <a:xfrm>
            <a:off x="9564688" y="2212975"/>
            <a:ext cx="455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7" name="Text Placeholder 2">
            <a:extLst>
              <a:ext uri="{FF2B5EF4-FFF2-40B4-BE49-F238E27FC236}">
                <a16:creationId xmlns:a16="http://schemas.microsoft.com/office/drawing/2014/main" id="{379E1E1A-22F3-4B36-8C98-49AE875C3991}"/>
              </a:ext>
            </a:extLst>
          </p:cNvPr>
          <p:cNvSpPr>
            <a:spLocks noGrp="1"/>
          </p:cNvSpPr>
          <p:nvPr>
            <p:custDataLst>
              <p:tags r:id="rId35"/>
            </p:custDataLst>
          </p:nvPr>
        </p:nvSpPr>
        <p:spPr bwMode="auto">
          <a:xfrm>
            <a:off x="9588115" y="5136880"/>
            <a:ext cx="303213" cy="19325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1" name="Text Placeholder 2">
            <a:extLst>
              <a:ext uri="{FF2B5EF4-FFF2-40B4-BE49-F238E27FC236}">
                <a16:creationId xmlns:a16="http://schemas.microsoft.com/office/drawing/2014/main" id="{6F685C59-3227-4833-A880-9121B7858937}"/>
              </a:ext>
            </a:extLst>
          </p:cNvPr>
          <p:cNvSpPr>
            <a:spLocks noGrp="1"/>
          </p:cNvSpPr>
          <p:nvPr>
            <p:custDataLst>
              <p:tags r:id="rId36"/>
            </p:custDataLst>
          </p:nvPr>
        </p:nvSpPr>
        <p:spPr bwMode="auto">
          <a:xfrm>
            <a:off x="9564688" y="3238538"/>
            <a:ext cx="5842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5" name="Text Placeholder 2">
            <a:extLst>
              <a:ext uri="{FF2B5EF4-FFF2-40B4-BE49-F238E27FC236}">
                <a16:creationId xmlns:a16="http://schemas.microsoft.com/office/drawing/2014/main" id="{424C8F66-3CAB-4CD4-B3BE-C88AE321C1E6}"/>
              </a:ext>
            </a:extLst>
          </p:cNvPr>
          <p:cNvSpPr>
            <a:spLocks noGrp="1"/>
          </p:cNvSpPr>
          <p:nvPr>
            <p:custDataLst>
              <p:tags r:id="rId37"/>
            </p:custDataLst>
          </p:nvPr>
        </p:nvSpPr>
        <p:spPr bwMode="auto">
          <a:xfrm>
            <a:off x="9564688" y="4187585"/>
            <a:ext cx="7445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6" name="Text Placeholder 2">
            <a:extLst>
              <a:ext uri="{FF2B5EF4-FFF2-40B4-BE49-F238E27FC236}">
                <a16:creationId xmlns:a16="http://schemas.microsoft.com/office/drawing/2014/main" id="{C4A1956C-9B83-4D6E-A96E-6FE4202278F6}"/>
              </a:ext>
            </a:extLst>
          </p:cNvPr>
          <p:cNvSpPr>
            <a:spLocks noGrp="1"/>
          </p:cNvSpPr>
          <p:nvPr>
            <p:custDataLst>
              <p:tags r:id="rId38"/>
            </p:custDataLst>
          </p:nvPr>
        </p:nvSpPr>
        <p:spPr bwMode="auto">
          <a:xfrm>
            <a:off x="9578411" y="4879127"/>
            <a:ext cx="208719" cy="1340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4" name="Text Placeholder 2">
            <a:extLst>
              <a:ext uri="{FF2B5EF4-FFF2-40B4-BE49-F238E27FC236}">
                <a16:creationId xmlns:a16="http://schemas.microsoft.com/office/drawing/2014/main" id="{14728550-0277-4EAD-8639-A4C8203F9537}"/>
              </a:ext>
            </a:extLst>
          </p:cNvPr>
          <p:cNvSpPr>
            <a:spLocks noGrp="1"/>
          </p:cNvSpPr>
          <p:nvPr>
            <p:custDataLst>
              <p:tags r:id="rId39"/>
            </p:custDataLst>
          </p:nvPr>
        </p:nvSpPr>
        <p:spPr bwMode="auto">
          <a:xfrm>
            <a:off x="9553767" y="3936924"/>
            <a:ext cx="349250" cy="15959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58" name="Text Placeholder 2">
            <a:extLst>
              <a:ext uri="{FF2B5EF4-FFF2-40B4-BE49-F238E27FC236}">
                <a16:creationId xmlns:a16="http://schemas.microsoft.com/office/drawing/2014/main" id="{914636D9-7B6C-474E-AB8D-D71BDB45AB65}"/>
              </a:ext>
            </a:extLst>
          </p:cNvPr>
          <p:cNvSpPr>
            <a:spLocks noGrp="1"/>
          </p:cNvSpPr>
          <p:nvPr>
            <p:custDataLst>
              <p:tags r:id="rId40"/>
            </p:custDataLst>
          </p:nvPr>
        </p:nvSpPr>
        <p:spPr bwMode="auto">
          <a:xfrm>
            <a:off x="9578411" y="2662239"/>
            <a:ext cx="2762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148" name="Text Placeholder 2">
            <a:extLst>
              <a:ext uri="{FF2B5EF4-FFF2-40B4-BE49-F238E27FC236}">
                <a16:creationId xmlns:a16="http://schemas.microsoft.com/office/drawing/2014/main" id="{424C8F66-3CAB-4CD4-B3BE-C88AE321C1E6}"/>
              </a:ext>
            </a:extLst>
          </p:cNvPr>
          <p:cNvSpPr>
            <a:spLocks noGrp="1"/>
          </p:cNvSpPr>
          <p:nvPr>
            <p:custDataLst>
              <p:tags r:id="rId41"/>
            </p:custDataLst>
          </p:nvPr>
        </p:nvSpPr>
        <p:spPr bwMode="auto">
          <a:xfrm>
            <a:off x="9570986" y="4400299"/>
            <a:ext cx="7445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478" name="Text Placeholder 2">
            <a:extLst>
              <a:ext uri="{FF2B5EF4-FFF2-40B4-BE49-F238E27FC236}">
                <a16:creationId xmlns:a16="http://schemas.microsoft.com/office/drawing/2014/main" id="{297CBE7A-1945-4062-8834-CAE4D45701DC}"/>
              </a:ext>
            </a:extLst>
          </p:cNvPr>
          <p:cNvSpPr>
            <a:spLocks noGrp="1"/>
          </p:cNvSpPr>
          <p:nvPr>
            <p:custDataLst>
              <p:tags r:id="rId42"/>
            </p:custDataLst>
          </p:nvPr>
        </p:nvSpPr>
        <p:spPr bwMode="gray">
          <a:xfrm>
            <a:off x="3839981" y="5351786"/>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481" name="Text Placeholder 2">
            <a:extLst>
              <a:ext uri="{FF2B5EF4-FFF2-40B4-BE49-F238E27FC236}">
                <a16:creationId xmlns:a16="http://schemas.microsoft.com/office/drawing/2014/main" id="{13D67EAA-2D9A-455F-90BA-F16D151699DB}"/>
              </a:ext>
            </a:extLst>
          </p:cNvPr>
          <p:cNvSpPr>
            <a:spLocks noGrp="1"/>
          </p:cNvSpPr>
          <p:nvPr>
            <p:custDataLst>
              <p:tags r:id="rId43"/>
            </p:custDataLst>
          </p:nvPr>
        </p:nvSpPr>
        <p:spPr bwMode="gray">
          <a:xfrm>
            <a:off x="8317375" y="5618150"/>
            <a:ext cx="293968" cy="234736"/>
          </a:xfrm>
          <a:prstGeom prst="rect">
            <a:avLst/>
          </a:prstGeom>
          <a:solidFill>
            <a:schemeClr val="accent1"/>
          </a:solidFill>
          <a:ln>
            <a:noFill/>
          </a:ln>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buClr>
                <a:srgbClr val="303D24"/>
              </a:buClr>
              <a:buFontTx/>
              <a:buNone/>
            </a:pPr>
            <a:r>
              <a:rPr lang="en-US" sz="1000" kern="1200" dirty="0">
                <a:solidFill>
                  <a:srgbClr val="000000"/>
                </a:solidFill>
                <a:sym typeface="+mn-lt"/>
              </a:rPr>
              <a:t>                           </a:t>
            </a:r>
            <a:r>
              <a:rPr lang="en-US" sz="1200" kern="1200" dirty="0">
                <a:solidFill>
                  <a:srgbClr val="000000"/>
                </a:solidFill>
                <a:sym typeface="+mn-lt"/>
              </a:rPr>
              <a:t>743,443</a:t>
            </a:r>
          </a:p>
        </p:txBody>
      </p:sp>
      <p:sp>
        <p:nvSpPr>
          <p:cNvPr id="194" name="Rectangle 121">
            <a:extLst>
              <a:ext uri="{FF2B5EF4-FFF2-40B4-BE49-F238E27FC236}">
                <a16:creationId xmlns:a16="http://schemas.microsoft.com/office/drawing/2014/main" id="{C5434751-FCDC-47A6-8D2D-03F9BD1A11CD}"/>
              </a:ext>
            </a:extLst>
          </p:cNvPr>
          <p:cNvSpPr>
            <a:spLocks noChangeArrowheads="1"/>
          </p:cNvSpPr>
          <p:nvPr/>
        </p:nvSpPr>
        <p:spPr bwMode="gray">
          <a:xfrm>
            <a:off x="9708757" y="5213346"/>
            <a:ext cx="7694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100" kern="1200" dirty="0">
                <a:solidFill>
                  <a:srgbClr val="000000"/>
                </a:solidFill>
                <a:latin typeface="Arial"/>
                <a:ea typeface="+mn-ea"/>
                <a:cs typeface="Argumentum Ultra Light" panose="020B0000000000000000" pitchFamily="34" charset="0"/>
              </a:rPr>
              <a:t>  </a:t>
            </a:r>
          </a:p>
        </p:txBody>
      </p:sp>
      <p:sp>
        <p:nvSpPr>
          <p:cNvPr id="196" name="Text Placeholder 2">
            <a:extLst>
              <a:ext uri="{FF2B5EF4-FFF2-40B4-BE49-F238E27FC236}">
                <a16:creationId xmlns:a16="http://schemas.microsoft.com/office/drawing/2014/main" id="{BA5689D6-00AE-4E6E-8AF9-29B5B8034B30}"/>
              </a:ext>
            </a:extLst>
          </p:cNvPr>
          <p:cNvSpPr>
            <a:spLocks noGrp="1"/>
          </p:cNvSpPr>
          <p:nvPr>
            <p:custDataLst>
              <p:tags r:id="rId44"/>
            </p:custDataLst>
          </p:nvPr>
        </p:nvSpPr>
        <p:spPr bwMode="auto">
          <a:xfrm>
            <a:off x="7668494" y="5566727"/>
            <a:ext cx="1001428" cy="457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198" name="Text Placeholder 2">
            <a:extLst>
              <a:ext uri="{FF2B5EF4-FFF2-40B4-BE49-F238E27FC236}">
                <a16:creationId xmlns:a16="http://schemas.microsoft.com/office/drawing/2014/main" id="{5378A050-180C-4CA8-905C-9A530E3FD473}"/>
              </a:ext>
            </a:extLst>
          </p:cNvPr>
          <p:cNvSpPr>
            <a:spLocks noGrp="1"/>
          </p:cNvSpPr>
          <p:nvPr>
            <p:custDataLst>
              <p:tags r:id="rId45"/>
            </p:custDataLst>
          </p:nvPr>
        </p:nvSpPr>
        <p:spPr bwMode="auto">
          <a:xfrm>
            <a:off x="4413192" y="2617101"/>
            <a:ext cx="790575" cy="18499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sz="1200" kern="1200" dirty="0">
                <a:solidFill>
                  <a:srgbClr val="000000"/>
                </a:solidFill>
                <a:sym typeface="+mn-lt"/>
              </a:rPr>
              <a:t>Virtual training</a:t>
            </a:r>
          </a:p>
        </p:txBody>
      </p:sp>
      <p:graphicFrame>
        <p:nvGraphicFramePr>
          <p:cNvPr id="183" name="Chart 182">
            <a:extLst>
              <a:ext uri="{FF2B5EF4-FFF2-40B4-BE49-F238E27FC236}">
                <a16:creationId xmlns:a16="http://schemas.microsoft.com/office/drawing/2014/main" id="{9120CFF6-25F2-4021-AEC0-FD5295CB598C}"/>
              </a:ext>
            </a:extLst>
          </p:cNvPr>
          <p:cNvGraphicFramePr/>
          <p:nvPr>
            <p:custDataLst>
              <p:tags r:id="rId46"/>
            </p:custDataLst>
            <p:extLst/>
          </p:nvPr>
        </p:nvGraphicFramePr>
        <p:xfrm>
          <a:off x="7227830" y="1429702"/>
          <a:ext cx="2764418" cy="4887103"/>
        </p:xfrm>
        <a:graphic>
          <a:graphicData uri="http://schemas.openxmlformats.org/drawingml/2006/chart">
            <c:chart xmlns:c="http://schemas.openxmlformats.org/drawingml/2006/chart" xmlns:r="http://schemas.openxmlformats.org/officeDocument/2006/relationships" r:id="rId54"/>
          </a:graphicData>
        </a:graphic>
      </p:graphicFrame>
      <p:sp>
        <p:nvSpPr>
          <p:cNvPr id="3" name="Rectangle 2"/>
          <p:cNvSpPr/>
          <p:nvPr/>
        </p:nvSpPr>
        <p:spPr>
          <a:xfrm>
            <a:off x="3991151" y="1958877"/>
            <a:ext cx="285320" cy="16212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err="1">
              <a:solidFill>
                <a:srgbClr val="000000"/>
              </a:solidFill>
            </a:endParaRPr>
          </a:p>
        </p:txBody>
      </p:sp>
      <p:sp>
        <p:nvSpPr>
          <p:cNvPr id="87" name="Rectangle 86"/>
          <p:cNvSpPr/>
          <p:nvPr/>
        </p:nvSpPr>
        <p:spPr>
          <a:xfrm>
            <a:off x="3995407" y="2266637"/>
            <a:ext cx="285320" cy="162121"/>
          </a:xfrm>
          <a:prstGeom prst="rect">
            <a:avLst/>
          </a:prstGeom>
          <a:solidFill>
            <a:schemeClr val="accent1">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err="1">
              <a:solidFill>
                <a:srgbClr val="000000"/>
              </a:solidFill>
            </a:endParaRPr>
          </a:p>
        </p:txBody>
      </p:sp>
      <p:sp>
        <p:nvSpPr>
          <p:cNvPr id="88" name="Rectangle 87"/>
          <p:cNvSpPr/>
          <p:nvPr/>
        </p:nvSpPr>
        <p:spPr>
          <a:xfrm>
            <a:off x="3990511" y="2599714"/>
            <a:ext cx="285320" cy="162121"/>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err="1">
              <a:solidFill>
                <a:srgbClr val="000000"/>
              </a:solidFill>
            </a:endParaRPr>
          </a:p>
        </p:txBody>
      </p:sp>
      <p:sp>
        <p:nvSpPr>
          <p:cNvPr id="91" name="Oval 90">
            <a:extLst>
              <a:ext uri="{FF2B5EF4-FFF2-40B4-BE49-F238E27FC236}">
                <a16:creationId xmlns:a16="http://schemas.microsoft.com/office/drawing/2014/main" id="{64415DC6-9B93-43FE-B8E5-13855D84DA2C}"/>
              </a:ext>
            </a:extLst>
          </p:cNvPr>
          <p:cNvSpPr>
            <a:spLocks/>
          </p:cNvSpPr>
          <p:nvPr/>
        </p:nvSpPr>
        <p:spPr>
          <a:xfrm>
            <a:off x="9905959" y="2133535"/>
            <a:ext cx="582642"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92" name="Oval 91">
            <a:extLst>
              <a:ext uri="{FF2B5EF4-FFF2-40B4-BE49-F238E27FC236}">
                <a16:creationId xmlns:a16="http://schemas.microsoft.com/office/drawing/2014/main" id="{64415DC6-9B93-43FE-B8E5-13855D84DA2C}"/>
              </a:ext>
            </a:extLst>
          </p:cNvPr>
          <p:cNvSpPr>
            <a:spLocks/>
          </p:cNvSpPr>
          <p:nvPr/>
        </p:nvSpPr>
        <p:spPr>
          <a:xfrm>
            <a:off x="9919744" y="2637696"/>
            <a:ext cx="568857"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93" name="Oval 92">
            <a:extLst>
              <a:ext uri="{FF2B5EF4-FFF2-40B4-BE49-F238E27FC236}">
                <a16:creationId xmlns:a16="http://schemas.microsoft.com/office/drawing/2014/main" id="{64415DC6-9B93-43FE-B8E5-13855D84DA2C}"/>
              </a:ext>
            </a:extLst>
          </p:cNvPr>
          <p:cNvSpPr>
            <a:spLocks/>
          </p:cNvSpPr>
          <p:nvPr/>
        </p:nvSpPr>
        <p:spPr>
          <a:xfrm>
            <a:off x="9919744" y="3119036"/>
            <a:ext cx="568857"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94" name="Oval 93">
            <a:extLst>
              <a:ext uri="{FF2B5EF4-FFF2-40B4-BE49-F238E27FC236}">
                <a16:creationId xmlns:a16="http://schemas.microsoft.com/office/drawing/2014/main" id="{64415DC6-9B93-43FE-B8E5-13855D84DA2C}"/>
              </a:ext>
            </a:extLst>
          </p:cNvPr>
          <p:cNvSpPr>
            <a:spLocks/>
          </p:cNvSpPr>
          <p:nvPr/>
        </p:nvSpPr>
        <p:spPr>
          <a:xfrm>
            <a:off x="9940257" y="3959074"/>
            <a:ext cx="594420"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95" name="Oval 94">
            <a:extLst>
              <a:ext uri="{FF2B5EF4-FFF2-40B4-BE49-F238E27FC236}">
                <a16:creationId xmlns:a16="http://schemas.microsoft.com/office/drawing/2014/main" id="{64415DC6-9B93-43FE-B8E5-13855D84DA2C}"/>
              </a:ext>
            </a:extLst>
          </p:cNvPr>
          <p:cNvSpPr>
            <a:spLocks/>
          </p:cNvSpPr>
          <p:nvPr/>
        </p:nvSpPr>
        <p:spPr>
          <a:xfrm>
            <a:off x="9952035" y="4355351"/>
            <a:ext cx="582642"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98" name="Oval 97">
            <a:extLst>
              <a:ext uri="{FF2B5EF4-FFF2-40B4-BE49-F238E27FC236}">
                <a16:creationId xmlns:a16="http://schemas.microsoft.com/office/drawing/2014/main" id="{64415DC6-9B93-43FE-B8E5-13855D84DA2C}"/>
              </a:ext>
            </a:extLst>
          </p:cNvPr>
          <p:cNvSpPr>
            <a:spLocks/>
          </p:cNvSpPr>
          <p:nvPr/>
        </p:nvSpPr>
        <p:spPr>
          <a:xfrm>
            <a:off x="9963651" y="4778342"/>
            <a:ext cx="600005"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99" name="Oval 98">
            <a:extLst>
              <a:ext uri="{FF2B5EF4-FFF2-40B4-BE49-F238E27FC236}">
                <a16:creationId xmlns:a16="http://schemas.microsoft.com/office/drawing/2014/main" id="{64415DC6-9B93-43FE-B8E5-13855D84DA2C}"/>
              </a:ext>
            </a:extLst>
          </p:cNvPr>
          <p:cNvSpPr>
            <a:spLocks/>
          </p:cNvSpPr>
          <p:nvPr/>
        </p:nvSpPr>
        <p:spPr>
          <a:xfrm>
            <a:off x="9896900" y="5587520"/>
            <a:ext cx="792397" cy="316987"/>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100" name="Oval 99">
            <a:extLst>
              <a:ext uri="{FF2B5EF4-FFF2-40B4-BE49-F238E27FC236}">
                <a16:creationId xmlns:a16="http://schemas.microsoft.com/office/drawing/2014/main" id="{64415DC6-9B93-43FE-B8E5-13855D84DA2C}"/>
              </a:ext>
            </a:extLst>
          </p:cNvPr>
          <p:cNvSpPr>
            <a:spLocks/>
          </p:cNvSpPr>
          <p:nvPr/>
        </p:nvSpPr>
        <p:spPr>
          <a:xfrm>
            <a:off x="9990168" y="5970850"/>
            <a:ext cx="602066"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cxnSp>
        <p:nvCxnSpPr>
          <p:cNvPr id="6" name="Straight Connector 5"/>
          <p:cNvCxnSpPr/>
          <p:nvPr/>
        </p:nvCxnSpPr>
        <p:spPr>
          <a:xfrm>
            <a:off x="5902036" y="951771"/>
            <a:ext cx="0" cy="5382354"/>
          </a:xfrm>
          <a:prstGeom prst="line">
            <a:avLst/>
          </a:prstGeom>
          <a:ln w="38100">
            <a:solidFill>
              <a:srgbClr val="A61C00"/>
            </a:solidFill>
            <a:prstDash val="sysDash"/>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6657004" y="3619901"/>
            <a:ext cx="1404552" cy="276999"/>
          </a:xfrm>
          <a:prstGeom prst="rect">
            <a:avLst/>
          </a:prstGeom>
        </p:spPr>
        <p:txBody>
          <a:bodyPr wrap="none">
            <a:spAutoFit/>
          </a:bodyPr>
          <a:lstStyle/>
          <a:p>
            <a:pPr fontAlgn="base">
              <a:spcBef>
                <a:spcPct val="0"/>
              </a:spcBef>
              <a:spcAft>
                <a:spcPct val="0"/>
              </a:spcAft>
              <a:buClrTx/>
              <a:buFontTx/>
              <a:buNone/>
            </a:pPr>
            <a:r>
              <a:rPr lang="en-US" sz="1200" kern="1200" dirty="0">
                <a:latin typeface="Arial" charset="0"/>
                <a:ea typeface="+mn-ea"/>
                <a:cs typeface="+mn-cs"/>
              </a:rPr>
              <a:t>Disinfectant tablet</a:t>
            </a:r>
            <a:endParaRPr lang="en-US" sz="1632" kern="1200" dirty="0">
              <a:latin typeface="Arial" charset="0"/>
              <a:ea typeface="+mn-ea"/>
              <a:cs typeface="+mn-cs"/>
            </a:endParaRPr>
          </a:p>
        </p:txBody>
      </p:sp>
      <p:sp>
        <p:nvSpPr>
          <p:cNvPr id="84" name="Oval 83">
            <a:extLst>
              <a:ext uri="{FF2B5EF4-FFF2-40B4-BE49-F238E27FC236}">
                <a16:creationId xmlns:a16="http://schemas.microsoft.com/office/drawing/2014/main" id="{64415DC6-9B93-43FE-B8E5-13855D84DA2C}"/>
              </a:ext>
            </a:extLst>
          </p:cNvPr>
          <p:cNvSpPr>
            <a:spLocks/>
          </p:cNvSpPr>
          <p:nvPr/>
        </p:nvSpPr>
        <p:spPr>
          <a:xfrm>
            <a:off x="9936164" y="3536175"/>
            <a:ext cx="594419"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109" name="Text Placeholder 2">
            <a:extLst>
              <a:ext uri="{FF2B5EF4-FFF2-40B4-BE49-F238E27FC236}">
                <a16:creationId xmlns:a16="http://schemas.microsoft.com/office/drawing/2014/main" id="{297A5528-8E79-4292-AB97-3B82B46F5FC4}"/>
              </a:ext>
            </a:extLst>
          </p:cNvPr>
          <p:cNvSpPr>
            <a:spLocks noGrp="1"/>
          </p:cNvSpPr>
          <p:nvPr>
            <p:custDataLst>
              <p:tags r:id="rId47"/>
            </p:custDataLst>
          </p:nvPr>
        </p:nvSpPr>
        <p:spPr bwMode="auto">
          <a:xfrm>
            <a:off x="8253597" y="3627224"/>
            <a:ext cx="369468" cy="26235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sz="1200" kern="1200" dirty="0">
                <a:solidFill>
                  <a:srgbClr val="000000"/>
                </a:solidFill>
                <a:sym typeface="+mn-lt"/>
              </a:rPr>
              <a:t>    891</a:t>
            </a:r>
          </a:p>
        </p:txBody>
      </p:sp>
      <p:cxnSp>
        <p:nvCxnSpPr>
          <p:cNvPr id="7" name="Straight Connector 6"/>
          <p:cNvCxnSpPr/>
          <p:nvPr/>
        </p:nvCxnSpPr>
        <p:spPr>
          <a:xfrm>
            <a:off x="2372537" y="5489076"/>
            <a:ext cx="0" cy="674481"/>
          </a:xfrm>
          <a:prstGeom prst="line">
            <a:avLst/>
          </a:prstGeom>
          <a:ln/>
        </p:spPr>
        <p:style>
          <a:lnRef idx="1">
            <a:schemeClr val="accent5"/>
          </a:lnRef>
          <a:fillRef idx="0">
            <a:schemeClr val="accent5"/>
          </a:fillRef>
          <a:effectRef idx="0">
            <a:schemeClr val="accent5"/>
          </a:effectRef>
          <a:fontRef idx="minor">
            <a:schemeClr val="tx1"/>
          </a:fontRef>
        </p:style>
      </p:cxnSp>
      <p:sp>
        <p:nvSpPr>
          <p:cNvPr id="8" name="Rectangle 7"/>
          <p:cNvSpPr/>
          <p:nvPr/>
        </p:nvSpPr>
        <p:spPr>
          <a:xfrm>
            <a:off x="1085702" y="5715475"/>
            <a:ext cx="688009" cy="261610"/>
          </a:xfrm>
          <a:prstGeom prst="rect">
            <a:avLst/>
          </a:prstGeom>
        </p:spPr>
        <p:txBody>
          <a:bodyPr wrap="none">
            <a:spAutoFit/>
          </a:bodyPr>
          <a:lstStyle/>
          <a:p>
            <a:pPr fontAlgn="base">
              <a:spcBef>
                <a:spcPct val="0"/>
              </a:spcBef>
              <a:spcAft>
                <a:spcPct val="0"/>
              </a:spcAft>
              <a:buClrTx/>
              <a:buFontTx/>
              <a:buNone/>
            </a:pPr>
            <a:r>
              <a:rPr lang="en-US" altLang="en-US" sz="1100" kern="1200" dirty="0">
                <a:latin typeface="Arial" charset="0"/>
                <a:ea typeface="+mn-ea"/>
                <a:cs typeface="+mn-cs"/>
              </a:rPr>
              <a:t>PHEOC</a:t>
            </a:r>
            <a:endParaRPr lang="en-US" sz="1100" kern="1200" dirty="0">
              <a:latin typeface="Arial" charset="0"/>
              <a:ea typeface="+mn-ea"/>
              <a:cs typeface="+mn-cs"/>
            </a:endParaRPr>
          </a:p>
        </p:txBody>
      </p:sp>
      <p:sp>
        <p:nvSpPr>
          <p:cNvPr id="89" name="Rectangle 88"/>
          <p:cNvSpPr/>
          <p:nvPr/>
        </p:nvSpPr>
        <p:spPr>
          <a:xfrm>
            <a:off x="2380381" y="5728687"/>
            <a:ext cx="458460" cy="248398"/>
          </a:xfrm>
          <a:prstGeom prst="rect">
            <a:avLst/>
          </a:prstGeom>
          <a:pattFill prst="narHorz">
            <a:fgClr>
              <a:schemeClr val="tx2">
                <a:lumMod val="75000"/>
                <a:lumOff val="25000"/>
              </a:schemeClr>
            </a:fgClr>
            <a:bgClr>
              <a:schemeClr val="tx2">
                <a:lumMod val="25000"/>
                <a:lumOff val="75000"/>
              </a:schemeClr>
            </a:bgClr>
          </a:patt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err="1">
              <a:solidFill>
                <a:srgbClr val="000000"/>
              </a:solidFill>
            </a:endParaRPr>
          </a:p>
        </p:txBody>
      </p:sp>
      <p:sp>
        <p:nvSpPr>
          <p:cNvPr id="101" name="Text Placeholder 2">
            <a:extLst>
              <a:ext uri="{FF2B5EF4-FFF2-40B4-BE49-F238E27FC236}">
                <a16:creationId xmlns:a16="http://schemas.microsoft.com/office/drawing/2014/main" id="{13D67EAA-2D9A-455F-90BA-F16D151699DB}"/>
              </a:ext>
            </a:extLst>
          </p:cNvPr>
          <p:cNvSpPr>
            <a:spLocks noGrp="1"/>
          </p:cNvSpPr>
          <p:nvPr>
            <p:custDataLst>
              <p:tags r:id="rId48"/>
            </p:custDataLst>
          </p:nvPr>
        </p:nvSpPr>
        <p:spPr bwMode="gray">
          <a:xfrm>
            <a:off x="2738734" y="5753942"/>
            <a:ext cx="545031" cy="196500"/>
          </a:xfrm>
          <a:prstGeom prst="rect">
            <a:avLst/>
          </a:prstGeom>
          <a:solidFill>
            <a:schemeClr val="accent1">
              <a:lumMod val="50000"/>
            </a:schemeClr>
          </a:solidFill>
          <a:ln>
            <a:noFill/>
          </a:ln>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buClr>
                <a:srgbClr val="303D24"/>
              </a:buClr>
              <a:buFontTx/>
              <a:buNone/>
            </a:pPr>
            <a:r>
              <a:rPr lang="en-US" sz="1200" kern="1200" dirty="0">
                <a:solidFill>
                  <a:srgbClr val="FFFFFF"/>
                </a:solidFill>
                <a:sym typeface="+mn-lt"/>
              </a:rPr>
              <a:t>4,848</a:t>
            </a:r>
          </a:p>
        </p:txBody>
      </p:sp>
      <p:sp>
        <p:nvSpPr>
          <p:cNvPr id="5" name="Rectangle 4"/>
          <p:cNvSpPr/>
          <p:nvPr/>
        </p:nvSpPr>
        <p:spPr>
          <a:xfrm>
            <a:off x="7011737" y="5203079"/>
            <a:ext cx="1300356" cy="276999"/>
          </a:xfrm>
          <a:prstGeom prst="rect">
            <a:avLst/>
          </a:prstGeom>
        </p:spPr>
        <p:txBody>
          <a:bodyPr wrap="none">
            <a:spAutoFit/>
          </a:bodyPr>
          <a:lstStyle/>
          <a:p>
            <a:pPr fontAlgn="base">
              <a:spcBef>
                <a:spcPct val="0"/>
              </a:spcBef>
              <a:spcAft>
                <a:spcPct val="0"/>
              </a:spcAft>
              <a:buClrTx/>
              <a:buFontTx/>
              <a:buNone/>
            </a:pPr>
            <a:r>
              <a:rPr lang="en-US" altLang="en-US" sz="1200" kern="1200" dirty="0">
                <a:latin typeface="Arial" charset="0"/>
                <a:ea typeface="+mn-ea"/>
                <a:cs typeface="+mn-cs"/>
              </a:rPr>
              <a:t>Dexamethasone</a:t>
            </a:r>
            <a:endParaRPr lang="en-US" sz="1632" kern="1200" dirty="0">
              <a:latin typeface="Arial" charset="0"/>
              <a:ea typeface="+mn-ea"/>
              <a:cs typeface="+mn-cs"/>
            </a:endParaRPr>
          </a:p>
        </p:txBody>
      </p:sp>
      <p:sp>
        <p:nvSpPr>
          <p:cNvPr id="102" name="Text Placeholder 2">
            <a:extLst>
              <a:ext uri="{FF2B5EF4-FFF2-40B4-BE49-F238E27FC236}">
                <a16:creationId xmlns:a16="http://schemas.microsoft.com/office/drawing/2014/main" id="{297A5528-8E79-4292-AB97-3B82B46F5FC4}"/>
              </a:ext>
            </a:extLst>
          </p:cNvPr>
          <p:cNvSpPr>
            <a:spLocks noGrp="1"/>
          </p:cNvSpPr>
          <p:nvPr>
            <p:custDataLst>
              <p:tags r:id="rId49"/>
            </p:custDataLst>
          </p:nvPr>
        </p:nvSpPr>
        <p:spPr bwMode="auto">
          <a:xfrm>
            <a:off x="8321236" y="5166130"/>
            <a:ext cx="369468" cy="262351"/>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sz="1200" kern="1200" dirty="0">
                <a:solidFill>
                  <a:srgbClr val="000000"/>
                </a:solidFill>
                <a:sym typeface="+mn-lt"/>
              </a:rPr>
              <a:t>    1,800,000</a:t>
            </a:r>
          </a:p>
        </p:txBody>
      </p:sp>
      <p:sp>
        <p:nvSpPr>
          <p:cNvPr id="103" name="Oval 102">
            <a:extLst>
              <a:ext uri="{FF2B5EF4-FFF2-40B4-BE49-F238E27FC236}">
                <a16:creationId xmlns:a16="http://schemas.microsoft.com/office/drawing/2014/main" id="{64415DC6-9B93-43FE-B8E5-13855D84DA2C}"/>
              </a:ext>
            </a:extLst>
          </p:cNvPr>
          <p:cNvSpPr>
            <a:spLocks/>
          </p:cNvSpPr>
          <p:nvPr/>
        </p:nvSpPr>
        <p:spPr>
          <a:xfrm>
            <a:off x="9905959" y="5168932"/>
            <a:ext cx="818489" cy="335391"/>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104" name="Rectangle 103"/>
          <p:cNvSpPr/>
          <p:nvPr/>
        </p:nvSpPr>
        <p:spPr>
          <a:xfrm>
            <a:off x="1988332" y="4934298"/>
            <a:ext cx="425062" cy="239611"/>
          </a:xfrm>
          <a:prstGeom prst="rect">
            <a:avLst/>
          </a:prstGeom>
          <a:solidFill>
            <a:schemeClr val="bg1">
              <a:lumMod val="8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r>
              <a:rPr lang="en-US" sz="1200" kern="1200" dirty="0">
                <a:solidFill>
                  <a:srgbClr val="000000"/>
                </a:solidFill>
              </a:rPr>
              <a:t>61</a:t>
            </a:r>
          </a:p>
        </p:txBody>
      </p:sp>
    </p:spTree>
    <p:extLst>
      <p:ext uri="{BB962C8B-B14F-4D97-AF65-F5344CB8AC3E}">
        <p14:creationId xmlns:p14="http://schemas.microsoft.com/office/powerpoint/2010/main" val="2037951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randombar(horizontal)">
                                      <p:cBhvr>
                                        <p:cTn id="7"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51795D8-7722-44E3-A09B-2A4E23FDC93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29" imgW="473" imgH="476" progId="TCLayout.ActiveDocument.1">
                  <p:embed/>
                </p:oleObj>
              </mc:Choice>
              <mc:Fallback>
                <p:oleObj name="think-cell Slide"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78" name="Rectangle 77" hidden="1">
            <a:extLst>
              <a:ext uri="{FF2B5EF4-FFF2-40B4-BE49-F238E27FC236}">
                <a16:creationId xmlns:a16="http://schemas.microsoft.com/office/drawing/2014/main" id="{BB1B5AD9-F3A6-4A73-A46E-BC8D631E944A}"/>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fontAlgn="base">
              <a:spcBef>
                <a:spcPct val="0"/>
              </a:spcBef>
              <a:spcAft>
                <a:spcPct val="0"/>
              </a:spcAft>
              <a:buClrTx/>
              <a:buFontTx/>
              <a:buNone/>
            </a:pPr>
            <a:endParaRPr lang="en-ZA" sz="2400" kern="1200" dirty="0" err="1">
              <a:solidFill>
                <a:srgbClr val="000000"/>
              </a:solidFill>
              <a:sym typeface="Arial" panose="020B0604020202020204" pitchFamily="34" charset="0"/>
            </a:endParaRPr>
          </a:p>
        </p:txBody>
      </p:sp>
      <p:sp>
        <p:nvSpPr>
          <p:cNvPr id="2" name="Title 1">
            <a:extLst>
              <a:ext uri="{FF2B5EF4-FFF2-40B4-BE49-F238E27FC236}">
                <a16:creationId xmlns:a16="http://schemas.microsoft.com/office/drawing/2014/main" id="{D3D4554E-A9D5-4BCD-AA0D-0B8E6F15EEA3}"/>
              </a:ext>
            </a:extLst>
          </p:cNvPr>
          <p:cNvSpPr>
            <a:spLocks noGrp="1"/>
          </p:cNvSpPr>
          <p:nvPr>
            <p:ph type="title"/>
          </p:nvPr>
        </p:nvSpPr>
        <p:spPr>
          <a:xfrm>
            <a:off x="106873" y="433461"/>
            <a:ext cx="11725484" cy="369332"/>
          </a:xfrm>
        </p:spPr>
        <p:txBody>
          <a:bodyPr>
            <a:noAutofit/>
          </a:bodyPr>
          <a:lstStyle/>
          <a:p>
            <a:r>
              <a:rPr lang="en-ZA" b="1" dirty="0"/>
              <a:t>Africa CDC Summary Dashboard: Work Force </a:t>
            </a:r>
            <a:r>
              <a:rPr lang="en-US" b="1" dirty="0">
                <a:sym typeface="MS London" panose="020B0503020203020204" pitchFamily="34" charset="0"/>
              </a:rPr>
              <a:t>Deployment</a:t>
            </a:r>
            <a:r>
              <a:rPr lang="en-ZA" b="1" dirty="0"/>
              <a:t>, </a:t>
            </a:r>
            <a:r>
              <a:rPr lang="en-ZA" sz="2000" b="1" dirty="0"/>
              <a:t>13 November 2020</a:t>
            </a:r>
          </a:p>
        </p:txBody>
      </p:sp>
      <p:grpSp>
        <p:nvGrpSpPr>
          <p:cNvPr id="46" name="Group 45">
            <a:extLst>
              <a:ext uri="{FF2B5EF4-FFF2-40B4-BE49-F238E27FC236}">
                <a16:creationId xmlns:a16="http://schemas.microsoft.com/office/drawing/2014/main" id="{F51C40C5-3A70-4A9E-B9B6-B412585BDB59}"/>
              </a:ext>
            </a:extLst>
          </p:cNvPr>
          <p:cNvGrpSpPr>
            <a:grpSpLocks/>
          </p:cNvGrpSpPr>
          <p:nvPr/>
        </p:nvGrpSpPr>
        <p:grpSpPr>
          <a:xfrm>
            <a:off x="5099177" y="1188817"/>
            <a:ext cx="540009" cy="254636"/>
            <a:chOff x="554734" y="1493706"/>
            <a:chExt cx="11082528" cy="186158"/>
          </a:xfrm>
        </p:grpSpPr>
        <p:sp>
          <p:nvSpPr>
            <p:cNvPr id="53" name="TextBox 52">
              <a:extLst>
                <a:ext uri="{FF2B5EF4-FFF2-40B4-BE49-F238E27FC236}">
                  <a16:creationId xmlns:a16="http://schemas.microsoft.com/office/drawing/2014/main" id="{26838A24-C23E-46CA-8E66-56CD5A733678}"/>
                </a:ext>
              </a:extLst>
            </p:cNvPr>
            <p:cNvSpPr txBox="1">
              <a:spLocks/>
            </p:cNvSpPr>
            <p:nvPr/>
          </p:nvSpPr>
          <p:spPr>
            <a:xfrm>
              <a:off x="554734" y="1493706"/>
              <a:ext cx="11082528" cy="159755"/>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300" b="1" kern="1200" dirty="0">
                  <a:solidFill>
                    <a:srgbClr val="303D24"/>
                  </a:solidFill>
                  <a:ea typeface="+mn-ea"/>
                  <a:cs typeface="+mn-cs"/>
                  <a:sym typeface="MS London" panose="020B0503020203020204" pitchFamily="34" charset="0"/>
                </a:rPr>
                <a:t>Type</a:t>
              </a:r>
              <a:r>
                <a:rPr lang="en-US" sz="1000" b="1" kern="1200" dirty="0">
                  <a:solidFill>
                    <a:srgbClr val="303D24"/>
                  </a:solidFill>
                  <a:ea typeface="+mn-ea"/>
                  <a:cs typeface="+mn-cs"/>
                  <a:sym typeface="MS London" panose="020B0503020203020204" pitchFamily="34" charset="0"/>
                </a:rPr>
                <a:t> </a:t>
              </a:r>
            </a:p>
          </p:txBody>
        </p:sp>
        <p:cxnSp>
          <p:nvCxnSpPr>
            <p:cNvPr id="54" name="Straight Connector 53">
              <a:extLst>
                <a:ext uri="{FF2B5EF4-FFF2-40B4-BE49-F238E27FC236}">
                  <a16:creationId xmlns:a16="http://schemas.microsoft.com/office/drawing/2014/main" id="{7775E267-1E6D-4172-8E20-57FC1623A95A}"/>
                </a:ext>
              </a:extLst>
            </p:cNvPr>
            <p:cNvCxnSpPr>
              <a:cxnSpLocks/>
            </p:cNvCxnSpPr>
            <p:nvPr/>
          </p:nvCxnSpPr>
          <p:spPr>
            <a:xfrm>
              <a:off x="554734" y="1679864"/>
              <a:ext cx="11082528"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CE7A2BB1-B5C6-44A6-9E44-D690963AEA79}"/>
              </a:ext>
            </a:extLst>
          </p:cNvPr>
          <p:cNvGrpSpPr>
            <a:grpSpLocks/>
          </p:cNvGrpSpPr>
          <p:nvPr/>
        </p:nvGrpSpPr>
        <p:grpSpPr>
          <a:xfrm>
            <a:off x="5930601" y="987782"/>
            <a:ext cx="528340" cy="429547"/>
            <a:chOff x="554734" y="1249615"/>
            <a:chExt cx="11082528" cy="430249"/>
          </a:xfrm>
        </p:grpSpPr>
        <p:sp>
          <p:nvSpPr>
            <p:cNvPr id="51" name="TextBox 50">
              <a:extLst>
                <a:ext uri="{FF2B5EF4-FFF2-40B4-BE49-F238E27FC236}">
                  <a16:creationId xmlns:a16="http://schemas.microsoft.com/office/drawing/2014/main" id="{7DB5D5EB-0411-4387-9DB8-84A31ED4E449}"/>
                </a:ext>
              </a:extLst>
            </p:cNvPr>
            <p:cNvSpPr txBox="1">
              <a:spLocks/>
            </p:cNvSpPr>
            <p:nvPr/>
          </p:nvSpPr>
          <p:spPr>
            <a:xfrm>
              <a:off x="554734" y="1249615"/>
              <a:ext cx="11082528" cy="403846"/>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300" b="1" kern="1200" dirty="0">
                  <a:solidFill>
                    <a:srgbClr val="303D24"/>
                  </a:solidFill>
                  <a:ea typeface="+mn-ea"/>
                  <a:cs typeface="+mn-cs"/>
                  <a:sym typeface="MS London" panose="020B0503020203020204" pitchFamily="34" charset="0"/>
                </a:rPr>
                <a:t>Total</a:t>
              </a:r>
              <a:r>
                <a:rPr lang="en-US" sz="1200" b="1" kern="1200" dirty="0">
                  <a:solidFill>
                    <a:srgbClr val="303D24"/>
                  </a:solidFill>
                  <a:ea typeface="+mn-ea"/>
                  <a:cs typeface="+mn-cs"/>
                  <a:sym typeface="MS London" panose="020B0503020203020204" pitchFamily="34" charset="0"/>
                </a:rPr>
                <a:t>, </a:t>
              </a:r>
              <a:r>
                <a:rPr lang="en-US" sz="1200" kern="1200" dirty="0">
                  <a:solidFill>
                    <a:srgbClr val="808080"/>
                  </a:solidFill>
                  <a:ea typeface="+mn-ea"/>
                  <a:cs typeface="+mn-cs"/>
                  <a:sym typeface="MS London" panose="020B0503020203020204" pitchFamily="34" charset="0"/>
                </a:rPr>
                <a:t>#</a:t>
              </a:r>
            </a:p>
          </p:txBody>
        </p:sp>
        <p:cxnSp>
          <p:nvCxnSpPr>
            <p:cNvPr id="52" name="Straight Connector 51">
              <a:extLst>
                <a:ext uri="{FF2B5EF4-FFF2-40B4-BE49-F238E27FC236}">
                  <a16:creationId xmlns:a16="http://schemas.microsoft.com/office/drawing/2014/main" id="{CA7E5CBE-41CF-47EC-BE1B-3E9E70A33F57}"/>
                </a:ext>
              </a:extLst>
            </p:cNvPr>
            <p:cNvCxnSpPr>
              <a:cxnSpLocks/>
            </p:cNvCxnSpPr>
            <p:nvPr/>
          </p:nvCxnSpPr>
          <p:spPr>
            <a:xfrm>
              <a:off x="554734" y="1679864"/>
              <a:ext cx="11082528"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05" name="Straight Connector 104">
            <a:extLst>
              <a:ext uri="{FF2B5EF4-FFF2-40B4-BE49-F238E27FC236}">
                <a16:creationId xmlns:a16="http://schemas.microsoft.com/office/drawing/2014/main" id="{3E436334-8F02-4172-B453-CBB5A4AD4D9F}"/>
              </a:ext>
            </a:extLst>
          </p:cNvPr>
          <p:cNvCxnSpPr>
            <a:cxnSpLocks/>
          </p:cNvCxnSpPr>
          <p:nvPr>
            <p:custDataLst>
              <p:tags r:id="rId4"/>
            </p:custDataLst>
          </p:nvPr>
        </p:nvCxnSpPr>
        <p:spPr bwMode="gray">
          <a:xfrm flipH="1">
            <a:off x="1230313" y="2339975"/>
            <a:ext cx="60325" cy="0"/>
          </a:xfrm>
          <a:prstGeom prst="line">
            <a:avLst/>
          </a:prstGeom>
          <a:ln w="317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Text Placeholder 2">
            <a:extLst>
              <a:ext uri="{FF2B5EF4-FFF2-40B4-BE49-F238E27FC236}">
                <a16:creationId xmlns:a16="http://schemas.microsoft.com/office/drawing/2014/main" id="{AFD5AA18-6B98-4AC0-A613-95F1E5AED1B4}"/>
              </a:ext>
            </a:extLst>
          </p:cNvPr>
          <p:cNvSpPr>
            <a:spLocks noGrp="1"/>
          </p:cNvSpPr>
          <p:nvPr>
            <p:custDataLst>
              <p:tags r:id="rId5"/>
            </p:custDataLst>
          </p:nvPr>
        </p:nvSpPr>
        <p:spPr bwMode="auto">
          <a:xfrm>
            <a:off x="140381" y="3080557"/>
            <a:ext cx="758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000" kern="1200" dirty="0">
                <a:solidFill>
                  <a:srgbClr val="000000"/>
                </a:solidFill>
              </a:rPr>
              <a:t>  </a:t>
            </a:r>
            <a:endParaRPr lang="en-US" sz="1000" kern="1200" dirty="0">
              <a:solidFill>
                <a:srgbClr val="000000"/>
              </a:solidFill>
              <a:sym typeface="+mn-lt"/>
            </a:endParaRPr>
          </a:p>
        </p:txBody>
      </p:sp>
      <p:graphicFrame>
        <p:nvGraphicFramePr>
          <p:cNvPr id="184" name="Chart 183">
            <a:extLst>
              <a:ext uri="{FF2B5EF4-FFF2-40B4-BE49-F238E27FC236}">
                <a16:creationId xmlns:a16="http://schemas.microsoft.com/office/drawing/2014/main" id="{D60EC711-68EA-4C12-8CA1-65E9223D94E9}"/>
              </a:ext>
            </a:extLst>
          </p:cNvPr>
          <p:cNvGraphicFramePr/>
          <p:nvPr>
            <p:custDataLst>
              <p:tags r:id="rId6"/>
            </p:custDataLst>
            <p:extLst/>
          </p:nvPr>
        </p:nvGraphicFramePr>
        <p:xfrm>
          <a:off x="5932047" y="1280348"/>
          <a:ext cx="917991" cy="4579501"/>
        </p:xfrm>
        <a:graphic>
          <a:graphicData uri="http://schemas.openxmlformats.org/drawingml/2006/chart">
            <c:chart xmlns:c="http://schemas.openxmlformats.org/drawingml/2006/chart" xmlns:r="http://schemas.openxmlformats.org/officeDocument/2006/relationships" r:id="rId31"/>
          </a:graphicData>
        </a:graphic>
      </p:graphicFrame>
      <p:sp>
        <p:nvSpPr>
          <p:cNvPr id="151" name="Text Placeholder 2">
            <a:extLst>
              <a:ext uri="{FF2B5EF4-FFF2-40B4-BE49-F238E27FC236}">
                <a16:creationId xmlns:a16="http://schemas.microsoft.com/office/drawing/2014/main" id="{BA5689D6-00AE-4E6E-8AF9-29B5B8034B30}"/>
              </a:ext>
            </a:extLst>
          </p:cNvPr>
          <p:cNvSpPr>
            <a:spLocks noGrp="1"/>
          </p:cNvSpPr>
          <p:nvPr>
            <p:custDataLst>
              <p:tags r:id="rId7"/>
            </p:custDataLst>
          </p:nvPr>
        </p:nvSpPr>
        <p:spPr bwMode="auto">
          <a:xfrm>
            <a:off x="5066720" y="3120238"/>
            <a:ext cx="641350" cy="457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kern="1200" dirty="0">
                <a:solidFill>
                  <a:srgbClr val="000000"/>
                </a:solidFill>
              </a:rPr>
              <a:t>Community</a:t>
            </a:r>
          </a:p>
          <a:p>
            <a:pPr>
              <a:buClr>
                <a:srgbClr val="303D24"/>
              </a:buClr>
              <a:buFontTx/>
              <a:buNone/>
            </a:pPr>
            <a:r>
              <a:rPr lang="en-US" sz="1200" kern="1200" dirty="0">
                <a:solidFill>
                  <a:srgbClr val="000000"/>
                </a:solidFill>
                <a:sym typeface="+mn-lt"/>
              </a:rPr>
              <a:t>Health</a:t>
            </a:r>
          </a:p>
          <a:p>
            <a:pPr>
              <a:buClr>
                <a:srgbClr val="303D24"/>
              </a:buClr>
              <a:buFontTx/>
              <a:buNone/>
            </a:pPr>
            <a:r>
              <a:rPr lang="en-US" sz="1200" kern="1200" dirty="0">
                <a:solidFill>
                  <a:srgbClr val="000000"/>
                </a:solidFill>
                <a:sym typeface="+mn-lt"/>
              </a:rPr>
              <a:t>Workers</a:t>
            </a:r>
          </a:p>
        </p:txBody>
      </p:sp>
      <p:sp>
        <p:nvSpPr>
          <p:cNvPr id="150" name="Text Placeholder 2">
            <a:extLst>
              <a:ext uri="{FF2B5EF4-FFF2-40B4-BE49-F238E27FC236}">
                <a16:creationId xmlns:a16="http://schemas.microsoft.com/office/drawing/2014/main" id="{A9E27D75-7189-4A5C-A5BD-C07313B9A284}"/>
              </a:ext>
            </a:extLst>
          </p:cNvPr>
          <p:cNvSpPr>
            <a:spLocks noGrp="1"/>
          </p:cNvSpPr>
          <p:nvPr>
            <p:custDataLst>
              <p:tags r:id="rId8"/>
            </p:custDataLst>
          </p:nvPr>
        </p:nvSpPr>
        <p:spPr bwMode="auto">
          <a:xfrm>
            <a:off x="5011824" y="1980560"/>
            <a:ext cx="681038" cy="3048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kern="1200" dirty="0">
                <a:solidFill>
                  <a:srgbClr val="000000"/>
                </a:solidFill>
              </a:rPr>
              <a:t>Rapid</a:t>
            </a:r>
          </a:p>
          <a:p>
            <a:pPr>
              <a:buClr>
                <a:srgbClr val="303D24"/>
              </a:buClr>
              <a:buFontTx/>
              <a:buNone/>
            </a:pPr>
            <a:r>
              <a:rPr lang="en-US" sz="1200" kern="1200" dirty="0">
                <a:solidFill>
                  <a:srgbClr val="000000"/>
                </a:solidFill>
                <a:sym typeface="+mn-lt"/>
              </a:rPr>
              <a:t>Responders</a:t>
            </a:r>
          </a:p>
        </p:txBody>
      </p:sp>
      <p:sp>
        <p:nvSpPr>
          <p:cNvPr id="152" name="Text Placeholder 2">
            <a:extLst>
              <a:ext uri="{FF2B5EF4-FFF2-40B4-BE49-F238E27FC236}">
                <a16:creationId xmlns:a16="http://schemas.microsoft.com/office/drawing/2014/main" id="{FC7C4AA7-4C10-4FC0-9F0F-B71D8BF96B16}"/>
              </a:ext>
            </a:extLst>
          </p:cNvPr>
          <p:cNvSpPr>
            <a:spLocks noGrp="1"/>
          </p:cNvSpPr>
          <p:nvPr>
            <p:custDataLst>
              <p:tags r:id="rId9"/>
            </p:custDataLst>
          </p:nvPr>
        </p:nvSpPr>
        <p:spPr bwMode="auto">
          <a:xfrm>
            <a:off x="5320340" y="5469916"/>
            <a:ext cx="393155" cy="22493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r>
              <a:rPr lang="en-US" altLang="en-US" sz="1200" b="1" kern="1200" dirty="0">
                <a:solidFill>
                  <a:srgbClr val="000000"/>
                </a:solidFill>
              </a:rPr>
              <a:t>Total</a:t>
            </a:r>
            <a:r>
              <a:rPr lang="en-US" altLang="en-US" sz="1000" b="1" kern="1200" dirty="0">
                <a:solidFill>
                  <a:srgbClr val="000000"/>
                </a:solidFill>
              </a:rPr>
              <a:t>                  </a:t>
            </a:r>
            <a:endParaRPr lang="en-US" sz="1000" b="1" kern="1200" dirty="0">
              <a:solidFill>
                <a:srgbClr val="000000"/>
              </a:solidFill>
              <a:sym typeface="+mn-lt"/>
            </a:endParaRPr>
          </a:p>
        </p:txBody>
      </p:sp>
      <p:sp>
        <p:nvSpPr>
          <p:cNvPr id="206" name="Text Placeholder 2">
            <a:extLst>
              <a:ext uri="{FF2B5EF4-FFF2-40B4-BE49-F238E27FC236}">
                <a16:creationId xmlns:a16="http://schemas.microsoft.com/office/drawing/2014/main" id="{D5E3875F-7C43-4D93-A76E-39FEFB0B4D8E}"/>
              </a:ext>
            </a:extLst>
          </p:cNvPr>
          <p:cNvSpPr>
            <a:spLocks noGrp="1"/>
          </p:cNvSpPr>
          <p:nvPr>
            <p:custDataLst>
              <p:tags r:id="rId10"/>
            </p:custDataLst>
          </p:nvPr>
        </p:nvSpPr>
        <p:spPr bwMode="gray">
          <a:xfrm>
            <a:off x="3665095" y="3564793"/>
            <a:ext cx="307804" cy="9280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8" name="Text Placeholder 2">
            <a:extLst>
              <a:ext uri="{FF2B5EF4-FFF2-40B4-BE49-F238E27FC236}">
                <a16:creationId xmlns:a16="http://schemas.microsoft.com/office/drawing/2014/main" id="{E3C10B27-E631-43FF-962B-F9B623A93D6D}"/>
              </a:ext>
            </a:extLst>
          </p:cNvPr>
          <p:cNvSpPr>
            <a:spLocks noGrp="1"/>
          </p:cNvSpPr>
          <p:nvPr>
            <p:custDataLst>
              <p:tags r:id="rId11"/>
            </p:custDataLst>
          </p:nvPr>
        </p:nvSpPr>
        <p:spPr bwMode="auto">
          <a:xfrm>
            <a:off x="9581149" y="5428923"/>
            <a:ext cx="541042" cy="20526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59" name="Text Placeholder 2">
            <a:extLst>
              <a:ext uri="{FF2B5EF4-FFF2-40B4-BE49-F238E27FC236}">
                <a16:creationId xmlns:a16="http://schemas.microsoft.com/office/drawing/2014/main" id="{F10AF27A-7F74-4628-AC35-F76829B774B4}"/>
              </a:ext>
            </a:extLst>
          </p:cNvPr>
          <p:cNvSpPr>
            <a:spLocks noGrp="1"/>
          </p:cNvSpPr>
          <p:nvPr>
            <p:custDataLst>
              <p:tags r:id="rId12"/>
            </p:custDataLst>
          </p:nvPr>
        </p:nvSpPr>
        <p:spPr bwMode="auto">
          <a:xfrm>
            <a:off x="9558338" y="2851705"/>
            <a:ext cx="590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9" name="Text Placeholder 2">
            <a:extLst>
              <a:ext uri="{FF2B5EF4-FFF2-40B4-BE49-F238E27FC236}">
                <a16:creationId xmlns:a16="http://schemas.microsoft.com/office/drawing/2014/main" id="{B5985ED9-8E80-4966-8228-433ED2A36C43}"/>
              </a:ext>
            </a:extLst>
          </p:cNvPr>
          <p:cNvSpPr>
            <a:spLocks noGrp="1"/>
          </p:cNvSpPr>
          <p:nvPr>
            <p:custDataLst>
              <p:tags r:id="rId13"/>
            </p:custDataLst>
          </p:nvPr>
        </p:nvSpPr>
        <p:spPr bwMode="auto">
          <a:xfrm>
            <a:off x="9581149" y="5719127"/>
            <a:ext cx="731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0" name="Text Placeholder 2">
            <a:extLst>
              <a:ext uri="{FF2B5EF4-FFF2-40B4-BE49-F238E27FC236}">
                <a16:creationId xmlns:a16="http://schemas.microsoft.com/office/drawing/2014/main" id="{2BE617CD-3647-4565-98BB-109D9A97DEA0}"/>
              </a:ext>
            </a:extLst>
          </p:cNvPr>
          <p:cNvSpPr>
            <a:spLocks noGrp="1"/>
          </p:cNvSpPr>
          <p:nvPr>
            <p:custDataLst>
              <p:tags r:id="rId14"/>
            </p:custDataLst>
          </p:nvPr>
        </p:nvSpPr>
        <p:spPr bwMode="auto">
          <a:xfrm>
            <a:off x="9568094" y="3020015"/>
            <a:ext cx="4222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2" name="Text Placeholder 2">
            <a:extLst>
              <a:ext uri="{FF2B5EF4-FFF2-40B4-BE49-F238E27FC236}">
                <a16:creationId xmlns:a16="http://schemas.microsoft.com/office/drawing/2014/main" id="{515BF985-D9F9-4A25-9A45-48123C5EC8F0}"/>
              </a:ext>
            </a:extLst>
          </p:cNvPr>
          <p:cNvSpPr>
            <a:spLocks noGrp="1"/>
          </p:cNvSpPr>
          <p:nvPr>
            <p:custDataLst>
              <p:tags r:id="rId15"/>
            </p:custDataLst>
          </p:nvPr>
        </p:nvSpPr>
        <p:spPr bwMode="auto">
          <a:xfrm>
            <a:off x="9553767" y="3451780"/>
            <a:ext cx="519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71" name="Text Placeholder 2">
            <a:extLst>
              <a:ext uri="{FF2B5EF4-FFF2-40B4-BE49-F238E27FC236}">
                <a16:creationId xmlns:a16="http://schemas.microsoft.com/office/drawing/2014/main" id="{A6CA952D-24F6-4218-9A07-15125E7E3B71}"/>
              </a:ext>
            </a:extLst>
          </p:cNvPr>
          <p:cNvSpPr>
            <a:spLocks noGrp="1"/>
          </p:cNvSpPr>
          <p:nvPr>
            <p:custDataLst>
              <p:tags r:id="rId16"/>
            </p:custDataLst>
          </p:nvPr>
        </p:nvSpPr>
        <p:spPr bwMode="auto">
          <a:xfrm>
            <a:off x="9553767" y="6261100"/>
            <a:ext cx="3032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b="1" kern="1200" dirty="0">
              <a:solidFill>
                <a:srgbClr val="000000"/>
              </a:solidFill>
              <a:sym typeface="+mn-lt"/>
            </a:endParaRPr>
          </a:p>
        </p:txBody>
      </p:sp>
      <p:sp>
        <p:nvSpPr>
          <p:cNvPr id="270" name="Text Placeholder 2">
            <a:extLst>
              <a:ext uri="{FF2B5EF4-FFF2-40B4-BE49-F238E27FC236}">
                <a16:creationId xmlns:a16="http://schemas.microsoft.com/office/drawing/2014/main" id="{8BF60439-79CB-4699-80C1-BB0CC3A0CE8B}"/>
              </a:ext>
            </a:extLst>
          </p:cNvPr>
          <p:cNvSpPr>
            <a:spLocks noGrp="1"/>
          </p:cNvSpPr>
          <p:nvPr>
            <p:custDataLst>
              <p:tags r:id="rId17"/>
            </p:custDataLst>
          </p:nvPr>
        </p:nvSpPr>
        <p:spPr bwMode="auto">
          <a:xfrm>
            <a:off x="9585653" y="5950442"/>
            <a:ext cx="7223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55" name="Text Placeholder 2">
            <a:extLst>
              <a:ext uri="{FF2B5EF4-FFF2-40B4-BE49-F238E27FC236}">
                <a16:creationId xmlns:a16="http://schemas.microsoft.com/office/drawing/2014/main" id="{4BA2C612-1272-4512-8EC8-8F1D1DDBB607}"/>
              </a:ext>
            </a:extLst>
          </p:cNvPr>
          <p:cNvSpPr>
            <a:spLocks noGrp="1"/>
          </p:cNvSpPr>
          <p:nvPr>
            <p:custDataLst>
              <p:tags r:id="rId18"/>
            </p:custDataLst>
          </p:nvPr>
        </p:nvSpPr>
        <p:spPr bwMode="auto">
          <a:xfrm>
            <a:off x="9564688" y="2212975"/>
            <a:ext cx="455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7" name="Text Placeholder 2">
            <a:extLst>
              <a:ext uri="{FF2B5EF4-FFF2-40B4-BE49-F238E27FC236}">
                <a16:creationId xmlns:a16="http://schemas.microsoft.com/office/drawing/2014/main" id="{379E1E1A-22F3-4B36-8C98-49AE875C3991}"/>
              </a:ext>
            </a:extLst>
          </p:cNvPr>
          <p:cNvSpPr>
            <a:spLocks noGrp="1"/>
          </p:cNvSpPr>
          <p:nvPr>
            <p:custDataLst>
              <p:tags r:id="rId19"/>
            </p:custDataLst>
          </p:nvPr>
        </p:nvSpPr>
        <p:spPr bwMode="auto">
          <a:xfrm>
            <a:off x="9588115" y="5136880"/>
            <a:ext cx="303213" cy="19325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1" name="Text Placeholder 2">
            <a:extLst>
              <a:ext uri="{FF2B5EF4-FFF2-40B4-BE49-F238E27FC236}">
                <a16:creationId xmlns:a16="http://schemas.microsoft.com/office/drawing/2014/main" id="{6F685C59-3227-4833-A880-9121B7858937}"/>
              </a:ext>
            </a:extLst>
          </p:cNvPr>
          <p:cNvSpPr>
            <a:spLocks noGrp="1"/>
          </p:cNvSpPr>
          <p:nvPr>
            <p:custDataLst>
              <p:tags r:id="rId20"/>
            </p:custDataLst>
          </p:nvPr>
        </p:nvSpPr>
        <p:spPr bwMode="auto">
          <a:xfrm>
            <a:off x="9564688" y="3238538"/>
            <a:ext cx="5842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5" name="Text Placeholder 2">
            <a:extLst>
              <a:ext uri="{FF2B5EF4-FFF2-40B4-BE49-F238E27FC236}">
                <a16:creationId xmlns:a16="http://schemas.microsoft.com/office/drawing/2014/main" id="{424C8F66-3CAB-4CD4-B3BE-C88AE321C1E6}"/>
              </a:ext>
            </a:extLst>
          </p:cNvPr>
          <p:cNvSpPr>
            <a:spLocks noGrp="1"/>
          </p:cNvSpPr>
          <p:nvPr>
            <p:custDataLst>
              <p:tags r:id="rId21"/>
            </p:custDataLst>
          </p:nvPr>
        </p:nvSpPr>
        <p:spPr bwMode="auto">
          <a:xfrm>
            <a:off x="9564688" y="4187585"/>
            <a:ext cx="7445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6" name="Text Placeholder 2">
            <a:extLst>
              <a:ext uri="{FF2B5EF4-FFF2-40B4-BE49-F238E27FC236}">
                <a16:creationId xmlns:a16="http://schemas.microsoft.com/office/drawing/2014/main" id="{C4A1956C-9B83-4D6E-A96E-6FE4202278F6}"/>
              </a:ext>
            </a:extLst>
          </p:cNvPr>
          <p:cNvSpPr>
            <a:spLocks noGrp="1"/>
          </p:cNvSpPr>
          <p:nvPr>
            <p:custDataLst>
              <p:tags r:id="rId22"/>
            </p:custDataLst>
          </p:nvPr>
        </p:nvSpPr>
        <p:spPr bwMode="auto">
          <a:xfrm>
            <a:off x="9578411" y="4879127"/>
            <a:ext cx="208719" cy="1340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64" name="Text Placeholder 2">
            <a:extLst>
              <a:ext uri="{FF2B5EF4-FFF2-40B4-BE49-F238E27FC236}">
                <a16:creationId xmlns:a16="http://schemas.microsoft.com/office/drawing/2014/main" id="{14728550-0277-4EAD-8639-A4C8203F9537}"/>
              </a:ext>
            </a:extLst>
          </p:cNvPr>
          <p:cNvSpPr>
            <a:spLocks noGrp="1"/>
          </p:cNvSpPr>
          <p:nvPr>
            <p:custDataLst>
              <p:tags r:id="rId23"/>
            </p:custDataLst>
          </p:nvPr>
        </p:nvSpPr>
        <p:spPr bwMode="auto">
          <a:xfrm>
            <a:off x="9553767" y="3936924"/>
            <a:ext cx="349250" cy="15959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258" name="Text Placeholder 2">
            <a:extLst>
              <a:ext uri="{FF2B5EF4-FFF2-40B4-BE49-F238E27FC236}">
                <a16:creationId xmlns:a16="http://schemas.microsoft.com/office/drawing/2014/main" id="{914636D9-7B6C-474E-AB8D-D71BDB45AB65}"/>
              </a:ext>
            </a:extLst>
          </p:cNvPr>
          <p:cNvSpPr>
            <a:spLocks noGrp="1"/>
          </p:cNvSpPr>
          <p:nvPr>
            <p:custDataLst>
              <p:tags r:id="rId24"/>
            </p:custDataLst>
          </p:nvPr>
        </p:nvSpPr>
        <p:spPr bwMode="auto">
          <a:xfrm>
            <a:off x="9578411" y="2662239"/>
            <a:ext cx="2762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148" name="Text Placeholder 2">
            <a:extLst>
              <a:ext uri="{FF2B5EF4-FFF2-40B4-BE49-F238E27FC236}">
                <a16:creationId xmlns:a16="http://schemas.microsoft.com/office/drawing/2014/main" id="{424C8F66-3CAB-4CD4-B3BE-C88AE321C1E6}"/>
              </a:ext>
            </a:extLst>
          </p:cNvPr>
          <p:cNvSpPr>
            <a:spLocks noGrp="1"/>
          </p:cNvSpPr>
          <p:nvPr>
            <p:custDataLst>
              <p:tags r:id="rId25"/>
            </p:custDataLst>
          </p:nvPr>
        </p:nvSpPr>
        <p:spPr bwMode="auto">
          <a:xfrm>
            <a:off x="9570986" y="4400299"/>
            <a:ext cx="7445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grpSp>
        <p:nvGrpSpPr>
          <p:cNvPr id="280" name="Group 279">
            <a:extLst>
              <a:ext uri="{FF2B5EF4-FFF2-40B4-BE49-F238E27FC236}">
                <a16:creationId xmlns:a16="http://schemas.microsoft.com/office/drawing/2014/main" id="{9D56F73A-DAEE-499B-A9CB-1ADEDE9B40EF}"/>
              </a:ext>
            </a:extLst>
          </p:cNvPr>
          <p:cNvGrpSpPr/>
          <p:nvPr/>
        </p:nvGrpSpPr>
        <p:grpSpPr>
          <a:xfrm>
            <a:off x="7103471" y="935307"/>
            <a:ext cx="4602201" cy="5075073"/>
            <a:chOff x="6540005" y="907613"/>
            <a:chExt cx="4816238" cy="5075073"/>
          </a:xfrm>
          <a:solidFill>
            <a:schemeClr val="bg1">
              <a:lumMod val="85000"/>
            </a:schemeClr>
          </a:solidFill>
        </p:grpSpPr>
        <p:grpSp>
          <p:nvGrpSpPr>
            <p:cNvPr id="281" name="Group 280">
              <a:extLst>
                <a:ext uri="{FF2B5EF4-FFF2-40B4-BE49-F238E27FC236}">
                  <a16:creationId xmlns:a16="http://schemas.microsoft.com/office/drawing/2014/main" id="{5D580885-F403-4981-B9F9-5066D932F6A5}"/>
                </a:ext>
              </a:extLst>
            </p:cNvPr>
            <p:cNvGrpSpPr>
              <a:grpSpLocks/>
            </p:cNvGrpSpPr>
            <p:nvPr/>
          </p:nvGrpSpPr>
          <p:grpSpPr>
            <a:xfrm>
              <a:off x="6912521" y="907613"/>
              <a:ext cx="4427871" cy="509849"/>
              <a:chOff x="1897543" y="1341545"/>
              <a:chExt cx="9132528" cy="360644"/>
            </a:xfrm>
            <a:grpFill/>
          </p:grpSpPr>
          <p:sp>
            <p:nvSpPr>
              <p:cNvPr id="387" name="TextBox 386">
                <a:extLst>
                  <a:ext uri="{FF2B5EF4-FFF2-40B4-BE49-F238E27FC236}">
                    <a16:creationId xmlns:a16="http://schemas.microsoft.com/office/drawing/2014/main" id="{CF0A63E8-B6C8-4BC0-B4E9-CCE1C2F31E93}"/>
                  </a:ext>
                </a:extLst>
              </p:cNvPr>
              <p:cNvSpPr txBox="1">
                <a:spLocks/>
              </p:cNvSpPr>
              <p:nvPr/>
            </p:nvSpPr>
            <p:spPr>
              <a:xfrm>
                <a:off x="2138092" y="1341545"/>
                <a:ext cx="8891979" cy="285196"/>
              </a:xfrm>
              <a:prstGeom prst="rect">
                <a:avLst/>
              </a:prstGeom>
              <a:solidFill>
                <a:schemeClr val="bg1"/>
              </a:solidFill>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fontAlgn="base">
                  <a:spcBef>
                    <a:spcPct val="0"/>
                  </a:spcBef>
                  <a:spcAft>
                    <a:spcPct val="0"/>
                  </a:spcAft>
                  <a:buClr>
                    <a:srgbClr val="303D24"/>
                  </a:buClr>
                  <a:buFontTx/>
                  <a:buNone/>
                </a:pPr>
                <a:r>
                  <a:rPr lang="en-US" sz="1300" b="1" kern="1200" dirty="0">
                    <a:solidFill>
                      <a:srgbClr val="303D24"/>
                    </a:solidFill>
                    <a:ea typeface="+mn-ea"/>
                    <a:cs typeface="+mn-cs"/>
                    <a:sym typeface="MS London" panose="020B0503020203020204" pitchFamily="34" charset="0"/>
                  </a:rPr>
                  <a:t>Community</a:t>
                </a:r>
                <a:r>
                  <a:rPr lang="en-US" sz="1200" b="1" kern="1200" dirty="0">
                    <a:solidFill>
                      <a:srgbClr val="303D24"/>
                    </a:solidFill>
                    <a:ea typeface="+mn-ea"/>
                    <a:cs typeface="+mn-cs"/>
                    <a:sym typeface="MS London" panose="020B0503020203020204" pitchFamily="34" charset="0"/>
                  </a:rPr>
                  <a:t> Health Workers </a:t>
                </a:r>
              </a:p>
              <a:p>
                <a:pPr algn="ctr" fontAlgn="base">
                  <a:spcBef>
                    <a:spcPct val="0"/>
                  </a:spcBef>
                  <a:spcAft>
                    <a:spcPct val="0"/>
                  </a:spcAft>
                  <a:buClr>
                    <a:srgbClr val="303D24"/>
                  </a:buClr>
                  <a:buFontTx/>
                  <a:buNone/>
                </a:pPr>
                <a:r>
                  <a:rPr lang="en-US" sz="1200" b="1" kern="1200" dirty="0">
                    <a:solidFill>
                      <a:srgbClr val="303D24"/>
                    </a:solidFill>
                    <a:ea typeface="+mn-ea"/>
                    <a:cs typeface="+mn-cs"/>
                    <a:sym typeface="MS London" panose="020B0503020203020204" pitchFamily="34" charset="0"/>
                  </a:rPr>
                  <a:t>deployment by country</a:t>
                </a:r>
              </a:p>
            </p:txBody>
          </p:sp>
          <p:cxnSp>
            <p:nvCxnSpPr>
              <p:cNvPr id="388" name="Straight Connector 387">
                <a:extLst>
                  <a:ext uri="{FF2B5EF4-FFF2-40B4-BE49-F238E27FC236}">
                    <a16:creationId xmlns:a16="http://schemas.microsoft.com/office/drawing/2014/main" id="{31768DF4-558C-44AE-957A-8D035FC7281B}"/>
                  </a:ext>
                </a:extLst>
              </p:cNvPr>
              <p:cNvCxnSpPr>
                <a:cxnSpLocks/>
              </p:cNvCxnSpPr>
              <p:nvPr/>
            </p:nvCxnSpPr>
            <p:spPr>
              <a:xfrm flipV="1">
                <a:off x="1897543" y="1682174"/>
                <a:ext cx="9088990" cy="20015"/>
              </a:xfrm>
              <a:prstGeom prst="line">
                <a:avLst/>
              </a:prstGeom>
              <a:grpFill/>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82" name="Group 281">
              <a:extLst>
                <a:ext uri="{FF2B5EF4-FFF2-40B4-BE49-F238E27FC236}">
                  <a16:creationId xmlns:a16="http://schemas.microsoft.com/office/drawing/2014/main" id="{4C1E743A-CB9C-4F34-B20B-EE818934B70F}"/>
                </a:ext>
              </a:extLst>
            </p:cNvPr>
            <p:cNvGrpSpPr/>
            <p:nvPr/>
          </p:nvGrpSpPr>
          <p:grpSpPr>
            <a:xfrm>
              <a:off x="6540005" y="1439042"/>
              <a:ext cx="4816238" cy="4543644"/>
              <a:chOff x="5391671" y="1584580"/>
              <a:chExt cx="4816238" cy="4543644"/>
            </a:xfrm>
            <a:grpFill/>
          </p:grpSpPr>
          <p:grpSp>
            <p:nvGrpSpPr>
              <p:cNvPr id="283" name="Group 282">
                <a:extLst>
                  <a:ext uri="{FF2B5EF4-FFF2-40B4-BE49-F238E27FC236}">
                    <a16:creationId xmlns:a16="http://schemas.microsoft.com/office/drawing/2014/main" id="{179F10C3-B1C9-49E6-AFE0-44FF705409C0}"/>
                  </a:ext>
                </a:extLst>
              </p:cNvPr>
              <p:cNvGrpSpPr>
                <a:grpSpLocks/>
              </p:cNvGrpSpPr>
              <p:nvPr/>
            </p:nvGrpSpPr>
            <p:grpSpPr bwMode="gray">
              <a:xfrm>
                <a:off x="5391671" y="1584580"/>
                <a:ext cx="4816238" cy="4543644"/>
                <a:chOff x="2538413" y="434975"/>
                <a:chExt cx="6170612" cy="5821363"/>
              </a:xfrm>
              <a:grpFill/>
            </p:grpSpPr>
            <p:sp>
              <p:nvSpPr>
                <p:cNvPr id="330" name="Freeform 9">
                  <a:extLst>
                    <a:ext uri="{FF2B5EF4-FFF2-40B4-BE49-F238E27FC236}">
                      <a16:creationId xmlns:a16="http://schemas.microsoft.com/office/drawing/2014/main" id="{C09175E2-CCEB-46FC-BD5D-FB22CF2E1039}"/>
                    </a:ext>
                  </a:extLst>
                </p:cNvPr>
                <p:cNvSpPr>
                  <a:spLocks/>
                </p:cNvSpPr>
                <p:nvPr/>
              </p:nvSpPr>
              <p:spPr bwMode="gray">
                <a:xfrm>
                  <a:off x="3879850" y="469900"/>
                  <a:ext cx="1662112" cy="1458913"/>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solidFill>
                  <a:schemeClr val="bg2">
                    <a:lumMod val="8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          </a:t>
                  </a:r>
                </a:p>
                <a:p>
                  <a:pPr fontAlgn="base">
                    <a:spcBef>
                      <a:spcPct val="0"/>
                    </a:spcBef>
                    <a:spcAft>
                      <a:spcPct val="0"/>
                    </a:spcAft>
                    <a:buClrTx/>
                    <a:buFontTx/>
                    <a:buNone/>
                  </a:pPr>
                  <a:endParaRPr lang="en-US" sz="1100" kern="1200" dirty="0">
                    <a:latin typeface="Arial" charset="0"/>
                    <a:ea typeface="+mn-ea"/>
                    <a:cs typeface="+mn-cs"/>
                  </a:endParaRPr>
                </a:p>
                <a:p>
                  <a:pPr fontAlgn="base">
                    <a:spcBef>
                      <a:spcPct val="0"/>
                    </a:spcBef>
                    <a:spcAft>
                      <a:spcPct val="0"/>
                    </a:spcAft>
                    <a:buClrTx/>
                    <a:buFontTx/>
                    <a:buNone/>
                  </a:pPr>
                  <a:endParaRPr lang="en-US" sz="1100" kern="1200" dirty="0">
                    <a:latin typeface="Arial" charset="0"/>
                    <a:ea typeface="+mn-ea"/>
                    <a:cs typeface="+mn-cs"/>
                  </a:endParaRPr>
                </a:p>
                <a:p>
                  <a:pPr fontAlgn="base">
                    <a:spcBef>
                      <a:spcPct val="0"/>
                    </a:spcBef>
                    <a:spcAft>
                      <a:spcPct val="0"/>
                    </a:spcAft>
                    <a:buClrTx/>
                    <a:buFontTx/>
                    <a:buNone/>
                  </a:pPr>
                  <a:r>
                    <a:rPr lang="en-US" sz="1100" kern="1200" dirty="0">
                      <a:latin typeface="Arial" charset="0"/>
                      <a:ea typeface="+mn-ea"/>
                      <a:cs typeface="+mn-cs"/>
                    </a:rPr>
                    <a:t>           </a:t>
                  </a:r>
                </a:p>
              </p:txBody>
            </p:sp>
            <p:sp>
              <p:nvSpPr>
                <p:cNvPr id="331" name="Freeform 10">
                  <a:extLst>
                    <a:ext uri="{FF2B5EF4-FFF2-40B4-BE49-F238E27FC236}">
                      <a16:creationId xmlns:a16="http://schemas.microsoft.com/office/drawing/2014/main" id="{EEC3FD39-80AB-46EC-8E8C-F7DBD06FDE43}"/>
                    </a:ext>
                  </a:extLst>
                </p:cNvPr>
                <p:cNvSpPr>
                  <a:spLocks noEditPoints="1"/>
                </p:cNvSpPr>
                <p:nvPr/>
              </p:nvSpPr>
              <p:spPr bwMode="gray">
                <a:xfrm>
                  <a:off x="5514975" y="3805238"/>
                  <a:ext cx="998537" cy="1098550"/>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32" name="Freeform 11">
                  <a:extLst>
                    <a:ext uri="{FF2B5EF4-FFF2-40B4-BE49-F238E27FC236}">
                      <a16:creationId xmlns:a16="http://schemas.microsoft.com/office/drawing/2014/main" id="{FFF799F6-C045-491E-8291-7CD840A43425}"/>
                    </a:ext>
                  </a:extLst>
                </p:cNvPr>
                <p:cNvSpPr>
                  <a:spLocks noEditPoints="1"/>
                </p:cNvSpPr>
                <p:nvPr/>
              </p:nvSpPr>
              <p:spPr bwMode="gray">
                <a:xfrm>
                  <a:off x="2538413" y="2068513"/>
                  <a:ext cx="215900" cy="195263"/>
                </a:xfrm>
                <a:custGeom>
                  <a:avLst/>
                  <a:gdLst>
                    <a:gd name="T0" fmla="*/ 85 w 136"/>
                    <a:gd name="T1" fmla="*/ 99 h 123"/>
                    <a:gd name="T2" fmla="*/ 91 w 136"/>
                    <a:gd name="T3" fmla="*/ 106 h 123"/>
                    <a:gd name="T4" fmla="*/ 97 w 136"/>
                    <a:gd name="T5" fmla="*/ 111 h 123"/>
                    <a:gd name="T6" fmla="*/ 95 w 136"/>
                    <a:gd name="T7" fmla="*/ 117 h 123"/>
                    <a:gd name="T8" fmla="*/ 83 w 136"/>
                    <a:gd name="T9" fmla="*/ 112 h 123"/>
                    <a:gd name="T10" fmla="*/ 80 w 136"/>
                    <a:gd name="T11" fmla="*/ 104 h 123"/>
                    <a:gd name="T12" fmla="*/ 81 w 136"/>
                    <a:gd name="T13" fmla="*/ 97 h 123"/>
                    <a:gd name="T14" fmla="*/ 17 w 136"/>
                    <a:gd name="T15" fmla="*/ 2 h 123"/>
                    <a:gd name="T16" fmla="*/ 18 w 136"/>
                    <a:gd name="T17" fmla="*/ 9 h 123"/>
                    <a:gd name="T18" fmla="*/ 8 w 136"/>
                    <a:gd name="T19" fmla="*/ 15 h 123"/>
                    <a:gd name="T20" fmla="*/ 1 w 136"/>
                    <a:gd name="T21" fmla="*/ 14 h 123"/>
                    <a:gd name="T22" fmla="*/ 1 w 136"/>
                    <a:gd name="T23" fmla="*/ 7 h 123"/>
                    <a:gd name="T24" fmla="*/ 13 w 136"/>
                    <a:gd name="T25" fmla="*/ 0 h 123"/>
                    <a:gd name="T26" fmla="*/ 129 w 136"/>
                    <a:gd name="T27" fmla="*/ 51 h 123"/>
                    <a:gd name="T28" fmla="*/ 136 w 136"/>
                    <a:gd name="T29" fmla="*/ 54 h 123"/>
                    <a:gd name="T30" fmla="*/ 131 w 136"/>
                    <a:gd name="T31" fmla="*/ 63 h 123"/>
                    <a:gd name="T32" fmla="*/ 120 w 136"/>
                    <a:gd name="T33" fmla="*/ 61 h 123"/>
                    <a:gd name="T34" fmla="*/ 124 w 136"/>
                    <a:gd name="T35" fmla="*/ 53 h 123"/>
                    <a:gd name="T36" fmla="*/ 52 w 136"/>
                    <a:gd name="T37" fmla="*/ 111 h 123"/>
                    <a:gd name="T38" fmla="*/ 52 w 136"/>
                    <a:gd name="T39" fmla="*/ 121 h 123"/>
                    <a:gd name="T40" fmla="*/ 42 w 136"/>
                    <a:gd name="T41" fmla="*/ 116 h 123"/>
                    <a:gd name="T42" fmla="*/ 52 w 136"/>
                    <a:gd name="T43" fmla="*/ 111 h 123"/>
                    <a:gd name="T44" fmla="*/ 61 w 136"/>
                    <a:gd name="T45" fmla="*/ 31 h 123"/>
                    <a:gd name="T46" fmla="*/ 68 w 136"/>
                    <a:gd name="T47" fmla="*/ 34 h 123"/>
                    <a:gd name="T48" fmla="*/ 57 w 136"/>
                    <a:gd name="T49" fmla="*/ 32 h 123"/>
                    <a:gd name="T50" fmla="*/ 51 w 136"/>
                    <a:gd name="T51" fmla="*/ 32 h 123"/>
                    <a:gd name="T52" fmla="*/ 51 w 136"/>
                    <a:gd name="T53" fmla="*/ 27 h 123"/>
                    <a:gd name="T54" fmla="*/ 112 w 136"/>
                    <a:gd name="T55" fmla="*/ 95 h 123"/>
                    <a:gd name="T56" fmla="*/ 115 w 136"/>
                    <a:gd name="T57" fmla="*/ 102 h 123"/>
                    <a:gd name="T58" fmla="*/ 108 w 136"/>
                    <a:gd name="T59" fmla="*/ 106 h 123"/>
                    <a:gd name="T60" fmla="*/ 107 w 136"/>
                    <a:gd name="T61" fmla="*/ 99 h 123"/>
                    <a:gd name="T62" fmla="*/ 110 w 136"/>
                    <a:gd name="T63" fmla="*/ 95 h 123"/>
                    <a:gd name="T64" fmla="*/ 22 w 136"/>
                    <a:gd name="T65" fmla="*/ 17 h 123"/>
                    <a:gd name="T66" fmla="*/ 18 w 136"/>
                    <a:gd name="T67" fmla="*/ 22 h 123"/>
                    <a:gd name="T68" fmla="*/ 18 w 136"/>
                    <a:gd name="T69" fmla="*/ 17 h 123"/>
                    <a:gd name="T70" fmla="*/ 22 w 136"/>
                    <a:gd name="T71" fmla="*/ 15 h 123"/>
                    <a:gd name="T72" fmla="*/ 125 w 136"/>
                    <a:gd name="T73" fmla="*/ 22 h 123"/>
                    <a:gd name="T74" fmla="*/ 124 w 136"/>
                    <a:gd name="T75" fmla="*/ 29 h 123"/>
                    <a:gd name="T76" fmla="*/ 124 w 136"/>
                    <a:gd name="T77" fmla="*/ 32 h 123"/>
                    <a:gd name="T78" fmla="*/ 120 w 136"/>
                    <a:gd name="T79" fmla="*/ 26 h 123"/>
                    <a:gd name="T80" fmla="*/ 120 w 136"/>
                    <a:gd name="T81" fmla="*/ 20 h 123"/>
                    <a:gd name="T82" fmla="*/ 35 w 136"/>
                    <a:gd name="T83" fmla="*/ 121 h 123"/>
                    <a:gd name="T84" fmla="*/ 30 w 136"/>
                    <a:gd name="T85" fmla="*/ 119 h 123"/>
                    <a:gd name="T86" fmla="*/ 34 w 136"/>
                    <a:gd name="T87" fmla="*/ 117 h 123"/>
                    <a:gd name="T88" fmla="*/ 32 w 136"/>
                    <a:gd name="T89" fmla="*/ 24 h 123"/>
                    <a:gd name="T90" fmla="*/ 29 w 136"/>
                    <a:gd name="T91" fmla="*/ 22 h 123"/>
                    <a:gd name="T92" fmla="*/ 37 w 136"/>
                    <a:gd name="T93" fmla="*/ 31 h 123"/>
                    <a:gd name="T94" fmla="*/ 34 w 136"/>
                    <a:gd name="T95" fmla="*/ 27 h 123"/>
                    <a:gd name="T96" fmla="*/ 34 w 136"/>
                    <a:gd name="T97" fmla="*/ 29 h 123"/>
                    <a:gd name="T98" fmla="*/ 124 w 136"/>
                    <a:gd name="T99" fmla="*/ 53 h 123"/>
                    <a:gd name="T100" fmla="*/ 37 w 136"/>
                    <a:gd name="T10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23">
                      <a:moveTo>
                        <a:pt x="85" y="95"/>
                      </a:moveTo>
                      <a:lnTo>
                        <a:pt x="85" y="97"/>
                      </a:lnTo>
                      <a:lnTo>
                        <a:pt x="85" y="99"/>
                      </a:lnTo>
                      <a:lnTo>
                        <a:pt x="88" y="100"/>
                      </a:lnTo>
                      <a:lnTo>
                        <a:pt x="90" y="104"/>
                      </a:lnTo>
                      <a:lnTo>
                        <a:pt x="91" y="106"/>
                      </a:lnTo>
                      <a:lnTo>
                        <a:pt x="93" y="106"/>
                      </a:lnTo>
                      <a:lnTo>
                        <a:pt x="95" y="109"/>
                      </a:lnTo>
                      <a:lnTo>
                        <a:pt x="97" y="111"/>
                      </a:lnTo>
                      <a:lnTo>
                        <a:pt x="97" y="112"/>
                      </a:lnTo>
                      <a:lnTo>
                        <a:pt x="97" y="114"/>
                      </a:lnTo>
                      <a:lnTo>
                        <a:pt x="95" y="117"/>
                      </a:lnTo>
                      <a:lnTo>
                        <a:pt x="93" y="117"/>
                      </a:lnTo>
                      <a:lnTo>
                        <a:pt x="88" y="117"/>
                      </a:lnTo>
                      <a:lnTo>
                        <a:pt x="83" y="112"/>
                      </a:lnTo>
                      <a:lnTo>
                        <a:pt x="80" y="109"/>
                      </a:lnTo>
                      <a:lnTo>
                        <a:pt x="81" y="106"/>
                      </a:lnTo>
                      <a:lnTo>
                        <a:pt x="80" y="104"/>
                      </a:lnTo>
                      <a:lnTo>
                        <a:pt x="81" y="100"/>
                      </a:lnTo>
                      <a:lnTo>
                        <a:pt x="80" y="97"/>
                      </a:lnTo>
                      <a:lnTo>
                        <a:pt x="81" y="97"/>
                      </a:lnTo>
                      <a:lnTo>
                        <a:pt x="81" y="95"/>
                      </a:lnTo>
                      <a:lnTo>
                        <a:pt x="85" y="95"/>
                      </a:lnTo>
                      <a:close/>
                      <a:moveTo>
                        <a:pt x="17" y="2"/>
                      </a:moveTo>
                      <a:lnTo>
                        <a:pt x="18" y="5"/>
                      </a:lnTo>
                      <a:lnTo>
                        <a:pt x="20" y="5"/>
                      </a:lnTo>
                      <a:lnTo>
                        <a:pt x="18" y="9"/>
                      </a:lnTo>
                      <a:lnTo>
                        <a:pt x="15" y="10"/>
                      </a:lnTo>
                      <a:lnTo>
                        <a:pt x="13" y="10"/>
                      </a:lnTo>
                      <a:lnTo>
                        <a:pt x="8" y="15"/>
                      </a:lnTo>
                      <a:lnTo>
                        <a:pt x="5" y="15"/>
                      </a:lnTo>
                      <a:lnTo>
                        <a:pt x="3" y="15"/>
                      </a:lnTo>
                      <a:lnTo>
                        <a:pt x="1" y="14"/>
                      </a:lnTo>
                      <a:lnTo>
                        <a:pt x="1" y="10"/>
                      </a:lnTo>
                      <a:lnTo>
                        <a:pt x="0" y="9"/>
                      </a:lnTo>
                      <a:lnTo>
                        <a:pt x="1" y="7"/>
                      </a:lnTo>
                      <a:lnTo>
                        <a:pt x="5" y="5"/>
                      </a:lnTo>
                      <a:lnTo>
                        <a:pt x="8" y="3"/>
                      </a:lnTo>
                      <a:lnTo>
                        <a:pt x="13" y="0"/>
                      </a:lnTo>
                      <a:lnTo>
                        <a:pt x="17" y="2"/>
                      </a:lnTo>
                      <a:close/>
                      <a:moveTo>
                        <a:pt x="125" y="51"/>
                      </a:moveTo>
                      <a:lnTo>
                        <a:pt x="129" y="51"/>
                      </a:lnTo>
                      <a:lnTo>
                        <a:pt x="131" y="49"/>
                      </a:lnTo>
                      <a:lnTo>
                        <a:pt x="134" y="51"/>
                      </a:lnTo>
                      <a:lnTo>
                        <a:pt x="136" y="54"/>
                      </a:lnTo>
                      <a:lnTo>
                        <a:pt x="136" y="58"/>
                      </a:lnTo>
                      <a:lnTo>
                        <a:pt x="136" y="60"/>
                      </a:lnTo>
                      <a:lnTo>
                        <a:pt x="131" y="63"/>
                      </a:lnTo>
                      <a:lnTo>
                        <a:pt x="129" y="63"/>
                      </a:lnTo>
                      <a:lnTo>
                        <a:pt x="125" y="63"/>
                      </a:lnTo>
                      <a:lnTo>
                        <a:pt x="120" y="61"/>
                      </a:lnTo>
                      <a:lnTo>
                        <a:pt x="122" y="58"/>
                      </a:lnTo>
                      <a:lnTo>
                        <a:pt x="124" y="56"/>
                      </a:lnTo>
                      <a:lnTo>
                        <a:pt x="124" y="53"/>
                      </a:lnTo>
                      <a:lnTo>
                        <a:pt x="124" y="49"/>
                      </a:lnTo>
                      <a:lnTo>
                        <a:pt x="125" y="51"/>
                      </a:lnTo>
                      <a:close/>
                      <a:moveTo>
                        <a:pt x="52" y="111"/>
                      </a:moveTo>
                      <a:lnTo>
                        <a:pt x="54" y="112"/>
                      </a:lnTo>
                      <a:lnTo>
                        <a:pt x="54" y="119"/>
                      </a:lnTo>
                      <a:lnTo>
                        <a:pt x="52" y="121"/>
                      </a:lnTo>
                      <a:lnTo>
                        <a:pt x="49" y="123"/>
                      </a:lnTo>
                      <a:lnTo>
                        <a:pt x="44" y="119"/>
                      </a:lnTo>
                      <a:lnTo>
                        <a:pt x="42" y="116"/>
                      </a:lnTo>
                      <a:lnTo>
                        <a:pt x="44" y="112"/>
                      </a:lnTo>
                      <a:lnTo>
                        <a:pt x="49" y="111"/>
                      </a:lnTo>
                      <a:lnTo>
                        <a:pt x="52" y="111"/>
                      </a:lnTo>
                      <a:close/>
                      <a:moveTo>
                        <a:pt x="54" y="29"/>
                      </a:moveTo>
                      <a:lnTo>
                        <a:pt x="57" y="29"/>
                      </a:lnTo>
                      <a:lnTo>
                        <a:pt x="61" y="31"/>
                      </a:lnTo>
                      <a:lnTo>
                        <a:pt x="66" y="31"/>
                      </a:lnTo>
                      <a:lnTo>
                        <a:pt x="68" y="32"/>
                      </a:lnTo>
                      <a:lnTo>
                        <a:pt x="68" y="34"/>
                      </a:lnTo>
                      <a:lnTo>
                        <a:pt x="63" y="34"/>
                      </a:lnTo>
                      <a:lnTo>
                        <a:pt x="59" y="32"/>
                      </a:lnTo>
                      <a:lnTo>
                        <a:pt x="57" y="32"/>
                      </a:lnTo>
                      <a:lnTo>
                        <a:pt x="54" y="34"/>
                      </a:lnTo>
                      <a:lnTo>
                        <a:pt x="52" y="37"/>
                      </a:lnTo>
                      <a:lnTo>
                        <a:pt x="51" y="32"/>
                      </a:lnTo>
                      <a:lnTo>
                        <a:pt x="47" y="31"/>
                      </a:lnTo>
                      <a:lnTo>
                        <a:pt x="47" y="29"/>
                      </a:lnTo>
                      <a:lnTo>
                        <a:pt x="51" y="27"/>
                      </a:lnTo>
                      <a:lnTo>
                        <a:pt x="54" y="29"/>
                      </a:lnTo>
                      <a:close/>
                      <a:moveTo>
                        <a:pt x="110" y="95"/>
                      </a:moveTo>
                      <a:lnTo>
                        <a:pt x="112" y="95"/>
                      </a:lnTo>
                      <a:lnTo>
                        <a:pt x="112" y="97"/>
                      </a:lnTo>
                      <a:lnTo>
                        <a:pt x="114" y="97"/>
                      </a:lnTo>
                      <a:lnTo>
                        <a:pt x="115" y="102"/>
                      </a:lnTo>
                      <a:lnTo>
                        <a:pt x="115" y="104"/>
                      </a:lnTo>
                      <a:lnTo>
                        <a:pt x="112" y="107"/>
                      </a:lnTo>
                      <a:lnTo>
                        <a:pt x="108" y="106"/>
                      </a:lnTo>
                      <a:lnTo>
                        <a:pt x="107" y="104"/>
                      </a:lnTo>
                      <a:lnTo>
                        <a:pt x="108" y="100"/>
                      </a:lnTo>
                      <a:lnTo>
                        <a:pt x="107" y="99"/>
                      </a:lnTo>
                      <a:lnTo>
                        <a:pt x="108" y="97"/>
                      </a:lnTo>
                      <a:lnTo>
                        <a:pt x="110" y="97"/>
                      </a:lnTo>
                      <a:lnTo>
                        <a:pt x="110" y="95"/>
                      </a:lnTo>
                      <a:close/>
                      <a:moveTo>
                        <a:pt x="22" y="15"/>
                      </a:moveTo>
                      <a:lnTo>
                        <a:pt x="23" y="15"/>
                      </a:lnTo>
                      <a:lnTo>
                        <a:pt x="22" y="17"/>
                      </a:lnTo>
                      <a:lnTo>
                        <a:pt x="25" y="19"/>
                      </a:lnTo>
                      <a:lnTo>
                        <a:pt x="25" y="20"/>
                      </a:lnTo>
                      <a:lnTo>
                        <a:pt x="18" y="22"/>
                      </a:lnTo>
                      <a:lnTo>
                        <a:pt x="13" y="20"/>
                      </a:lnTo>
                      <a:lnTo>
                        <a:pt x="15" y="17"/>
                      </a:lnTo>
                      <a:lnTo>
                        <a:pt x="18" y="17"/>
                      </a:lnTo>
                      <a:lnTo>
                        <a:pt x="18" y="15"/>
                      </a:lnTo>
                      <a:lnTo>
                        <a:pt x="20" y="15"/>
                      </a:lnTo>
                      <a:lnTo>
                        <a:pt x="22" y="15"/>
                      </a:lnTo>
                      <a:close/>
                      <a:moveTo>
                        <a:pt x="125" y="19"/>
                      </a:moveTo>
                      <a:lnTo>
                        <a:pt x="124" y="20"/>
                      </a:lnTo>
                      <a:lnTo>
                        <a:pt x="125" y="22"/>
                      </a:lnTo>
                      <a:lnTo>
                        <a:pt x="124" y="24"/>
                      </a:lnTo>
                      <a:lnTo>
                        <a:pt x="125" y="27"/>
                      </a:lnTo>
                      <a:lnTo>
                        <a:pt x="124" y="29"/>
                      </a:lnTo>
                      <a:lnTo>
                        <a:pt x="125" y="32"/>
                      </a:lnTo>
                      <a:lnTo>
                        <a:pt x="124" y="31"/>
                      </a:lnTo>
                      <a:lnTo>
                        <a:pt x="124" y="32"/>
                      </a:lnTo>
                      <a:lnTo>
                        <a:pt x="122" y="29"/>
                      </a:lnTo>
                      <a:lnTo>
                        <a:pt x="122" y="27"/>
                      </a:lnTo>
                      <a:lnTo>
                        <a:pt x="120" y="26"/>
                      </a:lnTo>
                      <a:lnTo>
                        <a:pt x="120" y="24"/>
                      </a:lnTo>
                      <a:lnTo>
                        <a:pt x="119" y="22"/>
                      </a:lnTo>
                      <a:lnTo>
                        <a:pt x="120" y="20"/>
                      </a:lnTo>
                      <a:lnTo>
                        <a:pt x="124" y="19"/>
                      </a:lnTo>
                      <a:lnTo>
                        <a:pt x="125" y="19"/>
                      </a:lnTo>
                      <a:close/>
                      <a:moveTo>
                        <a:pt x="35" y="121"/>
                      </a:moveTo>
                      <a:lnTo>
                        <a:pt x="34" y="123"/>
                      </a:lnTo>
                      <a:lnTo>
                        <a:pt x="30" y="121"/>
                      </a:lnTo>
                      <a:lnTo>
                        <a:pt x="30" y="119"/>
                      </a:lnTo>
                      <a:lnTo>
                        <a:pt x="32" y="119"/>
                      </a:lnTo>
                      <a:lnTo>
                        <a:pt x="32" y="117"/>
                      </a:lnTo>
                      <a:lnTo>
                        <a:pt x="34" y="117"/>
                      </a:lnTo>
                      <a:lnTo>
                        <a:pt x="35" y="121"/>
                      </a:lnTo>
                      <a:close/>
                      <a:moveTo>
                        <a:pt x="30" y="22"/>
                      </a:moveTo>
                      <a:lnTo>
                        <a:pt x="32" y="24"/>
                      </a:lnTo>
                      <a:lnTo>
                        <a:pt x="34" y="24"/>
                      </a:lnTo>
                      <a:lnTo>
                        <a:pt x="30" y="24"/>
                      </a:lnTo>
                      <a:lnTo>
                        <a:pt x="29" y="22"/>
                      </a:lnTo>
                      <a:lnTo>
                        <a:pt x="29" y="20"/>
                      </a:lnTo>
                      <a:lnTo>
                        <a:pt x="30" y="22"/>
                      </a:lnTo>
                      <a:close/>
                      <a:moveTo>
                        <a:pt x="37" y="31"/>
                      </a:moveTo>
                      <a:lnTo>
                        <a:pt x="39" y="31"/>
                      </a:lnTo>
                      <a:lnTo>
                        <a:pt x="37" y="31"/>
                      </a:lnTo>
                      <a:close/>
                      <a:moveTo>
                        <a:pt x="34" y="27"/>
                      </a:moveTo>
                      <a:lnTo>
                        <a:pt x="35" y="27"/>
                      </a:lnTo>
                      <a:lnTo>
                        <a:pt x="35" y="29"/>
                      </a:lnTo>
                      <a:lnTo>
                        <a:pt x="34" y="29"/>
                      </a:lnTo>
                      <a:lnTo>
                        <a:pt x="34" y="27"/>
                      </a:lnTo>
                      <a:close/>
                      <a:moveTo>
                        <a:pt x="122" y="53"/>
                      </a:moveTo>
                      <a:lnTo>
                        <a:pt x="124" y="53"/>
                      </a:lnTo>
                      <a:lnTo>
                        <a:pt x="122" y="53"/>
                      </a:lnTo>
                      <a:close/>
                      <a:moveTo>
                        <a:pt x="35" y="114"/>
                      </a:moveTo>
                      <a:lnTo>
                        <a:pt x="37" y="114"/>
                      </a:lnTo>
                      <a:lnTo>
                        <a:pt x="35" y="114"/>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33" name="Freeform 12">
                  <a:extLst>
                    <a:ext uri="{FF2B5EF4-FFF2-40B4-BE49-F238E27FC236}">
                      <a16:creationId xmlns:a16="http://schemas.microsoft.com/office/drawing/2014/main" id="{EB617FB4-59FC-443D-8A1D-ADDC748B5BDE}"/>
                    </a:ext>
                  </a:extLst>
                </p:cNvPr>
                <p:cNvSpPr>
                  <a:spLocks/>
                </p:cNvSpPr>
                <p:nvPr/>
              </p:nvSpPr>
              <p:spPr bwMode="gray">
                <a:xfrm>
                  <a:off x="4640263" y="2454275"/>
                  <a:ext cx="246062" cy="496888"/>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34" name="Freeform 13">
                  <a:extLst>
                    <a:ext uri="{FF2B5EF4-FFF2-40B4-BE49-F238E27FC236}">
                      <a16:creationId xmlns:a16="http://schemas.microsoft.com/office/drawing/2014/main" id="{5D1DE9ED-6459-41DF-8F74-CB6637B9A4A1}"/>
                    </a:ext>
                  </a:extLst>
                </p:cNvPr>
                <p:cNvSpPr>
                  <a:spLocks/>
                </p:cNvSpPr>
                <p:nvPr/>
              </p:nvSpPr>
              <p:spPr bwMode="gray">
                <a:xfrm>
                  <a:off x="6183313" y="4884738"/>
                  <a:ext cx="754062" cy="731838"/>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35" name="Freeform 14">
                  <a:extLst>
                    <a:ext uri="{FF2B5EF4-FFF2-40B4-BE49-F238E27FC236}">
                      <a16:creationId xmlns:a16="http://schemas.microsoft.com/office/drawing/2014/main" id="{FE92BB6A-B904-41DA-A120-73ADE1E09BDA}"/>
                    </a:ext>
                  </a:extLst>
                </p:cNvPr>
                <p:cNvSpPr>
                  <a:spLocks/>
                </p:cNvSpPr>
                <p:nvPr/>
              </p:nvSpPr>
              <p:spPr bwMode="gray">
                <a:xfrm>
                  <a:off x="4154421" y="2251311"/>
                  <a:ext cx="598554" cy="425450"/>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solidFill>
                  <a:schemeClr val="accent2"/>
                </a:solidFill>
                <a:ln w="6350">
                  <a:solidFill>
                    <a:schemeClr val="accent1">
                      <a:lumMod val="75000"/>
                    </a:schemeClr>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000" kern="1200" dirty="0">
                      <a:latin typeface="Arial" charset="0"/>
                      <a:ea typeface="+mn-ea"/>
                      <a:cs typeface="+mn-cs"/>
                    </a:rPr>
                    <a:t> 220</a:t>
                  </a:r>
                </a:p>
              </p:txBody>
            </p:sp>
            <p:sp>
              <p:nvSpPr>
                <p:cNvPr id="336" name="Freeform 15">
                  <a:extLst>
                    <a:ext uri="{FF2B5EF4-FFF2-40B4-BE49-F238E27FC236}">
                      <a16:creationId xmlns:a16="http://schemas.microsoft.com/office/drawing/2014/main" id="{470C3519-6B06-41D5-ACF6-34E24EC970B5}"/>
                    </a:ext>
                  </a:extLst>
                </p:cNvPr>
                <p:cNvSpPr>
                  <a:spLocks/>
                </p:cNvSpPr>
                <p:nvPr/>
              </p:nvSpPr>
              <p:spPr bwMode="gray">
                <a:xfrm>
                  <a:off x="6907214" y="3640138"/>
                  <a:ext cx="147636" cy="173038"/>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37" name="Freeform 16">
                  <a:extLst>
                    <a:ext uri="{FF2B5EF4-FFF2-40B4-BE49-F238E27FC236}">
                      <a16:creationId xmlns:a16="http://schemas.microsoft.com/office/drawing/2014/main" id="{F99F3285-52F7-4025-9B85-7028E310916E}"/>
                    </a:ext>
                  </a:extLst>
                </p:cNvPr>
                <p:cNvSpPr>
                  <a:spLocks noEditPoints="1"/>
                </p:cNvSpPr>
                <p:nvPr/>
              </p:nvSpPr>
              <p:spPr bwMode="gray">
                <a:xfrm>
                  <a:off x="5268913" y="2400300"/>
                  <a:ext cx="609600" cy="920750"/>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38" name="Freeform 17">
                  <a:extLst>
                    <a:ext uri="{FF2B5EF4-FFF2-40B4-BE49-F238E27FC236}">
                      <a16:creationId xmlns:a16="http://schemas.microsoft.com/office/drawing/2014/main" id="{1C39A612-B7DB-443F-AEBC-F307FFB848AC}"/>
                    </a:ext>
                  </a:extLst>
                </p:cNvPr>
                <p:cNvSpPr>
                  <a:spLocks noEditPoints="1"/>
                </p:cNvSpPr>
                <p:nvPr/>
              </p:nvSpPr>
              <p:spPr bwMode="gray">
                <a:xfrm>
                  <a:off x="5260975" y="3065463"/>
                  <a:ext cx="15875" cy="26988"/>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39" name="Freeform 18">
                  <a:extLst>
                    <a:ext uri="{FF2B5EF4-FFF2-40B4-BE49-F238E27FC236}">
                      <a16:creationId xmlns:a16="http://schemas.microsoft.com/office/drawing/2014/main" id="{B4B88F04-B61D-469F-9948-14BBC970545B}"/>
                    </a:ext>
                  </a:extLst>
                </p:cNvPr>
                <p:cNvSpPr>
                  <a:spLocks/>
                </p:cNvSpPr>
                <p:nvPr/>
              </p:nvSpPr>
              <p:spPr bwMode="gray">
                <a:xfrm>
                  <a:off x="5735638" y="2568575"/>
                  <a:ext cx="1047750" cy="706438"/>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40" name="Freeform 19">
                  <a:extLst>
                    <a:ext uri="{FF2B5EF4-FFF2-40B4-BE49-F238E27FC236}">
                      <a16:creationId xmlns:a16="http://schemas.microsoft.com/office/drawing/2014/main" id="{813D6C98-AE44-4DE2-911D-9250B16DD650}"/>
                    </a:ext>
                  </a:extLst>
                </p:cNvPr>
                <p:cNvSpPr>
                  <a:spLocks/>
                </p:cNvSpPr>
                <p:nvPr/>
              </p:nvSpPr>
              <p:spPr bwMode="gray">
                <a:xfrm>
                  <a:off x="5667375" y="1549821"/>
                  <a:ext cx="808072" cy="1289412"/>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solidFill>
                  <a:schemeClr val="accent2"/>
                </a:solidFill>
                <a:ln w="6350">
                  <a:solidFill>
                    <a:srgbClr val="DED1B8"/>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a:p>
                  <a:pPr fontAlgn="base">
                    <a:spcBef>
                      <a:spcPct val="0"/>
                    </a:spcBef>
                    <a:spcAft>
                      <a:spcPct val="0"/>
                    </a:spcAft>
                    <a:buClrTx/>
                    <a:buFontTx/>
                    <a:buNone/>
                  </a:pPr>
                  <a:endParaRPr lang="en-US" sz="1200" b="1" kern="1200" dirty="0">
                    <a:solidFill>
                      <a:srgbClr val="FF0000"/>
                    </a:solidFill>
                    <a:latin typeface="Arial" charset="0"/>
                    <a:ea typeface="+mn-ea"/>
                    <a:cs typeface="+mn-cs"/>
                  </a:endParaRPr>
                </a:p>
                <a:p>
                  <a:pPr fontAlgn="base">
                    <a:spcBef>
                      <a:spcPct val="0"/>
                    </a:spcBef>
                    <a:spcAft>
                      <a:spcPct val="0"/>
                    </a:spcAft>
                    <a:buClrTx/>
                    <a:buFontTx/>
                    <a:buNone/>
                  </a:pPr>
                  <a:r>
                    <a:rPr lang="en-US" sz="1000" kern="1200" dirty="0">
                      <a:latin typeface="Arial" charset="0"/>
                      <a:ea typeface="+mn-ea"/>
                      <a:cs typeface="+mn-cs"/>
                    </a:rPr>
                    <a:t>  </a:t>
                  </a:r>
                </a:p>
                <a:p>
                  <a:pPr fontAlgn="base">
                    <a:spcBef>
                      <a:spcPct val="0"/>
                    </a:spcBef>
                    <a:spcAft>
                      <a:spcPct val="0"/>
                    </a:spcAft>
                    <a:buClrTx/>
                    <a:buFontTx/>
                    <a:buNone/>
                  </a:pPr>
                  <a:r>
                    <a:rPr lang="en-US" sz="1000" kern="1200" dirty="0">
                      <a:latin typeface="Arial" charset="0"/>
                      <a:ea typeface="+mn-ea"/>
                      <a:cs typeface="+mn-cs"/>
                    </a:rPr>
                    <a:t>  210</a:t>
                  </a:r>
                  <a:endParaRPr lang="en-US" sz="1000" kern="1200" dirty="0">
                    <a:solidFill>
                      <a:srgbClr val="FFFFFF"/>
                    </a:solidFill>
                    <a:latin typeface="Arial" charset="0"/>
                    <a:ea typeface="+mn-ea"/>
                    <a:cs typeface="+mn-cs"/>
                  </a:endParaRPr>
                </a:p>
              </p:txBody>
            </p:sp>
            <p:sp>
              <p:nvSpPr>
                <p:cNvPr id="341" name="Freeform 20">
                  <a:extLst>
                    <a:ext uri="{FF2B5EF4-FFF2-40B4-BE49-F238E27FC236}">
                      <a16:creationId xmlns:a16="http://schemas.microsoft.com/office/drawing/2014/main" id="{99C4F41E-BEEB-44C3-B449-B339A9C00C22}"/>
                    </a:ext>
                  </a:extLst>
                </p:cNvPr>
                <p:cNvSpPr>
                  <a:spLocks noEditPoints="1"/>
                </p:cNvSpPr>
                <p:nvPr/>
              </p:nvSpPr>
              <p:spPr bwMode="gray">
                <a:xfrm>
                  <a:off x="8051800" y="4367213"/>
                  <a:ext cx="104775" cy="85725"/>
                </a:xfrm>
                <a:custGeom>
                  <a:avLst/>
                  <a:gdLst>
                    <a:gd name="T0" fmla="*/ 8 w 66"/>
                    <a:gd name="T1" fmla="*/ 1 h 54"/>
                    <a:gd name="T2" fmla="*/ 10 w 66"/>
                    <a:gd name="T3" fmla="*/ 3 h 54"/>
                    <a:gd name="T4" fmla="*/ 8 w 66"/>
                    <a:gd name="T5" fmla="*/ 15 h 54"/>
                    <a:gd name="T6" fmla="*/ 12 w 66"/>
                    <a:gd name="T7" fmla="*/ 20 h 54"/>
                    <a:gd name="T8" fmla="*/ 12 w 66"/>
                    <a:gd name="T9" fmla="*/ 23 h 54"/>
                    <a:gd name="T10" fmla="*/ 15 w 66"/>
                    <a:gd name="T11" fmla="*/ 27 h 54"/>
                    <a:gd name="T12" fmla="*/ 13 w 66"/>
                    <a:gd name="T13" fmla="*/ 29 h 54"/>
                    <a:gd name="T14" fmla="*/ 12 w 66"/>
                    <a:gd name="T15" fmla="*/ 30 h 54"/>
                    <a:gd name="T16" fmla="*/ 10 w 66"/>
                    <a:gd name="T17" fmla="*/ 29 h 54"/>
                    <a:gd name="T18" fmla="*/ 8 w 66"/>
                    <a:gd name="T19" fmla="*/ 25 h 54"/>
                    <a:gd name="T20" fmla="*/ 3 w 66"/>
                    <a:gd name="T21" fmla="*/ 25 h 54"/>
                    <a:gd name="T22" fmla="*/ 0 w 66"/>
                    <a:gd name="T23" fmla="*/ 20 h 54"/>
                    <a:gd name="T24" fmla="*/ 0 w 66"/>
                    <a:gd name="T25" fmla="*/ 18 h 54"/>
                    <a:gd name="T26" fmla="*/ 1 w 66"/>
                    <a:gd name="T27" fmla="*/ 17 h 54"/>
                    <a:gd name="T28" fmla="*/ 1 w 66"/>
                    <a:gd name="T29" fmla="*/ 3 h 54"/>
                    <a:gd name="T30" fmla="*/ 3 w 66"/>
                    <a:gd name="T31" fmla="*/ 1 h 54"/>
                    <a:gd name="T32" fmla="*/ 6 w 66"/>
                    <a:gd name="T33" fmla="*/ 0 h 54"/>
                    <a:gd name="T34" fmla="*/ 8 w 66"/>
                    <a:gd name="T35" fmla="*/ 1 h 54"/>
                    <a:gd name="T36" fmla="*/ 66 w 66"/>
                    <a:gd name="T37" fmla="*/ 46 h 54"/>
                    <a:gd name="T38" fmla="*/ 66 w 66"/>
                    <a:gd name="T39" fmla="*/ 47 h 54"/>
                    <a:gd name="T40" fmla="*/ 66 w 66"/>
                    <a:gd name="T41" fmla="*/ 51 h 54"/>
                    <a:gd name="T42" fmla="*/ 66 w 66"/>
                    <a:gd name="T43" fmla="*/ 52 h 54"/>
                    <a:gd name="T44" fmla="*/ 64 w 66"/>
                    <a:gd name="T45" fmla="*/ 52 h 54"/>
                    <a:gd name="T46" fmla="*/ 64 w 66"/>
                    <a:gd name="T47" fmla="*/ 51 h 54"/>
                    <a:gd name="T48" fmla="*/ 59 w 66"/>
                    <a:gd name="T49" fmla="*/ 47 h 54"/>
                    <a:gd name="T50" fmla="*/ 59 w 66"/>
                    <a:gd name="T51" fmla="*/ 46 h 54"/>
                    <a:gd name="T52" fmla="*/ 56 w 66"/>
                    <a:gd name="T53" fmla="*/ 46 h 54"/>
                    <a:gd name="T54" fmla="*/ 49 w 66"/>
                    <a:gd name="T55" fmla="*/ 40 h 54"/>
                    <a:gd name="T56" fmla="*/ 54 w 66"/>
                    <a:gd name="T57" fmla="*/ 42 h 54"/>
                    <a:gd name="T58" fmla="*/ 57 w 66"/>
                    <a:gd name="T59" fmla="*/ 42 h 54"/>
                    <a:gd name="T60" fmla="*/ 61 w 66"/>
                    <a:gd name="T61" fmla="*/ 40 h 54"/>
                    <a:gd name="T62" fmla="*/ 61 w 66"/>
                    <a:gd name="T63" fmla="*/ 39 h 54"/>
                    <a:gd name="T64" fmla="*/ 61 w 66"/>
                    <a:gd name="T65" fmla="*/ 37 h 54"/>
                    <a:gd name="T66" fmla="*/ 63 w 66"/>
                    <a:gd name="T67" fmla="*/ 35 h 54"/>
                    <a:gd name="T68" fmla="*/ 64 w 66"/>
                    <a:gd name="T69" fmla="*/ 37 h 54"/>
                    <a:gd name="T70" fmla="*/ 64 w 66"/>
                    <a:gd name="T71" fmla="*/ 39 h 54"/>
                    <a:gd name="T72" fmla="*/ 66 w 66"/>
                    <a:gd name="T73" fmla="*/ 46 h 54"/>
                    <a:gd name="T74" fmla="*/ 25 w 66"/>
                    <a:gd name="T75" fmla="*/ 46 h 54"/>
                    <a:gd name="T76" fmla="*/ 32 w 66"/>
                    <a:gd name="T77" fmla="*/ 51 h 54"/>
                    <a:gd name="T78" fmla="*/ 32 w 66"/>
                    <a:gd name="T79" fmla="*/ 52 h 54"/>
                    <a:gd name="T80" fmla="*/ 29 w 66"/>
                    <a:gd name="T81" fmla="*/ 51 h 54"/>
                    <a:gd name="T82" fmla="*/ 27 w 66"/>
                    <a:gd name="T83" fmla="*/ 52 h 54"/>
                    <a:gd name="T84" fmla="*/ 27 w 66"/>
                    <a:gd name="T85" fmla="*/ 51 h 54"/>
                    <a:gd name="T86" fmla="*/ 22 w 66"/>
                    <a:gd name="T87" fmla="*/ 51 h 54"/>
                    <a:gd name="T88" fmla="*/ 22 w 66"/>
                    <a:gd name="T89" fmla="*/ 49 h 54"/>
                    <a:gd name="T90" fmla="*/ 20 w 66"/>
                    <a:gd name="T91" fmla="*/ 49 h 54"/>
                    <a:gd name="T92" fmla="*/ 20 w 66"/>
                    <a:gd name="T93" fmla="*/ 46 h 54"/>
                    <a:gd name="T94" fmla="*/ 22 w 66"/>
                    <a:gd name="T95" fmla="*/ 46 h 54"/>
                    <a:gd name="T96" fmla="*/ 25 w 66"/>
                    <a:gd name="T97" fmla="*/ 46 h 54"/>
                    <a:gd name="T98" fmla="*/ 22 w 66"/>
                    <a:gd name="T99" fmla="*/ 52 h 54"/>
                    <a:gd name="T100" fmla="*/ 22 w 66"/>
                    <a:gd name="T101" fmla="*/ 54 h 54"/>
                    <a:gd name="T102" fmla="*/ 22 w 66"/>
                    <a:gd name="T103" fmla="*/ 52 h 54"/>
                    <a:gd name="T104" fmla="*/ 23 w 66"/>
                    <a:gd name="T105" fmla="*/ 52 h 54"/>
                    <a:gd name="T106" fmla="*/ 25 w 66"/>
                    <a:gd name="T107" fmla="*/ 52 h 54"/>
                    <a:gd name="T108" fmla="*/ 25 w 66"/>
                    <a:gd name="T109" fmla="*/ 54 h 54"/>
                    <a:gd name="T110" fmla="*/ 23 w 66"/>
                    <a:gd name="T111" fmla="*/ 54 h 54"/>
                    <a:gd name="T112" fmla="*/ 23 w 66"/>
                    <a:gd name="T113" fmla="*/ 52 h 54"/>
                    <a:gd name="T114" fmla="*/ 25 w 66"/>
                    <a:gd name="T115" fmla="*/ 52 h 54"/>
                    <a:gd name="T116" fmla="*/ 25 w 66"/>
                    <a:gd name="T117" fmla="*/ 54 h 54"/>
                    <a:gd name="T118" fmla="*/ 25 w 66"/>
                    <a:gd name="T11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54">
                      <a:moveTo>
                        <a:pt x="8" y="1"/>
                      </a:moveTo>
                      <a:lnTo>
                        <a:pt x="10" y="3"/>
                      </a:lnTo>
                      <a:lnTo>
                        <a:pt x="8" y="15"/>
                      </a:lnTo>
                      <a:lnTo>
                        <a:pt x="12" y="20"/>
                      </a:lnTo>
                      <a:lnTo>
                        <a:pt x="12" y="23"/>
                      </a:lnTo>
                      <a:lnTo>
                        <a:pt x="15" y="27"/>
                      </a:lnTo>
                      <a:lnTo>
                        <a:pt x="13" y="29"/>
                      </a:lnTo>
                      <a:lnTo>
                        <a:pt x="12" y="30"/>
                      </a:lnTo>
                      <a:lnTo>
                        <a:pt x="10" y="29"/>
                      </a:lnTo>
                      <a:lnTo>
                        <a:pt x="8" y="25"/>
                      </a:lnTo>
                      <a:lnTo>
                        <a:pt x="3" y="25"/>
                      </a:lnTo>
                      <a:lnTo>
                        <a:pt x="0" y="20"/>
                      </a:lnTo>
                      <a:lnTo>
                        <a:pt x="0" y="18"/>
                      </a:lnTo>
                      <a:lnTo>
                        <a:pt x="1" y="17"/>
                      </a:lnTo>
                      <a:lnTo>
                        <a:pt x="1" y="3"/>
                      </a:lnTo>
                      <a:lnTo>
                        <a:pt x="3" y="1"/>
                      </a:lnTo>
                      <a:lnTo>
                        <a:pt x="6" y="0"/>
                      </a:lnTo>
                      <a:lnTo>
                        <a:pt x="8" y="1"/>
                      </a:lnTo>
                      <a:close/>
                      <a:moveTo>
                        <a:pt x="66" y="46"/>
                      </a:moveTo>
                      <a:lnTo>
                        <a:pt x="66" y="47"/>
                      </a:lnTo>
                      <a:lnTo>
                        <a:pt x="66" y="51"/>
                      </a:lnTo>
                      <a:lnTo>
                        <a:pt x="66" y="52"/>
                      </a:lnTo>
                      <a:lnTo>
                        <a:pt x="64" y="52"/>
                      </a:lnTo>
                      <a:lnTo>
                        <a:pt x="64" y="51"/>
                      </a:lnTo>
                      <a:lnTo>
                        <a:pt x="59" y="47"/>
                      </a:lnTo>
                      <a:lnTo>
                        <a:pt x="59" y="46"/>
                      </a:lnTo>
                      <a:lnTo>
                        <a:pt x="56" y="46"/>
                      </a:lnTo>
                      <a:lnTo>
                        <a:pt x="49" y="40"/>
                      </a:lnTo>
                      <a:lnTo>
                        <a:pt x="54" y="42"/>
                      </a:lnTo>
                      <a:lnTo>
                        <a:pt x="57" y="42"/>
                      </a:lnTo>
                      <a:lnTo>
                        <a:pt x="61" y="40"/>
                      </a:lnTo>
                      <a:lnTo>
                        <a:pt x="61" y="39"/>
                      </a:lnTo>
                      <a:lnTo>
                        <a:pt x="61" y="37"/>
                      </a:lnTo>
                      <a:lnTo>
                        <a:pt x="63" y="35"/>
                      </a:lnTo>
                      <a:lnTo>
                        <a:pt x="64" y="37"/>
                      </a:lnTo>
                      <a:lnTo>
                        <a:pt x="64" y="39"/>
                      </a:lnTo>
                      <a:lnTo>
                        <a:pt x="66" y="46"/>
                      </a:lnTo>
                      <a:close/>
                      <a:moveTo>
                        <a:pt x="25" y="46"/>
                      </a:moveTo>
                      <a:lnTo>
                        <a:pt x="32" y="51"/>
                      </a:lnTo>
                      <a:lnTo>
                        <a:pt x="32" y="52"/>
                      </a:lnTo>
                      <a:lnTo>
                        <a:pt x="29" y="51"/>
                      </a:lnTo>
                      <a:lnTo>
                        <a:pt x="27" y="52"/>
                      </a:lnTo>
                      <a:lnTo>
                        <a:pt x="27" y="51"/>
                      </a:lnTo>
                      <a:lnTo>
                        <a:pt x="22" y="51"/>
                      </a:lnTo>
                      <a:lnTo>
                        <a:pt x="22" y="49"/>
                      </a:lnTo>
                      <a:lnTo>
                        <a:pt x="20" y="49"/>
                      </a:lnTo>
                      <a:lnTo>
                        <a:pt x="20" y="46"/>
                      </a:lnTo>
                      <a:lnTo>
                        <a:pt x="22" y="46"/>
                      </a:lnTo>
                      <a:lnTo>
                        <a:pt x="25" y="46"/>
                      </a:lnTo>
                      <a:close/>
                      <a:moveTo>
                        <a:pt x="22" y="52"/>
                      </a:moveTo>
                      <a:lnTo>
                        <a:pt x="22" y="54"/>
                      </a:lnTo>
                      <a:lnTo>
                        <a:pt x="22" y="52"/>
                      </a:lnTo>
                      <a:close/>
                      <a:moveTo>
                        <a:pt x="23" y="52"/>
                      </a:moveTo>
                      <a:lnTo>
                        <a:pt x="25" y="52"/>
                      </a:lnTo>
                      <a:lnTo>
                        <a:pt x="25" y="54"/>
                      </a:lnTo>
                      <a:lnTo>
                        <a:pt x="23" y="54"/>
                      </a:lnTo>
                      <a:lnTo>
                        <a:pt x="23" y="52"/>
                      </a:lnTo>
                      <a:close/>
                      <a:moveTo>
                        <a:pt x="25" y="52"/>
                      </a:moveTo>
                      <a:lnTo>
                        <a:pt x="25" y="54"/>
                      </a:lnTo>
                      <a:lnTo>
                        <a:pt x="25" y="52"/>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42" name="Freeform 21">
                  <a:extLst>
                    <a:ext uri="{FF2B5EF4-FFF2-40B4-BE49-F238E27FC236}">
                      <a16:creationId xmlns:a16="http://schemas.microsoft.com/office/drawing/2014/main" id="{EA6AF1AC-84C2-42B5-921E-CC635D461506}"/>
                    </a:ext>
                  </a:extLst>
                </p:cNvPr>
                <p:cNvSpPr>
                  <a:spLocks/>
                </p:cNvSpPr>
                <p:nvPr/>
              </p:nvSpPr>
              <p:spPr bwMode="gray">
                <a:xfrm>
                  <a:off x="5470525" y="3154363"/>
                  <a:ext cx="604837" cy="704850"/>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43" name="Freeform 22">
                  <a:extLst>
                    <a:ext uri="{FF2B5EF4-FFF2-40B4-BE49-F238E27FC236}">
                      <a16:creationId xmlns:a16="http://schemas.microsoft.com/office/drawing/2014/main" id="{1A5B1834-4BE0-445E-A351-5376DE903655}"/>
                    </a:ext>
                  </a:extLst>
                </p:cNvPr>
                <p:cNvSpPr>
                  <a:spLocks noEditPoints="1"/>
                </p:cNvSpPr>
                <p:nvPr/>
              </p:nvSpPr>
              <p:spPr bwMode="gray">
                <a:xfrm>
                  <a:off x="5557838" y="3019425"/>
                  <a:ext cx="1538287" cy="1517650"/>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44" name="Freeform 23">
                  <a:extLst>
                    <a:ext uri="{FF2B5EF4-FFF2-40B4-BE49-F238E27FC236}">
                      <a16:creationId xmlns:a16="http://schemas.microsoft.com/office/drawing/2014/main" id="{6811F6EB-54C6-4EC0-84AE-78759422281B}"/>
                    </a:ext>
                  </a:extLst>
                </p:cNvPr>
                <p:cNvSpPr>
                  <a:spLocks noEditPoints="1"/>
                </p:cNvSpPr>
                <p:nvPr/>
              </p:nvSpPr>
              <p:spPr bwMode="gray">
                <a:xfrm>
                  <a:off x="7935913" y="2430463"/>
                  <a:ext cx="131762" cy="146050"/>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45" name="Freeform 24">
                  <a:extLst>
                    <a:ext uri="{FF2B5EF4-FFF2-40B4-BE49-F238E27FC236}">
                      <a16:creationId xmlns:a16="http://schemas.microsoft.com/office/drawing/2014/main" id="{556DF651-F99B-4916-B943-7A48BA47E73C}"/>
                    </a:ext>
                  </a:extLst>
                </p:cNvPr>
                <p:cNvSpPr>
                  <a:spLocks noEditPoints="1"/>
                </p:cNvSpPr>
                <p:nvPr/>
              </p:nvSpPr>
              <p:spPr bwMode="gray">
                <a:xfrm>
                  <a:off x="6561138" y="904875"/>
                  <a:ext cx="979487" cy="781050"/>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   </a:t>
                  </a:r>
                </a:p>
                <a:p>
                  <a:pPr fontAlgn="base">
                    <a:spcBef>
                      <a:spcPct val="0"/>
                    </a:spcBef>
                    <a:spcAft>
                      <a:spcPct val="0"/>
                    </a:spcAft>
                    <a:buClrTx/>
                    <a:buFontTx/>
                    <a:buNone/>
                  </a:pPr>
                  <a:r>
                    <a:rPr lang="en-US" sz="1100" kern="1200" dirty="0">
                      <a:latin typeface="Arial" charset="0"/>
                      <a:ea typeface="+mn-ea"/>
                      <a:cs typeface="+mn-cs"/>
                    </a:rPr>
                    <a:t>  200</a:t>
                  </a:r>
                </a:p>
              </p:txBody>
            </p:sp>
            <p:sp>
              <p:nvSpPr>
                <p:cNvPr id="346" name="Freeform 25">
                  <a:extLst>
                    <a:ext uri="{FF2B5EF4-FFF2-40B4-BE49-F238E27FC236}">
                      <a16:creationId xmlns:a16="http://schemas.microsoft.com/office/drawing/2014/main" id="{C31F6B6D-CF1B-439B-A054-E908C708E097}"/>
                    </a:ext>
                  </a:extLst>
                </p:cNvPr>
                <p:cNvSpPr>
                  <a:spLocks noEditPoints="1"/>
                </p:cNvSpPr>
                <p:nvPr/>
              </p:nvSpPr>
              <p:spPr bwMode="gray">
                <a:xfrm>
                  <a:off x="5026025" y="3148013"/>
                  <a:ext cx="463550" cy="425450"/>
                </a:xfrm>
                <a:custGeom>
                  <a:avLst/>
                  <a:gdLst>
                    <a:gd name="T0" fmla="*/ 216 w 292"/>
                    <a:gd name="T1" fmla="*/ 79 h 268"/>
                    <a:gd name="T2" fmla="*/ 218 w 292"/>
                    <a:gd name="T3" fmla="*/ 80 h 268"/>
                    <a:gd name="T4" fmla="*/ 224 w 292"/>
                    <a:gd name="T5" fmla="*/ 82 h 268"/>
                    <a:gd name="T6" fmla="*/ 229 w 292"/>
                    <a:gd name="T7" fmla="*/ 84 h 268"/>
                    <a:gd name="T8" fmla="*/ 233 w 292"/>
                    <a:gd name="T9" fmla="*/ 84 h 268"/>
                    <a:gd name="T10" fmla="*/ 243 w 292"/>
                    <a:gd name="T11" fmla="*/ 82 h 268"/>
                    <a:gd name="T12" fmla="*/ 292 w 292"/>
                    <a:gd name="T13" fmla="*/ 82 h 268"/>
                    <a:gd name="T14" fmla="*/ 291 w 292"/>
                    <a:gd name="T15" fmla="*/ 104 h 268"/>
                    <a:gd name="T16" fmla="*/ 291 w 292"/>
                    <a:gd name="T17" fmla="*/ 142 h 268"/>
                    <a:gd name="T18" fmla="*/ 262 w 292"/>
                    <a:gd name="T19" fmla="*/ 142 h 268"/>
                    <a:gd name="T20" fmla="*/ 223 w 292"/>
                    <a:gd name="T21" fmla="*/ 142 h 268"/>
                    <a:gd name="T22" fmla="*/ 223 w 292"/>
                    <a:gd name="T23" fmla="*/ 145 h 268"/>
                    <a:gd name="T24" fmla="*/ 218 w 292"/>
                    <a:gd name="T25" fmla="*/ 145 h 268"/>
                    <a:gd name="T26" fmla="*/ 216 w 292"/>
                    <a:gd name="T27" fmla="*/ 142 h 268"/>
                    <a:gd name="T28" fmla="*/ 212 w 292"/>
                    <a:gd name="T29" fmla="*/ 138 h 268"/>
                    <a:gd name="T30" fmla="*/ 211 w 292"/>
                    <a:gd name="T31" fmla="*/ 137 h 268"/>
                    <a:gd name="T32" fmla="*/ 207 w 292"/>
                    <a:gd name="T33" fmla="*/ 135 h 268"/>
                    <a:gd name="T34" fmla="*/ 207 w 292"/>
                    <a:gd name="T35" fmla="*/ 137 h 268"/>
                    <a:gd name="T36" fmla="*/ 202 w 292"/>
                    <a:gd name="T37" fmla="*/ 140 h 268"/>
                    <a:gd name="T38" fmla="*/ 197 w 292"/>
                    <a:gd name="T39" fmla="*/ 135 h 268"/>
                    <a:gd name="T40" fmla="*/ 192 w 292"/>
                    <a:gd name="T41" fmla="*/ 137 h 268"/>
                    <a:gd name="T42" fmla="*/ 192 w 292"/>
                    <a:gd name="T43" fmla="*/ 133 h 268"/>
                    <a:gd name="T44" fmla="*/ 194 w 292"/>
                    <a:gd name="T45" fmla="*/ 128 h 268"/>
                    <a:gd name="T46" fmla="*/ 196 w 292"/>
                    <a:gd name="T47" fmla="*/ 121 h 268"/>
                    <a:gd name="T48" fmla="*/ 202 w 292"/>
                    <a:gd name="T49" fmla="*/ 113 h 268"/>
                    <a:gd name="T50" fmla="*/ 204 w 292"/>
                    <a:gd name="T51" fmla="*/ 111 h 268"/>
                    <a:gd name="T52" fmla="*/ 209 w 292"/>
                    <a:gd name="T53" fmla="*/ 103 h 268"/>
                    <a:gd name="T54" fmla="*/ 214 w 292"/>
                    <a:gd name="T55" fmla="*/ 96 h 268"/>
                    <a:gd name="T56" fmla="*/ 211 w 292"/>
                    <a:gd name="T57" fmla="*/ 87 h 268"/>
                    <a:gd name="T58" fmla="*/ 212 w 292"/>
                    <a:gd name="T59" fmla="*/ 75 h 268"/>
                    <a:gd name="T60" fmla="*/ 158 w 292"/>
                    <a:gd name="T61" fmla="*/ 0 h 268"/>
                    <a:gd name="T62" fmla="*/ 165 w 292"/>
                    <a:gd name="T63" fmla="*/ 2 h 268"/>
                    <a:gd name="T64" fmla="*/ 168 w 292"/>
                    <a:gd name="T65" fmla="*/ 2 h 268"/>
                    <a:gd name="T66" fmla="*/ 168 w 292"/>
                    <a:gd name="T67" fmla="*/ 9 h 268"/>
                    <a:gd name="T68" fmla="*/ 163 w 292"/>
                    <a:gd name="T69" fmla="*/ 17 h 268"/>
                    <a:gd name="T70" fmla="*/ 162 w 292"/>
                    <a:gd name="T71" fmla="*/ 21 h 268"/>
                    <a:gd name="T72" fmla="*/ 156 w 292"/>
                    <a:gd name="T73" fmla="*/ 29 h 268"/>
                    <a:gd name="T74" fmla="*/ 150 w 292"/>
                    <a:gd name="T75" fmla="*/ 28 h 268"/>
                    <a:gd name="T76" fmla="*/ 143 w 292"/>
                    <a:gd name="T77" fmla="*/ 23 h 268"/>
                    <a:gd name="T78" fmla="*/ 146 w 292"/>
                    <a:gd name="T79" fmla="*/ 16 h 268"/>
                    <a:gd name="T80" fmla="*/ 151 w 292"/>
                    <a:gd name="T81" fmla="*/ 16 h 268"/>
                    <a:gd name="T82" fmla="*/ 153 w 292"/>
                    <a:gd name="T83" fmla="*/ 12 h 268"/>
                    <a:gd name="T84" fmla="*/ 156 w 292"/>
                    <a:gd name="T85" fmla="*/ 0 h 268"/>
                    <a:gd name="T86" fmla="*/ 0 w 292"/>
                    <a:gd name="T87" fmla="*/ 264 h 268"/>
                    <a:gd name="T88" fmla="*/ 3 w 292"/>
                    <a:gd name="T89" fmla="*/ 268 h 268"/>
                    <a:gd name="T90" fmla="*/ 0 w 292"/>
                    <a:gd name="T91" fmla="*/ 264 h 268"/>
                    <a:gd name="T92" fmla="*/ 190 w 292"/>
                    <a:gd name="T93" fmla="*/ 145 h 268"/>
                    <a:gd name="T94" fmla="*/ 189 w 292"/>
                    <a:gd name="T95" fmla="*/ 147 h 268"/>
                    <a:gd name="T96" fmla="*/ 211 w 292"/>
                    <a:gd name="T97" fmla="*/ 138 h 268"/>
                    <a:gd name="T98" fmla="*/ 212 w 292"/>
                    <a:gd name="T99" fmla="*/ 140 h 268"/>
                    <a:gd name="T100" fmla="*/ 211 w 292"/>
                    <a:gd name="T101" fmla="*/ 138 h 268"/>
                    <a:gd name="T102" fmla="*/ 199 w 292"/>
                    <a:gd name="T103" fmla="*/ 142 h 268"/>
                    <a:gd name="T104" fmla="*/ 197 w 292"/>
                    <a:gd name="T105"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68">
                      <a:moveTo>
                        <a:pt x="214" y="74"/>
                      </a:moveTo>
                      <a:lnTo>
                        <a:pt x="216" y="79"/>
                      </a:lnTo>
                      <a:lnTo>
                        <a:pt x="218" y="79"/>
                      </a:lnTo>
                      <a:lnTo>
                        <a:pt x="218" y="80"/>
                      </a:lnTo>
                      <a:lnTo>
                        <a:pt x="219" y="80"/>
                      </a:lnTo>
                      <a:lnTo>
                        <a:pt x="224" y="82"/>
                      </a:lnTo>
                      <a:lnTo>
                        <a:pt x="226" y="82"/>
                      </a:lnTo>
                      <a:lnTo>
                        <a:pt x="229" y="84"/>
                      </a:lnTo>
                      <a:lnTo>
                        <a:pt x="231" y="82"/>
                      </a:lnTo>
                      <a:lnTo>
                        <a:pt x="233" y="84"/>
                      </a:lnTo>
                      <a:lnTo>
                        <a:pt x="233" y="82"/>
                      </a:lnTo>
                      <a:lnTo>
                        <a:pt x="243" y="82"/>
                      </a:lnTo>
                      <a:lnTo>
                        <a:pt x="282" y="82"/>
                      </a:lnTo>
                      <a:lnTo>
                        <a:pt x="292" y="82"/>
                      </a:lnTo>
                      <a:lnTo>
                        <a:pt x="291" y="86"/>
                      </a:lnTo>
                      <a:lnTo>
                        <a:pt x="291" y="104"/>
                      </a:lnTo>
                      <a:lnTo>
                        <a:pt x="291" y="118"/>
                      </a:lnTo>
                      <a:lnTo>
                        <a:pt x="291" y="142"/>
                      </a:lnTo>
                      <a:lnTo>
                        <a:pt x="272" y="142"/>
                      </a:lnTo>
                      <a:lnTo>
                        <a:pt x="262" y="142"/>
                      </a:lnTo>
                      <a:lnTo>
                        <a:pt x="245" y="142"/>
                      </a:lnTo>
                      <a:lnTo>
                        <a:pt x="223" y="142"/>
                      </a:lnTo>
                      <a:lnTo>
                        <a:pt x="223" y="143"/>
                      </a:lnTo>
                      <a:lnTo>
                        <a:pt x="223" y="145"/>
                      </a:lnTo>
                      <a:lnTo>
                        <a:pt x="221" y="145"/>
                      </a:lnTo>
                      <a:lnTo>
                        <a:pt x="218" y="145"/>
                      </a:lnTo>
                      <a:lnTo>
                        <a:pt x="218" y="142"/>
                      </a:lnTo>
                      <a:lnTo>
                        <a:pt x="216" y="142"/>
                      </a:lnTo>
                      <a:lnTo>
                        <a:pt x="212" y="142"/>
                      </a:lnTo>
                      <a:lnTo>
                        <a:pt x="212" y="138"/>
                      </a:lnTo>
                      <a:lnTo>
                        <a:pt x="214" y="138"/>
                      </a:lnTo>
                      <a:lnTo>
                        <a:pt x="211" y="137"/>
                      </a:lnTo>
                      <a:lnTo>
                        <a:pt x="207" y="138"/>
                      </a:lnTo>
                      <a:lnTo>
                        <a:pt x="207" y="135"/>
                      </a:lnTo>
                      <a:lnTo>
                        <a:pt x="209" y="135"/>
                      </a:lnTo>
                      <a:lnTo>
                        <a:pt x="207" y="137"/>
                      </a:lnTo>
                      <a:lnTo>
                        <a:pt x="206" y="138"/>
                      </a:lnTo>
                      <a:lnTo>
                        <a:pt x="202" y="140"/>
                      </a:lnTo>
                      <a:lnTo>
                        <a:pt x="199" y="135"/>
                      </a:lnTo>
                      <a:lnTo>
                        <a:pt x="197" y="135"/>
                      </a:lnTo>
                      <a:lnTo>
                        <a:pt x="194" y="137"/>
                      </a:lnTo>
                      <a:lnTo>
                        <a:pt x="192" y="137"/>
                      </a:lnTo>
                      <a:lnTo>
                        <a:pt x="190" y="133"/>
                      </a:lnTo>
                      <a:lnTo>
                        <a:pt x="192" y="133"/>
                      </a:lnTo>
                      <a:lnTo>
                        <a:pt x="192" y="128"/>
                      </a:lnTo>
                      <a:lnTo>
                        <a:pt x="194" y="128"/>
                      </a:lnTo>
                      <a:lnTo>
                        <a:pt x="196" y="125"/>
                      </a:lnTo>
                      <a:lnTo>
                        <a:pt x="196" y="121"/>
                      </a:lnTo>
                      <a:lnTo>
                        <a:pt x="201" y="118"/>
                      </a:lnTo>
                      <a:lnTo>
                        <a:pt x="202" y="113"/>
                      </a:lnTo>
                      <a:lnTo>
                        <a:pt x="204" y="113"/>
                      </a:lnTo>
                      <a:lnTo>
                        <a:pt x="204" y="111"/>
                      </a:lnTo>
                      <a:lnTo>
                        <a:pt x="204" y="108"/>
                      </a:lnTo>
                      <a:lnTo>
                        <a:pt x="209" y="103"/>
                      </a:lnTo>
                      <a:lnTo>
                        <a:pt x="211" y="99"/>
                      </a:lnTo>
                      <a:lnTo>
                        <a:pt x="214" y="96"/>
                      </a:lnTo>
                      <a:lnTo>
                        <a:pt x="214" y="94"/>
                      </a:lnTo>
                      <a:lnTo>
                        <a:pt x="211" y="87"/>
                      </a:lnTo>
                      <a:lnTo>
                        <a:pt x="212" y="82"/>
                      </a:lnTo>
                      <a:lnTo>
                        <a:pt x="212" y="75"/>
                      </a:lnTo>
                      <a:lnTo>
                        <a:pt x="214" y="74"/>
                      </a:lnTo>
                      <a:close/>
                      <a:moveTo>
                        <a:pt x="158" y="0"/>
                      </a:moveTo>
                      <a:lnTo>
                        <a:pt x="160" y="2"/>
                      </a:lnTo>
                      <a:lnTo>
                        <a:pt x="165" y="2"/>
                      </a:lnTo>
                      <a:lnTo>
                        <a:pt x="167" y="2"/>
                      </a:lnTo>
                      <a:lnTo>
                        <a:pt x="168" y="2"/>
                      </a:lnTo>
                      <a:lnTo>
                        <a:pt x="170" y="4"/>
                      </a:lnTo>
                      <a:lnTo>
                        <a:pt x="168" y="9"/>
                      </a:lnTo>
                      <a:lnTo>
                        <a:pt x="165" y="12"/>
                      </a:lnTo>
                      <a:lnTo>
                        <a:pt x="163" y="17"/>
                      </a:lnTo>
                      <a:lnTo>
                        <a:pt x="163" y="19"/>
                      </a:lnTo>
                      <a:lnTo>
                        <a:pt x="162" y="21"/>
                      </a:lnTo>
                      <a:lnTo>
                        <a:pt x="162" y="24"/>
                      </a:lnTo>
                      <a:lnTo>
                        <a:pt x="156" y="29"/>
                      </a:lnTo>
                      <a:lnTo>
                        <a:pt x="151" y="28"/>
                      </a:lnTo>
                      <a:lnTo>
                        <a:pt x="150" y="28"/>
                      </a:lnTo>
                      <a:lnTo>
                        <a:pt x="145" y="26"/>
                      </a:lnTo>
                      <a:lnTo>
                        <a:pt x="143" y="23"/>
                      </a:lnTo>
                      <a:lnTo>
                        <a:pt x="145" y="19"/>
                      </a:lnTo>
                      <a:lnTo>
                        <a:pt x="146" y="16"/>
                      </a:lnTo>
                      <a:lnTo>
                        <a:pt x="151" y="17"/>
                      </a:lnTo>
                      <a:lnTo>
                        <a:pt x="151" y="16"/>
                      </a:lnTo>
                      <a:lnTo>
                        <a:pt x="151" y="14"/>
                      </a:lnTo>
                      <a:lnTo>
                        <a:pt x="153" y="12"/>
                      </a:lnTo>
                      <a:lnTo>
                        <a:pt x="153" y="7"/>
                      </a:lnTo>
                      <a:lnTo>
                        <a:pt x="156" y="0"/>
                      </a:lnTo>
                      <a:lnTo>
                        <a:pt x="158" y="0"/>
                      </a:lnTo>
                      <a:close/>
                      <a:moveTo>
                        <a:pt x="0" y="264"/>
                      </a:moveTo>
                      <a:lnTo>
                        <a:pt x="3" y="264"/>
                      </a:lnTo>
                      <a:lnTo>
                        <a:pt x="3" y="268"/>
                      </a:lnTo>
                      <a:lnTo>
                        <a:pt x="0" y="268"/>
                      </a:lnTo>
                      <a:lnTo>
                        <a:pt x="0" y="264"/>
                      </a:lnTo>
                      <a:close/>
                      <a:moveTo>
                        <a:pt x="189" y="145"/>
                      </a:moveTo>
                      <a:lnTo>
                        <a:pt x="190" y="145"/>
                      </a:lnTo>
                      <a:lnTo>
                        <a:pt x="190" y="147"/>
                      </a:lnTo>
                      <a:lnTo>
                        <a:pt x="189" y="147"/>
                      </a:lnTo>
                      <a:lnTo>
                        <a:pt x="189" y="145"/>
                      </a:lnTo>
                      <a:close/>
                      <a:moveTo>
                        <a:pt x="211" y="138"/>
                      </a:moveTo>
                      <a:lnTo>
                        <a:pt x="212" y="138"/>
                      </a:lnTo>
                      <a:lnTo>
                        <a:pt x="212" y="140"/>
                      </a:lnTo>
                      <a:lnTo>
                        <a:pt x="211" y="140"/>
                      </a:lnTo>
                      <a:lnTo>
                        <a:pt x="211" y="138"/>
                      </a:lnTo>
                      <a:close/>
                      <a:moveTo>
                        <a:pt x="197" y="142"/>
                      </a:moveTo>
                      <a:lnTo>
                        <a:pt x="199" y="142"/>
                      </a:lnTo>
                      <a:lnTo>
                        <a:pt x="199" y="143"/>
                      </a:lnTo>
                      <a:lnTo>
                        <a:pt x="197" y="143"/>
                      </a:lnTo>
                      <a:lnTo>
                        <a:pt x="197" y="142"/>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47" name="Freeform 26">
                  <a:extLst>
                    <a:ext uri="{FF2B5EF4-FFF2-40B4-BE49-F238E27FC236}">
                      <a16:creationId xmlns:a16="http://schemas.microsoft.com/office/drawing/2014/main" id="{1D970787-1E1A-4EF3-8563-D7C6BC76396C}"/>
                    </a:ext>
                  </a:extLst>
                </p:cNvPr>
                <p:cNvSpPr>
                  <a:spLocks noEditPoints="1"/>
                </p:cNvSpPr>
                <p:nvPr/>
              </p:nvSpPr>
              <p:spPr bwMode="gray">
                <a:xfrm>
                  <a:off x="7505700" y="2006600"/>
                  <a:ext cx="538162" cy="454025"/>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48" name="Freeform 27">
                  <a:extLst>
                    <a:ext uri="{FF2B5EF4-FFF2-40B4-BE49-F238E27FC236}">
                      <a16:creationId xmlns:a16="http://schemas.microsoft.com/office/drawing/2014/main" id="{53B29F12-3D56-4CD0-8A44-B07DBBA037AC}"/>
                    </a:ext>
                  </a:extLst>
                </p:cNvPr>
                <p:cNvSpPr>
                  <a:spLocks/>
                </p:cNvSpPr>
                <p:nvPr/>
              </p:nvSpPr>
              <p:spPr bwMode="gray">
                <a:xfrm>
                  <a:off x="7227888" y="2254250"/>
                  <a:ext cx="1206500" cy="927100"/>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49" name="Freeform 28">
                  <a:extLst>
                    <a:ext uri="{FF2B5EF4-FFF2-40B4-BE49-F238E27FC236}">
                      <a16:creationId xmlns:a16="http://schemas.microsoft.com/office/drawing/2014/main" id="{70E06474-6201-4DF4-87FF-6E44549947CB}"/>
                    </a:ext>
                  </a:extLst>
                </p:cNvPr>
                <p:cNvSpPr>
                  <a:spLocks noEditPoints="1"/>
                </p:cNvSpPr>
                <p:nvPr/>
              </p:nvSpPr>
              <p:spPr bwMode="gray">
                <a:xfrm>
                  <a:off x="5276850" y="3267075"/>
                  <a:ext cx="466725" cy="504825"/>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50" name="Freeform 29">
                  <a:extLst>
                    <a:ext uri="{FF2B5EF4-FFF2-40B4-BE49-F238E27FC236}">
                      <a16:creationId xmlns:a16="http://schemas.microsoft.com/office/drawing/2014/main" id="{331D3D4A-4810-437A-8113-87445703165A}"/>
                    </a:ext>
                  </a:extLst>
                </p:cNvPr>
                <p:cNvSpPr>
                  <a:spLocks/>
                </p:cNvSpPr>
                <p:nvPr/>
              </p:nvSpPr>
              <p:spPr bwMode="gray">
                <a:xfrm>
                  <a:off x="3225800" y="2341563"/>
                  <a:ext cx="242887" cy="61913"/>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51" name="Freeform 30">
                  <a:extLst>
                    <a:ext uri="{FF2B5EF4-FFF2-40B4-BE49-F238E27FC236}">
                      <a16:creationId xmlns:a16="http://schemas.microsoft.com/office/drawing/2014/main" id="{AAEE305A-E59B-40CA-A486-E08217C50B22}"/>
                    </a:ext>
                  </a:extLst>
                </p:cNvPr>
                <p:cNvSpPr>
                  <a:spLocks/>
                </p:cNvSpPr>
                <p:nvPr/>
              </p:nvSpPr>
              <p:spPr bwMode="gray">
                <a:xfrm>
                  <a:off x="4313238" y="2554288"/>
                  <a:ext cx="358775" cy="519113"/>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52" name="Freeform 31">
                  <a:extLst>
                    <a:ext uri="{FF2B5EF4-FFF2-40B4-BE49-F238E27FC236}">
                      <a16:creationId xmlns:a16="http://schemas.microsoft.com/office/drawing/2014/main" id="{E2B1BFB9-EAD1-4357-8902-869030345962}"/>
                    </a:ext>
                  </a:extLst>
                </p:cNvPr>
                <p:cNvSpPr>
                  <a:spLocks noEditPoints="1"/>
                </p:cNvSpPr>
                <p:nvPr/>
              </p:nvSpPr>
              <p:spPr bwMode="gray">
                <a:xfrm>
                  <a:off x="3363913" y="2433638"/>
                  <a:ext cx="598487" cy="442913"/>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solidFill>
                  <a:srgbClr val="6B985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000" b="1" kern="1200" dirty="0">
                      <a:latin typeface="Arial" charset="0"/>
                      <a:ea typeface="+mn-ea"/>
                      <a:cs typeface="+mn-cs"/>
                    </a:rPr>
                    <a:t>500</a:t>
                  </a:r>
                </a:p>
              </p:txBody>
            </p:sp>
            <p:sp>
              <p:nvSpPr>
                <p:cNvPr id="353" name="Freeform 32">
                  <a:extLst>
                    <a:ext uri="{FF2B5EF4-FFF2-40B4-BE49-F238E27FC236}">
                      <a16:creationId xmlns:a16="http://schemas.microsoft.com/office/drawing/2014/main" id="{8088F327-34CD-47EF-B05A-568E9493EDB9}"/>
                    </a:ext>
                  </a:extLst>
                </p:cNvPr>
                <p:cNvSpPr>
                  <a:spLocks noEditPoints="1"/>
                </p:cNvSpPr>
                <p:nvPr/>
              </p:nvSpPr>
              <p:spPr bwMode="gray">
                <a:xfrm>
                  <a:off x="3232150" y="2433638"/>
                  <a:ext cx="247650" cy="142875"/>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54" name="Freeform 33">
                  <a:extLst>
                    <a:ext uri="{FF2B5EF4-FFF2-40B4-BE49-F238E27FC236}">
                      <a16:creationId xmlns:a16="http://schemas.microsoft.com/office/drawing/2014/main" id="{834A05AA-A619-4EFC-9072-073CE1581905}"/>
                    </a:ext>
                  </a:extLst>
                </p:cNvPr>
                <p:cNvSpPr>
                  <a:spLocks/>
                </p:cNvSpPr>
                <p:nvPr/>
              </p:nvSpPr>
              <p:spPr bwMode="gray">
                <a:xfrm>
                  <a:off x="3884614" y="2589213"/>
                  <a:ext cx="490537" cy="514350"/>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solidFill>
                  <a:schemeClr val="bg2">
                    <a:lumMod val="8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55" name="Freeform 34">
                  <a:extLst>
                    <a:ext uri="{FF2B5EF4-FFF2-40B4-BE49-F238E27FC236}">
                      <a16:creationId xmlns:a16="http://schemas.microsoft.com/office/drawing/2014/main" id="{9CEE1F09-D21A-48EE-9A2B-7F0ADE07779A}"/>
                    </a:ext>
                  </a:extLst>
                </p:cNvPr>
                <p:cNvSpPr>
                  <a:spLocks noEditPoints="1"/>
                </p:cNvSpPr>
                <p:nvPr/>
              </p:nvSpPr>
              <p:spPr bwMode="gray">
                <a:xfrm>
                  <a:off x="7335586" y="2990747"/>
                  <a:ext cx="609852" cy="838302"/>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000" kern="1200" dirty="0">
                    <a:latin typeface="Arial" charset="0"/>
                    <a:ea typeface="+mn-ea"/>
                    <a:cs typeface="+mn-cs"/>
                  </a:endParaRPr>
                </a:p>
                <a:p>
                  <a:pPr fontAlgn="base">
                    <a:spcBef>
                      <a:spcPct val="0"/>
                    </a:spcBef>
                    <a:spcAft>
                      <a:spcPct val="0"/>
                    </a:spcAft>
                    <a:buClrTx/>
                    <a:buFontTx/>
                    <a:buNone/>
                  </a:pPr>
                  <a:endParaRPr lang="en-US" sz="1000" kern="1200" dirty="0">
                    <a:latin typeface="Arial" charset="0"/>
                    <a:ea typeface="+mn-ea"/>
                    <a:cs typeface="+mn-cs"/>
                  </a:endParaRPr>
                </a:p>
                <a:p>
                  <a:pPr fontAlgn="base">
                    <a:spcBef>
                      <a:spcPct val="0"/>
                    </a:spcBef>
                    <a:spcAft>
                      <a:spcPct val="0"/>
                    </a:spcAft>
                    <a:buClrTx/>
                    <a:buFontTx/>
                    <a:buNone/>
                  </a:pPr>
                  <a:r>
                    <a:rPr lang="en-US" sz="1000" b="1" kern="1200" dirty="0">
                      <a:latin typeface="Arial" charset="0"/>
                      <a:ea typeface="+mn-ea"/>
                      <a:cs typeface="+mn-cs"/>
                    </a:rPr>
                    <a:t>850</a:t>
                  </a:r>
                </a:p>
              </p:txBody>
            </p:sp>
            <p:sp>
              <p:nvSpPr>
                <p:cNvPr id="356" name="Freeform 35">
                  <a:extLst>
                    <a:ext uri="{FF2B5EF4-FFF2-40B4-BE49-F238E27FC236}">
                      <a16:creationId xmlns:a16="http://schemas.microsoft.com/office/drawing/2014/main" id="{7F482DA9-2B0E-4380-B289-F7559CBB1C5F}"/>
                    </a:ext>
                  </a:extLst>
                </p:cNvPr>
                <p:cNvSpPr>
                  <a:spLocks/>
                </p:cNvSpPr>
                <p:nvPr/>
              </p:nvSpPr>
              <p:spPr bwMode="gray">
                <a:xfrm>
                  <a:off x="6748463" y="5751513"/>
                  <a:ext cx="196850" cy="169863"/>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57" name="Freeform 36">
                  <a:extLst>
                    <a:ext uri="{FF2B5EF4-FFF2-40B4-BE49-F238E27FC236}">
                      <a16:creationId xmlns:a16="http://schemas.microsoft.com/office/drawing/2014/main" id="{3B4C90AA-0D04-43A7-ADDE-AACC7656269B}"/>
                    </a:ext>
                  </a:extLst>
                </p:cNvPr>
                <p:cNvSpPr>
                  <a:spLocks/>
                </p:cNvSpPr>
                <p:nvPr/>
              </p:nvSpPr>
              <p:spPr bwMode="gray">
                <a:xfrm>
                  <a:off x="3652838" y="2765425"/>
                  <a:ext cx="331787" cy="338138"/>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58" name="Freeform 37">
                  <a:extLst>
                    <a:ext uri="{FF2B5EF4-FFF2-40B4-BE49-F238E27FC236}">
                      <a16:creationId xmlns:a16="http://schemas.microsoft.com/office/drawing/2014/main" id="{66F30C0E-CD7E-40C9-A2D0-25B81C987D90}"/>
                    </a:ext>
                  </a:extLst>
                </p:cNvPr>
                <p:cNvSpPr>
                  <a:spLocks/>
                </p:cNvSpPr>
                <p:nvPr/>
              </p:nvSpPr>
              <p:spPr bwMode="gray">
                <a:xfrm>
                  <a:off x="5330825" y="785813"/>
                  <a:ext cx="1265237" cy="1098550"/>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59" name="Freeform 38">
                  <a:extLst>
                    <a:ext uri="{FF2B5EF4-FFF2-40B4-BE49-F238E27FC236}">
                      <a16:creationId xmlns:a16="http://schemas.microsoft.com/office/drawing/2014/main" id="{90E0C84D-8040-4FC2-A4EA-876368E843EF}"/>
                    </a:ext>
                  </a:extLst>
                </p:cNvPr>
                <p:cNvSpPr>
                  <a:spLocks noEditPoints="1"/>
                </p:cNvSpPr>
                <p:nvPr/>
              </p:nvSpPr>
              <p:spPr bwMode="gray">
                <a:xfrm>
                  <a:off x="8051800" y="4414838"/>
                  <a:ext cx="582612" cy="1100138"/>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60" name="Freeform 39">
                  <a:extLst>
                    <a:ext uri="{FF2B5EF4-FFF2-40B4-BE49-F238E27FC236}">
                      <a16:creationId xmlns:a16="http://schemas.microsoft.com/office/drawing/2014/main" id="{0F80686B-AE83-41C1-AA02-1956E56A9BC3}"/>
                    </a:ext>
                  </a:extLst>
                </p:cNvPr>
                <p:cNvSpPr>
                  <a:spLocks noEditPoints="1"/>
                </p:cNvSpPr>
                <p:nvPr/>
              </p:nvSpPr>
              <p:spPr bwMode="gray">
                <a:xfrm>
                  <a:off x="7204075" y="4206875"/>
                  <a:ext cx="258762" cy="623888"/>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61" name="Freeform 40">
                  <a:extLst>
                    <a:ext uri="{FF2B5EF4-FFF2-40B4-BE49-F238E27FC236}">
                      <a16:creationId xmlns:a16="http://schemas.microsoft.com/office/drawing/2014/main" id="{BA069C7F-ACC0-499C-856B-CAEE2DED3C82}"/>
                    </a:ext>
                  </a:extLst>
                </p:cNvPr>
                <p:cNvSpPr>
                  <a:spLocks/>
                </p:cNvSpPr>
                <p:nvPr/>
              </p:nvSpPr>
              <p:spPr bwMode="gray">
                <a:xfrm>
                  <a:off x="3592513" y="1441450"/>
                  <a:ext cx="1325562" cy="1193800"/>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solidFill>
                  <a:schemeClr val="bg2">
                    <a:lumMod val="8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63" name="Freeform 41">
                  <a:extLst>
                    <a:ext uri="{FF2B5EF4-FFF2-40B4-BE49-F238E27FC236}">
                      <a16:creationId xmlns:a16="http://schemas.microsoft.com/office/drawing/2014/main" id="{0470842E-C378-4993-9622-AB67843E6D4C}"/>
                    </a:ext>
                  </a:extLst>
                </p:cNvPr>
                <p:cNvSpPr>
                  <a:spLocks noEditPoints="1"/>
                </p:cNvSpPr>
                <p:nvPr/>
              </p:nvSpPr>
              <p:spPr bwMode="gray">
                <a:xfrm>
                  <a:off x="3205163" y="1255713"/>
                  <a:ext cx="984250" cy="1012825"/>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64" name="Freeform 42">
                  <a:extLst>
                    <a:ext uri="{FF2B5EF4-FFF2-40B4-BE49-F238E27FC236}">
                      <a16:creationId xmlns:a16="http://schemas.microsoft.com/office/drawing/2014/main" id="{C5723B6D-2CFE-4BB9-890D-5E96D96D7BEC}"/>
                    </a:ext>
                  </a:extLst>
                </p:cNvPr>
                <p:cNvSpPr>
                  <a:spLocks/>
                </p:cNvSpPr>
                <p:nvPr/>
              </p:nvSpPr>
              <p:spPr bwMode="gray">
                <a:xfrm>
                  <a:off x="3517900" y="565150"/>
                  <a:ext cx="976312" cy="663575"/>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solidFill>
                  <a:schemeClr val="accent1">
                    <a:lumMod val="7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      </a:t>
                  </a:r>
                </a:p>
                <a:p>
                  <a:pPr fontAlgn="base">
                    <a:spcBef>
                      <a:spcPct val="0"/>
                    </a:spcBef>
                    <a:spcAft>
                      <a:spcPct val="0"/>
                    </a:spcAft>
                    <a:buClrTx/>
                    <a:buFontTx/>
                    <a:buNone/>
                  </a:pPr>
                  <a:r>
                    <a:rPr lang="en-US" sz="1100" kern="1200" dirty="0">
                      <a:latin typeface="Arial" charset="0"/>
                      <a:ea typeface="+mn-ea"/>
                      <a:cs typeface="+mn-cs"/>
                    </a:rPr>
                    <a:t>    200</a:t>
                  </a:r>
                </a:p>
              </p:txBody>
            </p:sp>
            <p:sp>
              <p:nvSpPr>
                <p:cNvPr id="365" name="Freeform 43">
                  <a:extLst>
                    <a:ext uri="{FF2B5EF4-FFF2-40B4-BE49-F238E27FC236}">
                      <a16:creationId xmlns:a16="http://schemas.microsoft.com/office/drawing/2014/main" id="{A8256A93-DDD9-49C5-8997-31B1F5E3FD06}"/>
                    </a:ext>
                  </a:extLst>
                </p:cNvPr>
                <p:cNvSpPr>
                  <a:spLocks noEditPoints="1"/>
                </p:cNvSpPr>
                <p:nvPr/>
              </p:nvSpPr>
              <p:spPr bwMode="gray">
                <a:xfrm>
                  <a:off x="7007225" y="4295775"/>
                  <a:ext cx="852487" cy="1319213"/>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solidFill>
                  <a:schemeClr val="bg2">
                    <a:lumMod val="8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66" name="Freeform 44">
                  <a:extLst>
                    <a:ext uri="{FF2B5EF4-FFF2-40B4-BE49-F238E27FC236}">
                      <a16:creationId xmlns:a16="http://schemas.microsoft.com/office/drawing/2014/main" id="{E7CB3445-034D-4305-A940-3F79419460D9}"/>
                    </a:ext>
                  </a:extLst>
                </p:cNvPr>
                <p:cNvSpPr>
                  <a:spLocks noEditPoints="1"/>
                </p:cNvSpPr>
                <p:nvPr/>
              </p:nvSpPr>
              <p:spPr bwMode="gray">
                <a:xfrm>
                  <a:off x="5519738" y="4818063"/>
                  <a:ext cx="1087437" cy="966788"/>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67" name="Freeform 45">
                  <a:extLst>
                    <a:ext uri="{FF2B5EF4-FFF2-40B4-BE49-F238E27FC236}">
                      <a16:creationId xmlns:a16="http://schemas.microsoft.com/office/drawing/2014/main" id="{E1ACFCA0-E800-43EF-BD0B-8AAB30075702}"/>
                    </a:ext>
                  </a:extLst>
                </p:cNvPr>
                <p:cNvSpPr>
                  <a:spLocks/>
                </p:cNvSpPr>
                <p:nvPr/>
              </p:nvSpPr>
              <p:spPr bwMode="gray">
                <a:xfrm>
                  <a:off x="4589463" y="1560513"/>
                  <a:ext cx="1273175" cy="950913"/>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68" name="Freeform 46">
                  <a:extLst>
                    <a:ext uri="{FF2B5EF4-FFF2-40B4-BE49-F238E27FC236}">
                      <a16:creationId xmlns:a16="http://schemas.microsoft.com/office/drawing/2014/main" id="{9B1BFFDB-E2F9-4D3C-A14F-B9807A581B6E}"/>
                    </a:ext>
                  </a:extLst>
                </p:cNvPr>
                <p:cNvSpPr>
                  <a:spLocks noEditPoints="1"/>
                </p:cNvSpPr>
                <p:nvPr/>
              </p:nvSpPr>
              <p:spPr bwMode="gray">
                <a:xfrm>
                  <a:off x="4791075" y="2338388"/>
                  <a:ext cx="952118" cy="843211"/>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 </a:t>
                  </a:r>
                </a:p>
                <a:p>
                  <a:pPr fontAlgn="base">
                    <a:spcBef>
                      <a:spcPct val="0"/>
                    </a:spcBef>
                    <a:spcAft>
                      <a:spcPct val="0"/>
                    </a:spcAft>
                    <a:buClrTx/>
                    <a:buFontTx/>
                    <a:buNone/>
                  </a:pPr>
                  <a:r>
                    <a:rPr lang="en-US" sz="1000" kern="1200" dirty="0">
                      <a:latin typeface="Arial" charset="0"/>
                      <a:ea typeface="+mn-ea"/>
                      <a:cs typeface="+mn-cs"/>
                    </a:rPr>
                    <a:t>    </a:t>
                  </a:r>
                  <a:r>
                    <a:rPr lang="en-US" sz="1000" b="1" kern="1200" dirty="0">
                      <a:latin typeface="Arial" charset="0"/>
                      <a:ea typeface="+mn-ea"/>
                      <a:cs typeface="+mn-cs"/>
                    </a:rPr>
                    <a:t>210</a:t>
                  </a:r>
                </a:p>
              </p:txBody>
            </p:sp>
            <p:sp>
              <p:nvSpPr>
                <p:cNvPr id="369" name="Freeform 47">
                  <a:extLst>
                    <a:ext uri="{FF2B5EF4-FFF2-40B4-BE49-F238E27FC236}">
                      <a16:creationId xmlns:a16="http://schemas.microsoft.com/office/drawing/2014/main" id="{76DBD1D6-7EAE-4739-AA3D-CE353A2C3594}"/>
                    </a:ext>
                  </a:extLst>
                </p:cNvPr>
                <p:cNvSpPr>
                  <a:spLocks/>
                </p:cNvSpPr>
                <p:nvPr/>
              </p:nvSpPr>
              <p:spPr bwMode="gray">
                <a:xfrm>
                  <a:off x="6896100" y="3536950"/>
                  <a:ext cx="165100" cy="144463"/>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70" name="Freeform 48">
                  <a:extLst>
                    <a:ext uri="{FF2B5EF4-FFF2-40B4-BE49-F238E27FC236}">
                      <a16:creationId xmlns:a16="http://schemas.microsoft.com/office/drawing/2014/main" id="{55766EBF-C7FD-4B56-B292-7E477F60C5C8}"/>
                    </a:ext>
                  </a:extLst>
                </p:cNvPr>
                <p:cNvSpPr>
                  <a:spLocks noEditPoints="1"/>
                </p:cNvSpPr>
                <p:nvPr/>
              </p:nvSpPr>
              <p:spPr bwMode="gray">
                <a:xfrm>
                  <a:off x="8194675" y="4468813"/>
                  <a:ext cx="23812" cy="30163"/>
                </a:xfrm>
                <a:custGeom>
                  <a:avLst/>
                  <a:gdLst>
                    <a:gd name="T0" fmla="*/ 5 w 15"/>
                    <a:gd name="T1" fmla="*/ 2 h 19"/>
                    <a:gd name="T2" fmla="*/ 7 w 15"/>
                    <a:gd name="T3" fmla="*/ 4 h 19"/>
                    <a:gd name="T4" fmla="*/ 7 w 15"/>
                    <a:gd name="T5" fmla="*/ 5 h 19"/>
                    <a:gd name="T6" fmla="*/ 8 w 15"/>
                    <a:gd name="T7" fmla="*/ 5 h 19"/>
                    <a:gd name="T8" fmla="*/ 10 w 15"/>
                    <a:gd name="T9" fmla="*/ 5 h 19"/>
                    <a:gd name="T10" fmla="*/ 12 w 15"/>
                    <a:gd name="T11" fmla="*/ 7 h 19"/>
                    <a:gd name="T12" fmla="*/ 12 w 15"/>
                    <a:gd name="T13" fmla="*/ 9 h 19"/>
                    <a:gd name="T14" fmla="*/ 10 w 15"/>
                    <a:gd name="T15" fmla="*/ 11 h 19"/>
                    <a:gd name="T16" fmla="*/ 10 w 15"/>
                    <a:gd name="T17" fmla="*/ 12 h 19"/>
                    <a:gd name="T18" fmla="*/ 12 w 15"/>
                    <a:gd name="T19" fmla="*/ 12 h 19"/>
                    <a:gd name="T20" fmla="*/ 10 w 15"/>
                    <a:gd name="T21" fmla="*/ 14 h 19"/>
                    <a:gd name="T22" fmla="*/ 10 w 15"/>
                    <a:gd name="T23" fmla="*/ 16 h 19"/>
                    <a:gd name="T24" fmla="*/ 8 w 15"/>
                    <a:gd name="T25" fmla="*/ 16 h 19"/>
                    <a:gd name="T26" fmla="*/ 8 w 15"/>
                    <a:gd name="T27" fmla="*/ 17 h 19"/>
                    <a:gd name="T28" fmla="*/ 10 w 15"/>
                    <a:gd name="T29" fmla="*/ 17 h 19"/>
                    <a:gd name="T30" fmla="*/ 8 w 15"/>
                    <a:gd name="T31" fmla="*/ 19 h 19"/>
                    <a:gd name="T32" fmla="*/ 8 w 15"/>
                    <a:gd name="T33" fmla="*/ 17 h 19"/>
                    <a:gd name="T34" fmla="*/ 7 w 15"/>
                    <a:gd name="T35" fmla="*/ 19 h 19"/>
                    <a:gd name="T36" fmla="*/ 5 w 15"/>
                    <a:gd name="T37" fmla="*/ 19 h 19"/>
                    <a:gd name="T38" fmla="*/ 5 w 15"/>
                    <a:gd name="T39" fmla="*/ 17 h 19"/>
                    <a:gd name="T40" fmla="*/ 3 w 15"/>
                    <a:gd name="T41" fmla="*/ 17 h 19"/>
                    <a:gd name="T42" fmla="*/ 5 w 15"/>
                    <a:gd name="T43" fmla="*/ 16 h 19"/>
                    <a:gd name="T44" fmla="*/ 3 w 15"/>
                    <a:gd name="T45" fmla="*/ 14 h 19"/>
                    <a:gd name="T46" fmla="*/ 5 w 15"/>
                    <a:gd name="T47" fmla="*/ 14 h 19"/>
                    <a:gd name="T48" fmla="*/ 5 w 15"/>
                    <a:gd name="T49" fmla="*/ 16 h 19"/>
                    <a:gd name="T50" fmla="*/ 7 w 15"/>
                    <a:gd name="T51" fmla="*/ 16 h 19"/>
                    <a:gd name="T52" fmla="*/ 7 w 15"/>
                    <a:gd name="T53" fmla="*/ 14 h 19"/>
                    <a:gd name="T54" fmla="*/ 5 w 15"/>
                    <a:gd name="T55" fmla="*/ 12 h 19"/>
                    <a:gd name="T56" fmla="*/ 5 w 15"/>
                    <a:gd name="T57" fmla="*/ 11 h 19"/>
                    <a:gd name="T58" fmla="*/ 5 w 15"/>
                    <a:gd name="T59" fmla="*/ 7 h 19"/>
                    <a:gd name="T60" fmla="*/ 1 w 15"/>
                    <a:gd name="T61" fmla="*/ 7 h 19"/>
                    <a:gd name="T62" fmla="*/ 3 w 15"/>
                    <a:gd name="T63" fmla="*/ 5 h 19"/>
                    <a:gd name="T64" fmla="*/ 1 w 15"/>
                    <a:gd name="T65" fmla="*/ 5 h 19"/>
                    <a:gd name="T66" fmla="*/ 1 w 15"/>
                    <a:gd name="T67" fmla="*/ 4 h 19"/>
                    <a:gd name="T68" fmla="*/ 3 w 15"/>
                    <a:gd name="T69" fmla="*/ 4 h 19"/>
                    <a:gd name="T70" fmla="*/ 5 w 15"/>
                    <a:gd name="T71" fmla="*/ 2 h 19"/>
                    <a:gd name="T72" fmla="*/ 12 w 15"/>
                    <a:gd name="T73" fmla="*/ 7 h 19"/>
                    <a:gd name="T74" fmla="*/ 15 w 15"/>
                    <a:gd name="T75" fmla="*/ 7 h 19"/>
                    <a:gd name="T76" fmla="*/ 15 w 15"/>
                    <a:gd name="T77" fmla="*/ 11 h 19"/>
                    <a:gd name="T78" fmla="*/ 12 w 15"/>
                    <a:gd name="T79" fmla="*/ 11 h 19"/>
                    <a:gd name="T80" fmla="*/ 12 w 15"/>
                    <a:gd name="T81" fmla="*/ 7 h 19"/>
                    <a:gd name="T82" fmla="*/ 0 w 15"/>
                    <a:gd name="T83" fmla="*/ 0 h 19"/>
                    <a:gd name="T84" fmla="*/ 1 w 15"/>
                    <a:gd name="T85" fmla="*/ 0 h 19"/>
                    <a:gd name="T86" fmla="*/ 1 w 15"/>
                    <a:gd name="T87" fmla="*/ 2 h 19"/>
                    <a:gd name="T88" fmla="*/ 0 w 15"/>
                    <a:gd name="T89" fmla="*/ 2 h 19"/>
                    <a:gd name="T90" fmla="*/ 0 w 15"/>
                    <a:gd name="T9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19">
                      <a:moveTo>
                        <a:pt x="5" y="2"/>
                      </a:moveTo>
                      <a:lnTo>
                        <a:pt x="7" y="4"/>
                      </a:lnTo>
                      <a:lnTo>
                        <a:pt x="7" y="5"/>
                      </a:lnTo>
                      <a:lnTo>
                        <a:pt x="8" y="5"/>
                      </a:lnTo>
                      <a:lnTo>
                        <a:pt x="10" y="5"/>
                      </a:lnTo>
                      <a:lnTo>
                        <a:pt x="12" y="7"/>
                      </a:lnTo>
                      <a:lnTo>
                        <a:pt x="12" y="9"/>
                      </a:lnTo>
                      <a:lnTo>
                        <a:pt x="10" y="11"/>
                      </a:lnTo>
                      <a:lnTo>
                        <a:pt x="10" y="12"/>
                      </a:lnTo>
                      <a:lnTo>
                        <a:pt x="12" y="12"/>
                      </a:lnTo>
                      <a:lnTo>
                        <a:pt x="10" y="14"/>
                      </a:lnTo>
                      <a:lnTo>
                        <a:pt x="10" y="16"/>
                      </a:lnTo>
                      <a:lnTo>
                        <a:pt x="8" y="16"/>
                      </a:lnTo>
                      <a:lnTo>
                        <a:pt x="8" y="17"/>
                      </a:lnTo>
                      <a:lnTo>
                        <a:pt x="10" y="17"/>
                      </a:lnTo>
                      <a:lnTo>
                        <a:pt x="8" y="19"/>
                      </a:lnTo>
                      <a:lnTo>
                        <a:pt x="8" y="17"/>
                      </a:lnTo>
                      <a:lnTo>
                        <a:pt x="7" y="19"/>
                      </a:lnTo>
                      <a:lnTo>
                        <a:pt x="5" y="19"/>
                      </a:lnTo>
                      <a:lnTo>
                        <a:pt x="5" y="17"/>
                      </a:lnTo>
                      <a:lnTo>
                        <a:pt x="3" y="17"/>
                      </a:lnTo>
                      <a:lnTo>
                        <a:pt x="5" y="16"/>
                      </a:lnTo>
                      <a:lnTo>
                        <a:pt x="3" y="14"/>
                      </a:lnTo>
                      <a:lnTo>
                        <a:pt x="5" y="14"/>
                      </a:lnTo>
                      <a:lnTo>
                        <a:pt x="5" y="16"/>
                      </a:lnTo>
                      <a:lnTo>
                        <a:pt x="7" y="16"/>
                      </a:lnTo>
                      <a:lnTo>
                        <a:pt x="7" y="14"/>
                      </a:lnTo>
                      <a:lnTo>
                        <a:pt x="5" y="12"/>
                      </a:lnTo>
                      <a:lnTo>
                        <a:pt x="5" y="11"/>
                      </a:lnTo>
                      <a:lnTo>
                        <a:pt x="5" y="7"/>
                      </a:lnTo>
                      <a:lnTo>
                        <a:pt x="1" y="7"/>
                      </a:lnTo>
                      <a:lnTo>
                        <a:pt x="3" y="5"/>
                      </a:lnTo>
                      <a:lnTo>
                        <a:pt x="1" y="5"/>
                      </a:lnTo>
                      <a:lnTo>
                        <a:pt x="1" y="4"/>
                      </a:lnTo>
                      <a:lnTo>
                        <a:pt x="3" y="4"/>
                      </a:lnTo>
                      <a:lnTo>
                        <a:pt x="5" y="2"/>
                      </a:lnTo>
                      <a:close/>
                      <a:moveTo>
                        <a:pt x="12" y="7"/>
                      </a:moveTo>
                      <a:lnTo>
                        <a:pt x="15" y="7"/>
                      </a:lnTo>
                      <a:lnTo>
                        <a:pt x="15" y="11"/>
                      </a:lnTo>
                      <a:lnTo>
                        <a:pt x="12" y="11"/>
                      </a:lnTo>
                      <a:lnTo>
                        <a:pt x="12" y="7"/>
                      </a:lnTo>
                      <a:close/>
                      <a:moveTo>
                        <a:pt x="0" y="0"/>
                      </a:moveTo>
                      <a:lnTo>
                        <a:pt x="1" y="0"/>
                      </a:lnTo>
                      <a:lnTo>
                        <a:pt x="1" y="2"/>
                      </a:lnTo>
                      <a:lnTo>
                        <a:pt x="0" y="2"/>
                      </a:lnTo>
                      <a:lnTo>
                        <a:pt x="0" y="0"/>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71" name="Freeform 49">
                  <a:extLst>
                    <a:ext uri="{FF2B5EF4-FFF2-40B4-BE49-F238E27FC236}">
                      <a16:creationId xmlns:a16="http://schemas.microsoft.com/office/drawing/2014/main" id="{7CDCE0FB-E0FE-4340-B4CC-BFA554EB24F7}"/>
                    </a:ext>
                  </a:extLst>
                </p:cNvPr>
                <p:cNvSpPr>
                  <a:spLocks noEditPoints="1"/>
                </p:cNvSpPr>
                <p:nvPr/>
              </p:nvSpPr>
              <p:spPr bwMode="gray">
                <a:xfrm>
                  <a:off x="5095875" y="3316288"/>
                  <a:ext cx="80962" cy="138113"/>
                </a:xfrm>
                <a:custGeom>
                  <a:avLst/>
                  <a:gdLst>
                    <a:gd name="T0" fmla="*/ 12 w 51"/>
                    <a:gd name="T1" fmla="*/ 66 h 87"/>
                    <a:gd name="T2" fmla="*/ 14 w 51"/>
                    <a:gd name="T3" fmla="*/ 68 h 87"/>
                    <a:gd name="T4" fmla="*/ 12 w 51"/>
                    <a:gd name="T5" fmla="*/ 68 h 87"/>
                    <a:gd name="T6" fmla="*/ 14 w 51"/>
                    <a:gd name="T7" fmla="*/ 70 h 87"/>
                    <a:gd name="T8" fmla="*/ 16 w 51"/>
                    <a:gd name="T9" fmla="*/ 71 h 87"/>
                    <a:gd name="T10" fmla="*/ 14 w 51"/>
                    <a:gd name="T11" fmla="*/ 73 h 87"/>
                    <a:gd name="T12" fmla="*/ 14 w 51"/>
                    <a:gd name="T13" fmla="*/ 75 h 87"/>
                    <a:gd name="T14" fmla="*/ 9 w 51"/>
                    <a:gd name="T15" fmla="*/ 80 h 87"/>
                    <a:gd name="T16" fmla="*/ 10 w 51"/>
                    <a:gd name="T17" fmla="*/ 82 h 87"/>
                    <a:gd name="T18" fmla="*/ 7 w 51"/>
                    <a:gd name="T19" fmla="*/ 83 h 87"/>
                    <a:gd name="T20" fmla="*/ 5 w 51"/>
                    <a:gd name="T21" fmla="*/ 82 h 87"/>
                    <a:gd name="T22" fmla="*/ 5 w 51"/>
                    <a:gd name="T23" fmla="*/ 85 h 87"/>
                    <a:gd name="T24" fmla="*/ 4 w 51"/>
                    <a:gd name="T25" fmla="*/ 83 h 87"/>
                    <a:gd name="T26" fmla="*/ 4 w 51"/>
                    <a:gd name="T27" fmla="*/ 85 h 87"/>
                    <a:gd name="T28" fmla="*/ 2 w 51"/>
                    <a:gd name="T29" fmla="*/ 83 h 87"/>
                    <a:gd name="T30" fmla="*/ 4 w 51"/>
                    <a:gd name="T31" fmla="*/ 82 h 87"/>
                    <a:gd name="T32" fmla="*/ 2 w 51"/>
                    <a:gd name="T33" fmla="*/ 82 h 87"/>
                    <a:gd name="T34" fmla="*/ 0 w 51"/>
                    <a:gd name="T35" fmla="*/ 76 h 87"/>
                    <a:gd name="T36" fmla="*/ 0 w 51"/>
                    <a:gd name="T37" fmla="*/ 73 h 87"/>
                    <a:gd name="T38" fmla="*/ 2 w 51"/>
                    <a:gd name="T39" fmla="*/ 70 h 87"/>
                    <a:gd name="T40" fmla="*/ 4 w 51"/>
                    <a:gd name="T41" fmla="*/ 68 h 87"/>
                    <a:gd name="T42" fmla="*/ 5 w 51"/>
                    <a:gd name="T43" fmla="*/ 68 h 87"/>
                    <a:gd name="T44" fmla="*/ 7 w 51"/>
                    <a:gd name="T45" fmla="*/ 66 h 87"/>
                    <a:gd name="T46" fmla="*/ 12 w 51"/>
                    <a:gd name="T47" fmla="*/ 66 h 87"/>
                    <a:gd name="T48" fmla="*/ 51 w 51"/>
                    <a:gd name="T49" fmla="*/ 2 h 87"/>
                    <a:gd name="T50" fmla="*/ 50 w 51"/>
                    <a:gd name="T51" fmla="*/ 3 h 87"/>
                    <a:gd name="T52" fmla="*/ 51 w 51"/>
                    <a:gd name="T53" fmla="*/ 5 h 87"/>
                    <a:gd name="T54" fmla="*/ 50 w 51"/>
                    <a:gd name="T55" fmla="*/ 5 h 87"/>
                    <a:gd name="T56" fmla="*/ 50 w 51"/>
                    <a:gd name="T57" fmla="*/ 8 h 87"/>
                    <a:gd name="T58" fmla="*/ 48 w 51"/>
                    <a:gd name="T59" fmla="*/ 8 h 87"/>
                    <a:gd name="T60" fmla="*/ 46 w 51"/>
                    <a:gd name="T61" fmla="*/ 7 h 87"/>
                    <a:gd name="T62" fmla="*/ 44 w 51"/>
                    <a:gd name="T63" fmla="*/ 8 h 87"/>
                    <a:gd name="T64" fmla="*/ 44 w 51"/>
                    <a:gd name="T65" fmla="*/ 5 h 87"/>
                    <a:gd name="T66" fmla="*/ 46 w 51"/>
                    <a:gd name="T67" fmla="*/ 5 h 87"/>
                    <a:gd name="T68" fmla="*/ 46 w 51"/>
                    <a:gd name="T69" fmla="*/ 2 h 87"/>
                    <a:gd name="T70" fmla="*/ 48 w 51"/>
                    <a:gd name="T71" fmla="*/ 0 h 87"/>
                    <a:gd name="T72" fmla="*/ 51 w 51"/>
                    <a:gd name="T73" fmla="*/ 2 h 87"/>
                    <a:gd name="T74" fmla="*/ 2 w 51"/>
                    <a:gd name="T75" fmla="*/ 87 h 87"/>
                    <a:gd name="T76" fmla="*/ 4 w 51"/>
                    <a:gd name="T77" fmla="*/ 87 h 87"/>
                    <a:gd name="T78" fmla="*/ 2 w 51"/>
                    <a:gd name="T7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87">
                      <a:moveTo>
                        <a:pt x="12" y="66"/>
                      </a:moveTo>
                      <a:lnTo>
                        <a:pt x="14" y="68"/>
                      </a:lnTo>
                      <a:lnTo>
                        <a:pt x="12" y="68"/>
                      </a:lnTo>
                      <a:lnTo>
                        <a:pt x="14" y="70"/>
                      </a:lnTo>
                      <a:lnTo>
                        <a:pt x="16" y="71"/>
                      </a:lnTo>
                      <a:lnTo>
                        <a:pt x="14" y="73"/>
                      </a:lnTo>
                      <a:lnTo>
                        <a:pt x="14" y="75"/>
                      </a:lnTo>
                      <a:lnTo>
                        <a:pt x="9" y="80"/>
                      </a:lnTo>
                      <a:lnTo>
                        <a:pt x="10" y="82"/>
                      </a:lnTo>
                      <a:lnTo>
                        <a:pt x="7" y="83"/>
                      </a:lnTo>
                      <a:lnTo>
                        <a:pt x="5" y="82"/>
                      </a:lnTo>
                      <a:lnTo>
                        <a:pt x="5" y="85"/>
                      </a:lnTo>
                      <a:lnTo>
                        <a:pt x="4" y="83"/>
                      </a:lnTo>
                      <a:lnTo>
                        <a:pt x="4" y="85"/>
                      </a:lnTo>
                      <a:lnTo>
                        <a:pt x="2" y="83"/>
                      </a:lnTo>
                      <a:lnTo>
                        <a:pt x="4" y="82"/>
                      </a:lnTo>
                      <a:lnTo>
                        <a:pt x="2" y="82"/>
                      </a:lnTo>
                      <a:lnTo>
                        <a:pt x="0" y="76"/>
                      </a:lnTo>
                      <a:lnTo>
                        <a:pt x="0" y="73"/>
                      </a:lnTo>
                      <a:lnTo>
                        <a:pt x="2" y="70"/>
                      </a:lnTo>
                      <a:lnTo>
                        <a:pt x="4" y="68"/>
                      </a:lnTo>
                      <a:lnTo>
                        <a:pt x="5" y="68"/>
                      </a:lnTo>
                      <a:lnTo>
                        <a:pt x="7" y="66"/>
                      </a:lnTo>
                      <a:lnTo>
                        <a:pt x="12" y="66"/>
                      </a:lnTo>
                      <a:close/>
                      <a:moveTo>
                        <a:pt x="51" y="2"/>
                      </a:moveTo>
                      <a:lnTo>
                        <a:pt x="50" y="3"/>
                      </a:lnTo>
                      <a:lnTo>
                        <a:pt x="51" y="5"/>
                      </a:lnTo>
                      <a:lnTo>
                        <a:pt x="50" y="5"/>
                      </a:lnTo>
                      <a:lnTo>
                        <a:pt x="50" y="8"/>
                      </a:lnTo>
                      <a:lnTo>
                        <a:pt x="48" y="8"/>
                      </a:lnTo>
                      <a:lnTo>
                        <a:pt x="46" y="7"/>
                      </a:lnTo>
                      <a:lnTo>
                        <a:pt x="44" y="8"/>
                      </a:lnTo>
                      <a:lnTo>
                        <a:pt x="44" y="5"/>
                      </a:lnTo>
                      <a:lnTo>
                        <a:pt x="46" y="5"/>
                      </a:lnTo>
                      <a:lnTo>
                        <a:pt x="46" y="2"/>
                      </a:lnTo>
                      <a:lnTo>
                        <a:pt x="48" y="0"/>
                      </a:lnTo>
                      <a:lnTo>
                        <a:pt x="51" y="2"/>
                      </a:lnTo>
                      <a:close/>
                      <a:moveTo>
                        <a:pt x="2" y="87"/>
                      </a:moveTo>
                      <a:lnTo>
                        <a:pt x="4" y="87"/>
                      </a:lnTo>
                      <a:lnTo>
                        <a:pt x="2" y="87"/>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72" name="Freeform 50">
                  <a:extLst>
                    <a:ext uri="{FF2B5EF4-FFF2-40B4-BE49-F238E27FC236}">
                      <a16:creationId xmlns:a16="http://schemas.microsoft.com/office/drawing/2014/main" id="{CEC2BC06-4C10-401F-96F1-3A6D8D376D09}"/>
                    </a:ext>
                  </a:extLst>
                </p:cNvPr>
                <p:cNvSpPr>
                  <a:spLocks noEditPoints="1"/>
                </p:cNvSpPr>
                <p:nvPr/>
              </p:nvSpPr>
              <p:spPr bwMode="gray">
                <a:xfrm>
                  <a:off x="3167063" y="1987162"/>
                  <a:ext cx="758439" cy="534750"/>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solidFill>
                  <a:srgbClr val="6B985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1000</a:t>
                  </a:r>
                </a:p>
              </p:txBody>
            </p:sp>
            <p:sp>
              <p:nvSpPr>
                <p:cNvPr id="373" name="Freeform 51">
                  <a:extLst>
                    <a:ext uri="{FF2B5EF4-FFF2-40B4-BE49-F238E27FC236}">
                      <a16:creationId xmlns:a16="http://schemas.microsoft.com/office/drawing/2014/main" id="{0FB8FBEE-D590-4763-844C-51C4009299F1}"/>
                    </a:ext>
                  </a:extLst>
                </p:cNvPr>
                <p:cNvSpPr>
                  <a:spLocks noEditPoints="1"/>
                </p:cNvSpPr>
                <p:nvPr/>
              </p:nvSpPr>
              <p:spPr bwMode="gray">
                <a:xfrm>
                  <a:off x="3175000" y="2642845"/>
                  <a:ext cx="704848" cy="339786"/>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000" kern="1200" dirty="0">
                      <a:latin typeface="Arial" charset="0"/>
                      <a:ea typeface="+mn-ea"/>
                      <a:cs typeface="+mn-cs"/>
                    </a:rPr>
                    <a:t>500</a:t>
                  </a:r>
                </a:p>
              </p:txBody>
            </p:sp>
            <p:sp>
              <p:nvSpPr>
                <p:cNvPr id="374" name="Freeform 52">
                  <a:extLst>
                    <a:ext uri="{FF2B5EF4-FFF2-40B4-BE49-F238E27FC236}">
                      <a16:creationId xmlns:a16="http://schemas.microsoft.com/office/drawing/2014/main" id="{29D6A2BB-457C-4470-A049-F157D9B99D73}"/>
                    </a:ext>
                  </a:extLst>
                </p:cNvPr>
                <p:cNvSpPr>
                  <a:spLocks noEditPoints="1"/>
                </p:cNvSpPr>
                <p:nvPr/>
              </p:nvSpPr>
              <p:spPr bwMode="gray">
                <a:xfrm>
                  <a:off x="7872413" y="2489200"/>
                  <a:ext cx="836612" cy="1096963"/>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     200</a:t>
                  </a:r>
                </a:p>
              </p:txBody>
            </p:sp>
            <p:sp>
              <p:nvSpPr>
                <p:cNvPr id="375" name="Freeform 53">
                  <a:extLst>
                    <a:ext uri="{FF2B5EF4-FFF2-40B4-BE49-F238E27FC236}">
                      <a16:creationId xmlns:a16="http://schemas.microsoft.com/office/drawing/2014/main" id="{97855C08-A523-4D4F-8482-E521060B0AFA}"/>
                    </a:ext>
                  </a:extLst>
                </p:cNvPr>
                <p:cNvSpPr>
                  <a:spLocks noEditPoints="1"/>
                </p:cNvSpPr>
                <p:nvPr/>
              </p:nvSpPr>
              <p:spPr bwMode="gray">
                <a:xfrm>
                  <a:off x="5900738" y="5233988"/>
                  <a:ext cx="1319212" cy="1022350"/>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solidFill>
                  <a:schemeClr val="accent1">
                    <a:lumMod val="7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a:p>
                  <a:pPr fontAlgn="base">
                    <a:spcBef>
                      <a:spcPct val="0"/>
                    </a:spcBef>
                    <a:spcAft>
                      <a:spcPct val="0"/>
                    </a:spcAft>
                    <a:buClrTx/>
                    <a:buFontTx/>
                    <a:buNone/>
                  </a:pPr>
                  <a:endParaRPr lang="en-US" sz="1100" kern="1200" dirty="0">
                    <a:latin typeface="Arial" charset="0"/>
                    <a:ea typeface="+mn-ea"/>
                    <a:cs typeface="+mn-cs"/>
                  </a:endParaRPr>
                </a:p>
                <a:p>
                  <a:pPr fontAlgn="base">
                    <a:spcBef>
                      <a:spcPct val="0"/>
                    </a:spcBef>
                    <a:spcAft>
                      <a:spcPct val="0"/>
                    </a:spcAft>
                    <a:buClrTx/>
                    <a:buFontTx/>
                    <a:buNone/>
                  </a:pPr>
                  <a:r>
                    <a:rPr lang="en-US" sz="1100" kern="1200" dirty="0">
                      <a:latin typeface="Arial" charset="0"/>
                      <a:ea typeface="+mn-ea"/>
                      <a:cs typeface="+mn-cs"/>
                    </a:rPr>
                    <a:t>     1000</a:t>
                  </a:r>
                  <a:endParaRPr lang="en-US" sz="1000" b="1" kern="1200" dirty="0">
                    <a:solidFill>
                      <a:srgbClr val="FFFFFF"/>
                    </a:solidFill>
                    <a:latin typeface="Arial" charset="0"/>
                    <a:ea typeface="+mn-ea"/>
                    <a:cs typeface="+mn-cs"/>
                  </a:endParaRPr>
                </a:p>
              </p:txBody>
            </p:sp>
            <p:sp>
              <p:nvSpPr>
                <p:cNvPr id="376" name="Freeform 54">
                  <a:extLst>
                    <a:ext uri="{FF2B5EF4-FFF2-40B4-BE49-F238E27FC236}">
                      <a16:creationId xmlns:a16="http://schemas.microsoft.com/office/drawing/2014/main" id="{C1079C51-5266-41CA-8AE2-B1A0D69D3F68}"/>
                    </a:ext>
                  </a:extLst>
                </p:cNvPr>
                <p:cNvSpPr>
                  <a:spLocks/>
                </p:cNvSpPr>
                <p:nvPr/>
              </p:nvSpPr>
              <p:spPr bwMode="gray">
                <a:xfrm>
                  <a:off x="6518275" y="2471738"/>
                  <a:ext cx="895350" cy="701675"/>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77" name="Freeform 55">
                  <a:extLst>
                    <a:ext uri="{FF2B5EF4-FFF2-40B4-BE49-F238E27FC236}">
                      <a16:creationId xmlns:a16="http://schemas.microsoft.com/office/drawing/2014/main" id="{5D3934AF-E94B-4114-9ED2-B461700E2C9A}"/>
                    </a:ext>
                  </a:extLst>
                </p:cNvPr>
                <p:cNvSpPr>
                  <a:spLocks noEditPoints="1"/>
                </p:cNvSpPr>
                <p:nvPr/>
              </p:nvSpPr>
              <p:spPr bwMode="gray">
                <a:xfrm>
                  <a:off x="6329363" y="1682750"/>
                  <a:ext cx="1354137" cy="1071563"/>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      </a:t>
                  </a:r>
                </a:p>
                <a:p>
                  <a:pPr fontAlgn="base">
                    <a:spcBef>
                      <a:spcPct val="0"/>
                    </a:spcBef>
                    <a:spcAft>
                      <a:spcPct val="0"/>
                    </a:spcAft>
                    <a:buClrTx/>
                    <a:buFontTx/>
                    <a:buNone/>
                  </a:pPr>
                  <a:r>
                    <a:rPr lang="en-US" sz="1100" kern="1200" dirty="0">
                      <a:latin typeface="Arial" charset="0"/>
                      <a:ea typeface="+mn-ea"/>
                      <a:cs typeface="+mn-cs"/>
                    </a:rPr>
                    <a:t>      200</a:t>
                  </a:r>
                </a:p>
              </p:txBody>
            </p:sp>
            <p:sp>
              <p:nvSpPr>
                <p:cNvPr id="378" name="Freeform 56">
                  <a:extLst>
                    <a:ext uri="{FF2B5EF4-FFF2-40B4-BE49-F238E27FC236}">
                      <a16:creationId xmlns:a16="http://schemas.microsoft.com/office/drawing/2014/main" id="{4C737FA7-3151-45A2-9929-95F94723C897}"/>
                    </a:ext>
                  </a:extLst>
                </p:cNvPr>
                <p:cNvSpPr>
                  <a:spLocks/>
                </p:cNvSpPr>
                <p:nvPr/>
              </p:nvSpPr>
              <p:spPr bwMode="gray">
                <a:xfrm>
                  <a:off x="7053263" y="5522913"/>
                  <a:ext cx="107950" cy="128588"/>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79" name="Freeform 57">
                  <a:extLst>
                    <a:ext uri="{FF2B5EF4-FFF2-40B4-BE49-F238E27FC236}">
                      <a16:creationId xmlns:a16="http://schemas.microsoft.com/office/drawing/2014/main" id="{C9783DC8-40BC-43C9-B3B6-5E853FAA0700}"/>
                    </a:ext>
                  </a:extLst>
                </p:cNvPr>
                <p:cNvSpPr>
                  <a:spLocks noEditPoints="1"/>
                </p:cNvSpPr>
                <p:nvPr/>
              </p:nvSpPr>
              <p:spPr bwMode="gray">
                <a:xfrm>
                  <a:off x="6950043" y="3532187"/>
                  <a:ext cx="885888" cy="847727"/>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solidFill>
                  <a:schemeClr val="accent1">
                    <a:lumMod val="7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a:p>
                  <a:pPr fontAlgn="base">
                    <a:spcBef>
                      <a:spcPct val="0"/>
                    </a:spcBef>
                    <a:spcAft>
                      <a:spcPct val="0"/>
                    </a:spcAft>
                    <a:buClrTx/>
                    <a:buFontTx/>
                    <a:buNone/>
                  </a:pPr>
                  <a:r>
                    <a:rPr lang="en-US" sz="1100" kern="1200" dirty="0">
                      <a:latin typeface="Arial" charset="0"/>
                      <a:ea typeface="+mn-ea"/>
                      <a:cs typeface="+mn-cs"/>
                    </a:rPr>
                    <a:t>  </a:t>
                  </a:r>
                  <a:r>
                    <a:rPr lang="en-US" sz="1000" kern="1200" dirty="0">
                      <a:latin typeface="Arial" charset="0"/>
                      <a:ea typeface="+mn-ea"/>
                      <a:cs typeface="+mn-cs"/>
                    </a:rPr>
                    <a:t>210</a:t>
                  </a:r>
                </a:p>
              </p:txBody>
            </p:sp>
            <p:sp>
              <p:nvSpPr>
                <p:cNvPr id="380" name="Freeform 58">
                  <a:extLst>
                    <a:ext uri="{FF2B5EF4-FFF2-40B4-BE49-F238E27FC236}">
                      <a16:creationId xmlns:a16="http://schemas.microsoft.com/office/drawing/2014/main" id="{3AD264DA-DBE3-4A9E-8298-3777F20FFC98}"/>
                    </a:ext>
                  </a:extLst>
                </p:cNvPr>
                <p:cNvSpPr>
                  <a:spLocks/>
                </p:cNvSpPr>
                <p:nvPr/>
              </p:nvSpPr>
              <p:spPr bwMode="gray">
                <a:xfrm>
                  <a:off x="4564063" y="2557463"/>
                  <a:ext cx="157162" cy="404813"/>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81" name="Freeform 59">
                  <a:extLst>
                    <a:ext uri="{FF2B5EF4-FFF2-40B4-BE49-F238E27FC236}">
                      <a16:creationId xmlns:a16="http://schemas.microsoft.com/office/drawing/2014/main" id="{CBF5892C-830C-426D-B8E1-C238FC65D107}"/>
                    </a:ext>
                  </a:extLst>
                </p:cNvPr>
                <p:cNvSpPr>
                  <a:spLocks noEditPoints="1"/>
                </p:cNvSpPr>
                <p:nvPr/>
              </p:nvSpPr>
              <p:spPr bwMode="gray">
                <a:xfrm>
                  <a:off x="5183188" y="434975"/>
                  <a:ext cx="325437" cy="585789"/>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solidFill>
                  <a:schemeClr val="accent1">
                    <a:lumMod val="7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200</a:t>
                  </a:r>
                </a:p>
              </p:txBody>
            </p:sp>
            <p:sp>
              <p:nvSpPr>
                <p:cNvPr id="382" name="Freeform 60">
                  <a:extLst>
                    <a:ext uri="{FF2B5EF4-FFF2-40B4-BE49-F238E27FC236}">
                      <a16:creationId xmlns:a16="http://schemas.microsoft.com/office/drawing/2014/main" id="{623F86DA-FD22-48F4-9001-2DFFBCD832E2}"/>
                    </a:ext>
                  </a:extLst>
                </p:cNvPr>
                <p:cNvSpPr>
                  <a:spLocks/>
                </p:cNvSpPr>
                <p:nvPr/>
              </p:nvSpPr>
              <p:spPr bwMode="gray">
                <a:xfrm>
                  <a:off x="6953250" y="3075829"/>
                  <a:ext cx="565525" cy="497634"/>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000" kern="1200" dirty="0">
                    <a:latin typeface="Arial" charset="0"/>
                    <a:ea typeface="+mn-ea"/>
                    <a:cs typeface="+mn-cs"/>
                  </a:endParaRPr>
                </a:p>
                <a:p>
                  <a:pPr fontAlgn="base">
                    <a:spcBef>
                      <a:spcPct val="0"/>
                    </a:spcBef>
                    <a:spcAft>
                      <a:spcPct val="0"/>
                    </a:spcAft>
                    <a:buClrTx/>
                    <a:buFontTx/>
                    <a:buNone/>
                  </a:pPr>
                  <a:r>
                    <a:rPr lang="en-US" sz="1000" b="1" kern="1200" dirty="0">
                      <a:latin typeface="Arial" charset="0"/>
                      <a:ea typeface="+mn-ea"/>
                      <a:cs typeface="+mn-cs"/>
                    </a:rPr>
                    <a:t>950</a:t>
                  </a:r>
                </a:p>
              </p:txBody>
            </p:sp>
            <p:sp>
              <p:nvSpPr>
                <p:cNvPr id="383" name="Freeform 61">
                  <a:extLst>
                    <a:ext uri="{FF2B5EF4-FFF2-40B4-BE49-F238E27FC236}">
                      <a16:creationId xmlns:a16="http://schemas.microsoft.com/office/drawing/2014/main" id="{7993966D-906F-41D2-B22C-5BDFFE757C1E}"/>
                    </a:ext>
                  </a:extLst>
                </p:cNvPr>
                <p:cNvSpPr>
                  <a:spLocks/>
                </p:cNvSpPr>
                <p:nvPr/>
              </p:nvSpPr>
              <p:spPr bwMode="gray">
                <a:xfrm>
                  <a:off x="3201988" y="1225550"/>
                  <a:ext cx="677862" cy="557213"/>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sp>
              <p:nvSpPr>
                <p:cNvPr id="384" name="Freeform 62">
                  <a:extLst>
                    <a:ext uri="{FF2B5EF4-FFF2-40B4-BE49-F238E27FC236}">
                      <a16:creationId xmlns:a16="http://schemas.microsoft.com/office/drawing/2014/main" id="{EE590440-DCAF-4E21-A7B6-E282601E9846}"/>
                    </a:ext>
                  </a:extLst>
                </p:cNvPr>
                <p:cNvSpPr>
                  <a:spLocks/>
                </p:cNvSpPr>
                <p:nvPr/>
              </p:nvSpPr>
              <p:spPr bwMode="gray">
                <a:xfrm>
                  <a:off x="6345238" y="4114800"/>
                  <a:ext cx="939800" cy="792163"/>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solidFill>
                  <a:srgbClr val="6B985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000" b="1" kern="1200" dirty="0">
                    <a:latin typeface="Arial" charset="0"/>
                    <a:ea typeface="+mn-ea"/>
                    <a:cs typeface="+mn-cs"/>
                  </a:endParaRPr>
                </a:p>
                <a:p>
                  <a:pPr fontAlgn="base">
                    <a:spcBef>
                      <a:spcPct val="0"/>
                    </a:spcBef>
                    <a:spcAft>
                      <a:spcPct val="0"/>
                    </a:spcAft>
                    <a:buClrTx/>
                    <a:buFontTx/>
                    <a:buNone/>
                  </a:pPr>
                  <a:endParaRPr lang="en-US" sz="1000" b="1" kern="1200" dirty="0">
                    <a:latin typeface="Arial" charset="0"/>
                    <a:ea typeface="+mn-ea"/>
                    <a:cs typeface="+mn-cs"/>
                  </a:endParaRPr>
                </a:p>
                <a:p>
                  <a:pPr fontAlgn="base">
                    <a:spcBef>
                      <a:spcPct val="0"/>
                    </a:spcBef>
                    <a:spcAft>
                      <a:spcPct val="0"/>
                    </a:spcAft>
                    <a:buClrTx/>
                    <a:buFontTx/>
                    <a:buNone/>
                  </a:pPr>
                  <a:r>
                    <a:rPr lang="en-US" sz="1000" b="1" kern="1200" dirty="0">
                      <a:latin typeface="Arial" charset="0"/>
                      <a:ea typeface="+mn-ea"/>
                      <a:cs typeface="+mn-cs"/>
                    </a:rPr>
                    <a:t>2000</a:t>
                  </a:r>
                </a:p>
              </p:txBody>
            </p:sp>
            <p:sp>
              <p:nvSpPr>
                <p:cNvPr id="385" name="Freeform 63">
                  <a:extLst>
                    <a:ext uri="{FF2B5EF4-FFF2-40B4-BE49-F238E27FC236}">
                      <a16:creationId xmlns:a16="http://schemas.microsoft.com/office/drawing/2014/main" id="{91CFED69-2269-4C5D-95EF-EFA4224C5350}"/>
                    </a:ext>
                  </a:extLst>
                </p:cNvPr>
                <p:cNvSpPr>
                  <a:spLocks/>
                </p:cNvSpPr>
                <p:nvPr/>
              </p:nvSpPr>
              <p:spPr bwMode="gray">
                <a:xfrm>
                  <a:off x="6576184" y="4674493"/>
                  <a:ext cx="658055" cy="583309"/>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100" kern="1200" dirty="0">
                      <a:latin typeface="Arial" charset="0"/>
                      <a:ea typeface="+mn-ea"/>
                      <a:cs typeface="+mn-cs"/>
                    </a:rPr>
                    <a:t> </a:t>
                  </a:r>
                </a:p>
                <a:p>
                  <a:pPr fontAlgn="base">
                    <a:spcBef>
                      <a:spcPct val="0"/>
                    </a:spcBef>
                    <a:spcAft>
                      <a:spcPct val="0"/>
                    </a:spcAft>
                    <a:buClrTx/>
                    <a:buFontTx/>
                    <a:buNone/>
                  </a:pPr>
                  <a:r>
                    <a:rPr lang="en-US" sz="1100" b="1" kern="1200" dirty="0">
                      <a:latin typeface="Arial" charset="0"/>
                      <a:ea typeface="+mn-ea"/>
                      <a:cs typeface="+mn-cs"/>
                    </a:rPr>
                    <a:t> </a:t>
                  </a:r>
                  <a:r>
                    <a:rPr lang="en-US" sz="1000" b="1" kern="1200" dirty="0">
                      <a:latin typeface="Arial" charset="0"/>
                      <a:ea typeface="+mn-ea"/>
                      <a:cs typeface="+mn-cs"/>
                    </a:rPr>
                    <a:t>200</a:t>
                  </a:r>
                </a:p>
              </p:txBody>
            </p:sp>
            <p:sp>
              <p:nvSpPr>
                <p:cNvPr id="386" name="Freeform 64">
                  <a:extLst>
                    <a:ext uri="{FF2B5EF4-FFF2-40B4-BE49-F238E27FC236}">
                      <a16:creationId xmlns:a16="http://schemas.microsoft.com/office/drawing/2014/main" id="{0EB2EA30-470C-4989-8600-8C27B1479193}"/>
                    </a:ext>
                  </a:extLst>
                </p:cNvPr>
                <p:cNvSpPr>
                  <a:spLocks/>
                </p:cNvSpPr>
                <p:nvPr/>
              </p:nvSpPr>
              <p:spPr bwMode="gray">
                <a:xfrm>
                  <a:off x="4111625" y="4730750"/>
                  <a:ext cx="11112" cy="11113"/>
                </a:xfrm>
                <a:custGeom>
                  <a:avLst/>
                  <a:gdLst>
                    <a:gd name="T0" fmla="*/ 7 w 7"/>
                    <a:gd name="T1" fmla="*/ 2 h 7"/>
                    <a:gd name="T2" fmla="*/ 7 w 7"/>
                    <a:gd name="T3" fmla="*/ 4 h 7"/>
                    <a:gd name="T4" fmla="*/ 1 w 7"/>
                    <a:gd name="T5" fmla="*/ 7 h 7"/>
                    <a:gd name="T6" fmla="*/ 0 w 7"/>
                    <a:gd name="T7" fmla="*/ 5 h 7"/>
                    <a:gd name="T8" fmla="*/ 3 w 7"/>
                    <a:gd name="T9" fmla="*/ 0 h 7"/>
                    <a:gd name="T10" fmla="*/ 7 w 7"/>
                    <a:gd name="T11" fmla="*/ 2 h 7"/>
                  </a:gdLst>
                  <a:ahLst/>
                  <a:cxnLst>
                    <a:cxn ang="0">
                      <a:pos x="T0" y="T1"/>
                    </a:cxn>
                    <a:cxn ang="0">
                      <a:pos x="T2" y="T3"/>
                    </a:cxn>
                    <a:cxn ang="0">
                      <a:pos x="T4" y="T5"/>
                    </a:cxn>
                    <a:cxn ang="0">
                      <a:pos x="T6" y="T7"/>
                    </a:cxn>
                    <a:cxn ang="0">
                      <a:pos x="T8" y="T9"/>
                    </a:cxn>
                    <a:cxn ang="0">
                      <a:pos x="T10" y="T11"/>
                    </a:cxn>
                  </a:cxnLst>
                  <a:rect l="0" t="0" r="r" b="b"/>
                  <a:pathLst>
                    <a:path w="7" h="7">
                      <a:moveTo>
                        <a:pt x="7" y="2"/>
                      </a:moveTo>
                      <a:lnTo>
                        <a:pt x="7" y="4"/>
                      </a:lnTo>
                      <a:lnTo>
                        <a:pt x="1" y="7"/>
                      </a:lnTo>
                      <a:lnTo>
                        <a:pt x="0" y="5"/>
                      </a:lnTo>
                      <a:lnTo>
                        <a:pt x="3" y="0"/>
                      </a:lnTo>
                      <a:lnTo>
                        <a:pt x="7" y="2"/>
                      </a:lnTo>
                      <a:close/>
                    </a:path>
                  </a:pathLst>
                </a:custGeom>
                <a:grp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100" kern="1200" dirty="0">
                    <a:latin typeface="Arial" charset="0"/>
                    <a:ea typeface="+mn-ea"/>
                    <a:cs typeface="+mn-cs"/>
                  </a:endParaRPr>
                </a:p>
              </p:txBody>
            </p:sp>
          </p:grpSp>
          <p:grpSp>
            <p:nvGrpSpPr>
              <p:cNvPr id="285" name="Group 284">
                <a:extLst>
                  <a:ext uri="{FF2B5EF4-FFF2-40B4-BE49-F238E27FC236}">
                    <a16:creationId xmlns:a16="http://schemas.microsoft.com/office/drawing/2014/main" id="{79CB7211-54A8-448C-854C-22A4006D369D}"/>
                  </a:ext>
                </a:extLst>
              </p:cNvPr>
              <p:cNvGrpSpPr/>
              <p:nvPr/>
            </p:nvGrpSpPr>
            <p:grpSpPr>
              <a:xfrm>
                <a:off x="6207895" y="2756843"/>
                <a:ext cx="3167681" cy="2479708"/>
                <a:chOff x="4504105" y="2789171"/>
                <a:chExt cx="3167681" cy="2479708"/>
              </a:xfrm>
              <a:grpFill/>
            </p:grpSpPr>
            <p:sp>
              <p:nvSpPr>
                <p:cNvPr id="300" name="Rectangle 67">
                  <a:extLst>
                    <a:ext uri="{FF2B5EF4-FFF2-40B4-BE49-F238E27FC236}">
                      <a16:creationId xmlns:a16="http://schemas.microsoft.com/office/drawing/2014/main" id="{8BEF8E76-8502-49D1-B38A-98A4BDDC52B0}"/>
                    </a:ext>
                  </a:extLst>
                </p:cNvPr>
                <p:cNvSpPr>
                  <a:spLocks noChangeArrowheads="1"/>
                </p:cNvSpPr>
                <p:nvPr/>
              </p:nvSpPr>
              <p:spPr bwMode="gray">
                <a:xfrm>
                  <a:off x="5144557" y="3079629"/>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01" name="Rectangle 69">
                  <a:extLst>
                    <a:ext uri="{FF2B5EF4-FFF2-40B4-BE49-F238E27FC236}">
                      <a16:creationId xmlns:a16="http://schemas.microsoft.com/office/drawing/2014/main" id="{AB041237-9167-4815-80D7-0593BE6AA840}"/>
                    </a:ext>
                  </a:extLst>
                </p:cNvPr>
                <p:cNvSpPr>
                  <a:spLocks noChangeArrowheads="1"/>
                </p:cNvSpPr>
                <p:nvPr/>
              </p:nvSpPr>
              <p:spPr bwMode="gray">
                <a:xfrm>
                  <a:off x="5183249" y="3419060"/>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02" name="Rectangle 73">
                  <a:extLst>
                    <a:ext uri="{FF2B5EF4-FFF2-40B4-BE49-F238E27FC236}">
                      <a16:creationId xmlns:a16="http://schemas.microsoft.com/office/drawing/2014/main" id="{471686D5-CAFD-4F1B-880C-857A07D0B5AD}"/>
                    </a:ext>
                  </a:extLst>
                </p:cNvPr>
                <p:cNvSpPr>
                  <a:spLocks noChangeArrowheads="1"/>
                </p:cNvSpPr>
                <p:nvPr/>
              </p:nvSpPr>
              <p:spPr bwMode="gray">
                <a:xfrm>
                  <a:off x="4919220" y="3403274"/>
                  <a:ext cx="67"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03" name="Rectangle 75">
                  <a:extLst>
                    <a:ext uri="{FF2B5EF4-FFF2-40B4-BE49-F238E27FC236}">
                      <a16:creationId xmlns:a16="http://schemas.microsoft.com/office/drawing/2014/main" id="{385C6310-82D0-4770-B7F8-47EBA3BB4B4D}"/>
                    </a:ext>
                  </a:extLst>
                </p:cNvPr>
                <p:cNvSpPr>
                  <a:spLocks noChangeArrowheads="1"/>
                </p:cNvSpPr>
                <p:nvPr/>
              </p:nvSpPr>
              <p:spPr bwMode="gray">
                <a:xfrm>
                  <a:off x="5126404" y="2789171"/>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19" name="Rectangle 84">
                  <a:extLst>
                    <a:ext uri="{FF2B5EF4-FFF2-40B4-BE49-F238E27FC236}">
                      <a16:creationId xmlns:a16="http://schemas.microsoft.com/office/drawing/2014/main" id="{AE592776-D239-4439-BCE8-D0BA72A21D5D}"/>
                    </a:ext>
                  </a:extLst>
                </p:cNvPr>
                <p:cNvSpPr>
                  <a:spLocks noChangeArrowheads="1"/>
                </p:cNvSpPr>
                <p:nvPr/>
              </p:nvSpPr>
              <p:spPr bwMode="gray">
                <a:xfrm>
                  <a:off x="5982626" y="3611719"/>
                  <a:ext cx="188339" cy="15388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000" b="1" kern="1200" dirty="0">
                      <a:solidFill>
                        <a:srgbClr val="000000"/>
                      </a:solidFill>
                      <a:latin typeface="Arial"/>
                      <a:ea typeface="+mn-ea"/>
                      <a:cs typeface="Argumentum Ultra Light" panose="020B0000000000000000" pitchFamily="34" charset="0"/>
                    </a:rPr>
                    <a:t>95</a:t>
                  </a:r>
                </a:p>
              </p:txBody>
            </p:sp>
            <p:sp>
              <p:nvSpPr>
                <p:cNvPr id="321" name="Rectangle 92">
                  <a:extLst>
                    <a:ext uri="{FF2B5EF4-FFF2-40B4-BE49-F238E27FC236}">
                      <a16:creationId xmlns:a16="http://schemas.microsoft.com/office/drawing/2014/main" id="{C32FD610-497D-4F7A-A1CE-1389A5F1361E}"/>
                    </a:ext>
                  </a:extLst>
                </p:cNvPr>
                <p:cNvSpPr>
                  <a:spLocks noChangeArrowheads="1"/>
                </p:cNvSpPr>
                <p:nvPr/>
              </p:nvSpPr>
              <p:spPr bwMode="gray">
                <a:xfrm>
                  <a:off x="7671718" y="3387309"/>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22" name="Rectangle 96">
                  <a:extLst>
                    <a:ext uri="{FF2B5EF4-FFF2-40B4-BE49-F238E27FC236}">
                      <a16:creationId xmlns:a16="http://schemas.microsoft.com/office/drawing/2014/main" id="{947E180B-3E8D-47B9-A9DB-B0E26FA25749}"/>
                    </a:ext>
                  </a:extLst>
                </p:cNvPr>
                <p:cNvSpPr>
                  <a:spLocks noChangeArrowheads="1"/>
                </p:cNvSpPr>
                <p:nvPr/>
              </p:nvSpPr>
              <p:spPr bwMode="gray">
                <a:xfrm>
                  <a:off x="5816566" y="2828409"/>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24" name="Rectangle 101">
                  <a:extLst>
                    <a:ext uri="{FF2B5EF4-FFF2-40B4-BE49-F238E27FC236}">
                      <a16:creationId xmlns:a16="http://schemas.microsoft.com/office/drawing/2014/main" id="{D0A62D26-041B-429F-AADA-D985CA4A0A39}"/>
                    </a:ext>
                  </a:extLst>
                </p:cNvPr>
                <p:cNvSpPr>
                  <a:spLocks noChangeArrowheads="1"/>
                </p:cNvSpPr>
                <p:nvPr/>
              </p:nvSpPr>
              <p:spPr bwMode="gray">
                <a:xfrm>
                  <a:off x="7172381" y="2927375"/>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FFFFFF"/>
                    </a:solidFill>
                    <a:latin typeface="Arial"/>
                    <a:ea typeface="+mn-ea"/>
                    <a:cs typeface="Argumentum Ultra Light" panose="020B0000000000000000" pitchFamily="34" charset="0"/>
                  </a:endParaRPr>
                </a:p>
              </p:txBody>
            </p:sp>
            <p:sp>
              <p:nvSpPr>
                <p:cNvPr id="325" name="Rectangle 110">
                  <a:extLst>
                    <a:ext uri="{FF2B5EF4-FFF2-40B4-BE49-F238E27FC236}">
                      <a16:creationId xmlns:a16="http://schemas.microsoft.com/office/drawing/2014/main" id="{6C7B4FEA-72EC-46D8-BDD5-12EE866E2213}"/>
                    </a:ext>
                  </a:extLst>
                </p:cNvPr>
                <p:cNvSpPr>
                  <a:spLocks noChangeArrowheads="1"/>
                </p:cNvSpPr>
                <p:nvPr/>
              </p:nvSpPr>
              <p:spPr bwMode="gray">
                <a:xfrm>
                  <a:off x="6677706" y="4071676"/>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26" name="Rectangle 120">
                  <a:extLst>
                    <a:ext uri="{FF2B5EF4-FFF2-40B4-BE49-F238E27FC236}">
                      <a16:creationId xmlns:a16="http://schemas.microsoft.com/office/drawing/2014/main" id="{43D35389-86EF-4364-80DA-020BA4EA041E}"/>
                    </a:ext>
                  </a:extLst>
                </p:cNvPr>
                <p:cNvSpPr>
                  <a:spLocks noChangeArrowheads="1"/>
                </p:cNvSpPr>
                <p:nvPr/>
              </p:nvSpPr>
              <p:spPr bwMode="gray">
                <a:xfrm>
                  <a:off x="7368258" y="4277118"/>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27" name="Rectangle 121">
                  <a:extLst>
                    <a:ext uri="{FF2B5EF4-FFF2-40B4-BE49-F238E27FC236}">
                      <a16:creationId xmlns:a16="http://schemas.microsoft.com/office/drawing/2014/main" id="{C5434751-FCDC-47A6-8D2D-03F9BD1A11CD}"/>
                    </a:ext>
                  </a:extLst>
                </p:cNvPr>
                <p:cNvSpPr>
                  <a:spLocks noChangeArrowheads="1"/>
                </p:cNvSpPr>
                <p:nvPr/>
              </p:nvSpPr>
              <p:spPr bwMode="gray">
                <a:xfrm>
                  <a:off x="6819251" y="4796902"/>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28" name="Rectangle 122">
                  <a:extLst>
                    <a:ext uri="{FF2B5EF4-FFF2-40B4-BE49-F238E27FC236}">
                      <a16:creationId xmlns:a16="http://schemas.microsoft.com/office/drawing/2014/main" id="{40176EBC-6BEB-4BE5-A2E9-4662CA0D808F}"/>
                    </a:ext>
                  </a:extLst>
                </p:cNvPr>
                <p:cNvSpPr>
                  <a:spLocks noChangeArrowheads="1"/>
                </p:cNvSpPr>
                <p:nvPr/>
              </p:nvSpPr>
              <p:spPr bwMode="gray">
                <a:xfrm>
                  <a:off x="7081012" y="5099602"/>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sp>
              <p:nvSpPr>
                <p:cNvPr id="329" name="Rectangle 97">
                  <a:extLst>
                    <a:ext uri="{FF2B5EF4-FFF2-40B4-BE49-F238E27FC236}">
                      <a16:creationId xmlns:a16="http://schemas.microsoft.com/office/drawing/2014/main" id="{F640470A-5523-4FD2-9C40-688BC76D5DFC}"/>
                    </a:ext>
                  </a:extLst>
                </p:cNvPr>
                <p:cNvSpPr>
                  <a:spLocks noChangeArrowheads="1"/>
                </p:cNvSpPr>
                <p:nvPr/>
              </p:nvSpPr>
              <p:spPr bwMode="gray">
                <a:xfrm>
                  <a:off x="4504105" y="3351435"/>
                  <a:ext cx="68" cy="1692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endParaRPr lang="en-US" altLang="en-US" sz="1100" kern="1200" dirty="0">
                    <a:solidFill>
                      <a:srgbClr val="000000"/>
                    </a:solidFill>
                    <a:latin typeface="Arial"/>
                    <a:ea typeface="+mn-ea"/>
                    <a:cs typeface="Argumentum Ultra Light" panose="020B0000000000000000" pitchFamily="34" charset="0"/>
                  </a:endParaRPr>
                </a:p>
              </p:txBody>
            </p:sp>
          </p:grpSp>
        </p:grpSp>
      </p:grpSp>
      <p:sp>
        <p:nvSpPr>
          <p:cNvPr id="474" name="Rectangle 473">
            <a:extLst>
              <a:ext uri="{FF2B5EF4-FFF2-40B4-BE49-F238E27FC236}">
                <a16:creationId xmlns:a16="http://schemas.microsoft.com/office/drawing/2014/main" id="{05F53D94-4C8E-4E8C-852E-1083B9C018EA}"/>
              </a:ext>
            </a:extLst>
          </p:cNvPr>
          <p:cNvSpPr/>
          <p:nvPr/>
        </p:nvSpPr>
        <p:spPr>
          <a:xfrm>
            <a:off x="10598388" y="5807801"/>
            <a:ext cx="1195219" cy="35326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fontAlgn="base">
              <a:spcBef>
                <a:spcPct val="0"/>
              </a:spcBef>
              <a:spcAft>
                <a:spcPct val="0"/>
              </a:spcAft>
              <a:buClrTx/>
              <a:buFontTx/>
              <a:buNone/>
            </a:pPr>
            <a:r>
              <a:rPr lang="en-ZA" sz="1200" kern="1200" dirty="0">
                <a:ln w="0"/>
                <a:solidFill>
                  <a:srgbClr val="000000"/>
                </a:solidFill>
                <a:effectLst>
                  <a:outerShdw blurRad="38100" dist="19050" dir="2700000" algn="tl" rotWithShape="0">
                    <a:srgbClr val="000000">
                      <a:alpha val="40000"/>
                    </a:srgbClr>
                  </a:outerShdw>
                </a:effectLst>
              </a:rPr>
              <a:t>Total= 9,245</a:t>
            </a:r>
          </a:p>
        </p:txBody>
      </p:sp>
      <p:sp>
        <p:nvSpPr>
          <p:cNvPr id="478" name="Text Placeholder 2">
            <a:extLst>
              <a:ext uri="{FF2B5EF4-FFF2-40B4-BE49-F238E27FC236}">
                <a16:creationId xmlns:a16="http://schemas.microsoft.com/office/drawing/2014/main" id="{297CBE7A-1945-4062-8834-CAE4D45701DC}"/>
              </a:ext>
            </a:extLst>
          </p:cNvPr>
          <p:cNvSpPr>
            <a:spLocks noGrp="1"/>
          </p:cNvSpPr>
          <p:nvPr>
            <p:custDataLst>
              <p:tags r:id="rId26"/>
            </p:custDataLst>
          </p:nvPr>
        </p:nvSpPr>
        <p:spPr bwMode="gray">
          <a:xfrm>
            <a:off x="3839981" y="5351786"/>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sp>
        <p:nvSpPr>
          <p:cNvPr id="194" name="Rectangle 121">
            <a:extLst>
              <a:ext uri="{FF2B5EF4-FFF2-40B4-BE49-F238E27FC236}">
                <a16:creationId xmlns:a16="http://schemas.microsoft.com/office/drawing/2014/main" id="{C5434751-FCDC-47A6-8D2D-03F9BD1A11CD}"/>
              </a:ext>
            </a:extLst>
          </p:cNvPr>
          <p:cNvSpPr>
            <a:spLocks noChangeArrowheads="1"/>
          </p:cNvSpPr>
          <p:nvPr/>
        </p:nvSpPr>
        <p:spPr bwMode="gray">
          <a:xfrm>
            <a:off x="9708757" y="5213346"/>
            <a:ext cx="7694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100" kern="1200" dirty="0">
                <a:solidFill>
                  <a:srgbClr val="000000"/>
                </a:solidFill>
                <a:latin typeface="Arial"/>
                <a:ea typeface="+mn-ea"/>
                <a:cs typeface="Argumentum Ultra Light" panose="020B0000000000000000" pitchFamily="34" charset="0"/>
              </a:rPr>
              <a:t>  </a:t>
            </a:r>
          </a:p>
        </p:txBody>
      </p:sp>
      <p:sp>
        <p:nvSpPr>
          <p:cNvPr id="5" name="Rectangle 4"/>
          <p:cNvSpPr/>
          <p:nvPr/>
        </p:nvSpPr>
        <p:spPr>
          <a:xfrm>
            <a:off x="4827248" y="4315766"/>
            <a:ext cx="1395782" cy="646331"/>
          </a:xfrm>
          <a:prstGeom prst="rect">
            <a:avLst/>
          </a:prstGeom>
        </p:spPr>
        <p:txBody>
          <a:bodyPr wrap="square">
            <a:spAutoFit/>
          </a:bodyPr>
          <a:lstStyle/>
          <a:p>
            <a:pPr fontAlgn="base">
              <a:spcBef>
                <a:spcPct val="0"/>
              </a:spcBef>
              <a:spcAft>
                <a:spcPct val="0"/>
              </a:spcAft>
              <a:buClrTx/>
              <a:buFontTx/>
              <a:buNone/>
            </a:pPr>
            <a:r>
              <a:rPr lang="en-US" sz="1200" kern="1200" dirty="0">
                <a:latin typeface="Arial" charset="0"/>
                <a:ea typeface="+mn-ea"/>
                <a:cs typeface="+mn-cs"/>
              </a:rPr>
              <a:t>Volunteers at </a:t>
            </a:r>
          </a:p>
          <a:p>
            <a:pPr fontAlgn="base">
              <a:spcBef>
                <a:spcPct val="0"/>
              </a:spcBef>
              <a:spcAft>
                <a:spcPct val="0"/>
              </a:spcAft>
              <a:buClrTx/>
              <a:buFontTx/>
              <a:buNone/>
            </a:pPr>
            <a:r>
              <a:rPr lang="en-US" sz="1200" kern="1200" dirty="0">
                <a:latin typeface="Arial" charset="0"/>
                <a:ea typeface="+mn-ea"/>
                <a:cs typeface="+mn-cs"/>
              </a:rPr>
              <a:t>Africa CDC HQ </a:t>
            </a:r>
          </a:p>
          <a:p>
            <a:pPr fontAlgn="base">
              <a:spcBef>
                <a:spcPct val="0"/>
              </a:spcBef>
              <a:spcAft>
                <a:spcPct val="0"/>
              </a:spcAft>
              <a:buClrTx/>
              <a:buFontTx/>
              <a:buNone/>
            </a:pPr>
            <a:r>
              <a:rPr lang="en-US" sz="1200" kern="1200" dirty="0">
                <a:latin typeface="Arial" charset="0"/>
                <a:ea typeface="+mn-ea"/>
                <a:cs typeface="+mn-cs"/>
              </a:rPr>
              <a:t>and  RCCs</a:t>
            </a:r>
          </a:p>
        </p:txBody>
      </p:sp>
      <p:sp>
        <p:nvSpPr>
          <p:cNvPr id="7" name="Rectangle 6"/>
          <p:cNvSpPr/>
          <p:nvPr/>
        </p:nvSpPr>
        <p:spPr>
          <a:xfrm>
            <a:off x="6340590" y="4418502"/>
            <a:ext cx="354584" cy="276999"/>
          </a:xfrm>
          <a:prstGeom prst="rect">
            <a:avLst/>
          </a:prstGeom>
        </p:spPr>
        <p:txBody>
          <a:bodyPr wrap="none">
            <a:spAutoFit/>
          </a:bodyPr>
          <a:lstStyle/>
          <a:p>
            <a:pPr fontAlgn="base">
              <a:spcBef>
                <a:spcPct val="0"/>
              </a:spcBef>
              <a:spcAft>
                <a:spcPct val="0"/>
              </a:spcAft>
              <a:buClrTx/>
              <a:buFontTx/>
              <a:buNone/>
            </a:pPr>
            <a:r>
              <a:rPr lang="en-US" altLang="en-US" sz="1200" kern="1200" dirty="0">
                <a:latin typeface="Arial" charset="0"/>
                <a:ea typeface="+mn-ea"/>
                <a:cs typeface="+mn-cs"/>
                <a:sym typeface="+mn-lt"/>
              </a:rPr>
              <a:t>23</a:t>
            </a:r>
            <a:endParaRPr lang="en-US" sz="1200" kern="1200" dirty="0">
              <a:latin typeface="Arial" charset="0"/>
              <a:ea typeface="+mn-ea"/>
              <a:cs typeface="+mn-cs"/>
            </a:endParaRPr>
          </a:p>
        </p:txBody>
      </p:sp>
      <p:sp>
        <p:nvSpPr>
          <p:cNvPr id="196" name="Text Placeholder 2">
            <a:extLst>
              <a:ext uri="{FF2B5EF4-FFF2-40B4-BE49-F238E27FC236}">
                <a16:creationId xmlns:a16="http://schemas.microsoft.com/office/drawing/2014/main" id="{BA5689D6-00AE-4E6E-8AF9-29B5B8034B30}"/>
              </a:ext>
            </a:extLst>
          </p:cNvPr>
          <p:cNvSpPr>
            <a:spLocks noGrp="1"/>
          </p:cNvSpPr>
          <p:nvPr>
            <p:custDataLst>
              <p:tags r:id="rId27"/>
            </p:custDataLst>
          </p:nvPr>
        </p:nvSpPr>
        <p:spPr bwMode="auto">
          <a:xfrm>
            <a:off x="7668494" y="5566727"/>
            <a:ext cx="1001428" cy="457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buClr>
                <a:srgbClr val="303D24"/>
              </a:buClr>
              <a:buFontTx/>
              <a:buNone/>
            </a:pPr>
            <a:endParaRPr lang="en-US" sz="1000" kern="1200" dirty="0">
              <a:solidFill>
                <a:srgbClr val="000000"/>
              </a:solidFill>
              <a:sym typeface="+mn-lt"/>
            </a:endParaRPr>
          </a:p>
        </p:txBody>
      </p:sp>
      <p:grpSp>
        <p:nvGrpSpPr>
          <p:cNvPr id="186" name="Group 185">
            <a:extLst>
              <a:ext uri="{FF2B5EF4-FFF2-40B4-BE49-F238E27FC236}">
                <a16:creationId xmlns:a16="http://schemas.microsoft.com/office/drawing/2014/main" id="{4C1E743A-CB9C-4F34-B20B-EE818934B70F}"/>
              </a:ext>
            </a:extLst>
          </p:cNvPr>
          <p:cNvGrpSpPr/>
          <p:nvPr/>
        </p:nvGrpSpPr>
        <p:grpSpPr>
          <a:xfrm>
            <a:off x="-82938" y="1561273"/>
            <a:ext cx="4844406" cy="4653183"/>
            <a:chOff x="5391671" y="1584580"/>
            <a:chExt cx="4816238" cy="4543644"/>
          </a:xfrm>
        </p:grpSpPr>
        <p:grpSp>
          <p:nvGrpSpPr>
            <p:cNvPr id="187" name="Group 186">
              <a:extLst>
                <a:ext uri="{FF2B5EF4-FFF2-40B4-BE49-F238E27FC236}">
                  <a16:creationId xmlns:a16="http://schemas.microsoft.com/office/drawing/2014/main" id="{179F10C3-B1C9-49E6-AFE0-44FF705409C0}"/>
                </a:ext>
              </a:extLst>
            </p:cNvPr>
            <p:cNvGrpSpPr>
              <a:grpSpLocks/>
            </p:cNvGrpSpPr>
            <p:nvPr/>
          </p:nvGrpSpPr>
          <p:grpSpPr bwMode="gray">
            <a:xfrm>
              <a:off x="5391671" y="1584580"/>
              <a:ext cx="4816238" cy="4543644"/>
              <a:chOff x="2538413" y="434975"/>
              <a:chExt cx="6170612" cy="5821363"/>
            </a:xfrm>
          </p:grpSpPr>
          <p:sp>
            <p:nvSpPr>
              <p:cNvPr id="212" name="Freeform 9">
                <a:extLst>
                  <a:ext uri="{FF2B5EF4-FFF2-40B4-BE49-F238E27FC236}">
                    <a16:creationId xmlns:a16="http://schemas.microsoft.com/office/drawing/2014/main" id="{C09175E2-CCEB-46FC-BD5D-FB22CF2E1039}"/>
                  </a:ext>
                </a:extLst>
              </p:cNvPr>
              <p:cNvSpPr>
                <a:spLocks/>
              </p:cNvSpPr>
              <p:nvPr/>
            </p:nvSpPr>
            <p:spPr bwMode="gray">
              <a:xfrm>
                <a:off x="3890168" y="478928"/>
                <a:ext cx="1662112" cy="1458913"/>
              </a:xfrm>
              <a:custGeom>
                <a:avLst/>
                <a:gdLst>
                  <a:gd name="T0" fmla="*/ 868 w 1047"/>
                  <a:gd name="T1" fmla="*/ 17 h 919"/>
                  <a:gd name="T2" fmla="*/ 860 w 1047"/>
                  <a:gd name="T3" fmla="*/ 34 h 919"/>
                  <a:gd name="T4" fmla="*/ 858 w 1047"/>
                  <a:gd name="T5" fmla="*/ 58 h 919"/>
                  <a:gd name="T6" fmla="*/ 861 w 1047"/>
                  <a:gd name="T7" fmla="*/ 83 h 919"/>
                  <a:gd name="T8" fmla="*/ 860 w 1047"/>
                  <a:gd name="T9" fmla="*/ 109 h 919"/>
                  <a:gd name="T10" fmla="*/ 855 w 1047"/>
                  <a:gd name="T11" fmla="*/ 128 h 919"/>
                  <a:gd name="T12" fmla="*/ 824 w 1047"/>
                  <a:gd name="T13" fmla="*/ 151 h 919"/>
                  <a:gd name="T14" fmla="*/ 824 w 1047"/>
                  <a:gd name="T15" fmla="*/ 175 h 919"/>
                  <a:gd name="T16" fmla="*/ 861 w 1047"/>
                  <a:gd name="T17" fmla="*/ 233 h 919"/>
                  <a:gd name="T18" fmla="*/ 940 w 1047"/>
                  <a:gd name="T19" fmla="*/ 422 h 919"/>
                  <a:gd name="T20" fmla="*/ 940 w 1047"/>
                  <a:gd name="T21" fmla="*/ 483 h 919"/>
                  <a:gd name="T22" fmla="*/ 940 w 1047"/>
                  <a:gd name="T23" fmla="*/ 524 h 919"/>
                  <a:gd name="T24" fmla="*/ 951 w 1047"/>
                  <a:gd name="T25" fmla="*/ 623 h 919"/>
                  <a:gd name="T26" fmla="*/ 987 w 1047"/>
                  <a:gd name="T27" fmla="*/ 635 h 919"/>
                  <a:gd name="T28" fmla="*/ 895 w 1047"/>
                  <a:gd name="T29" fmla="*/ 776 h 919"/>
                  <a:gd name="T30" fmla="*/ 608 w 1047"/>
                  <a:gd name="T31" fmla="*/ 917 h 919"/>
                  <a:gd name="T32" fmla="*/ 603 w 1047"/>
                  <a:gd name="T33" fmla="*/ 891 h 919"/>
                  <a:gd name="T34" fmla="*/ 583 w 1047"/>
                  <a:gd name="T35" fmla="*/ 868 h 919"/>
                  <a:gd name="T36" fmla="*/ 561 w 1047"/>
                  <a:gd name="T37" fmla="*/ 862 h 919"/>
                  <a:gd name="T38" fmla="*/ 549 w 1047"/>
                  <a:gd name="T39" fmla="*/ 852 h 919"/>
                  <a:gd name="T40" fmla="*/ 528 w 1047"/>
                  <a:gd name="T41" fmla="*/ 849 h 919"/>
                  <a:gd name="T42" fmla="*/ 498 w 1047"/>
                  <a:gd name="T43" fmla="*/ 825 h 919"/>
                  <a:gd name="T44" fmla="*/ 0 w 1047"/>
                  <a:gd name="T45" fmla="*/ 459 h 919"/>
                  <a:gd name="T46" fmla="*/ 52 w 1047"/>
                  <a:gd name="T47" fmla="*/ 391 h 919"/>
                  <a:gd name="T48" fmla="*/ 96 w 1047"/>
                  <a:gd name="T49" fmla="*/ 386 h 919"/>
                  <a:gd name="T50" fmla="*/ 124 w 1047"/>
                  <a:gd name="T51" fmla="*/ 386 h 919"/>
                  <a:gd name="T52" fmla="*/ 151 w 1047"/>
                  <a:gd name="T53" fmla="*/ 383 h 919"/>
                  <a:gd name="T54" fmla="*/ 170 w 1047"/>
                  <a:gd name="T55" fmla="*/ 369 h 919"/>
                  <a:gd name="T56" fmla="*/ 248 w 1047"/>
                  <a:gd name="T57" fmla="*/ 320 h 919"/>
                  <a:gd name="T58" fmla="*/ 255 w 1047"/>
                  <a:gd name="T59" fmla="*/ 305 h 919"/>
                  <a:gd name="T60" fmla="*/ 248 w 1047"/>
                  <a:gd name="T61" fmla="*/ 301 h 919"/>
                  <a:gd name="T62" fmla="*/ 253 w 1047"/>
                  <a:gd name="T63" fmla="*/ 277 h 919"/>
                  <a:gd name="T64" fmla="*/ 326 w 1047"/>
                  <a:gd name="T65" fmla="*/ 250 h 919"/>
                  <a:gd name="T66" fmla="*/ 379 w 1047"/>
                  <a:gd name="T67" fmla="*/ 250 h 919"/>
                  <a:gd name="T68" fmla="*/ 368 w 1047"/>
                  <a:gd name="T69" fmla="*/ 219 h 919"/>
                  <a:gd name="T70" fmla="*/ 357 w 1047"/>
                  <a:gd name="T71" fmla="*/ 182 h 919"/>
                  <a:gd name="T72" fmla="*/ 355 w 1047"/>
                  <a:gd name="T73" fmla="*/ 151 h 919"/>
                  <a:gd name="T74" fmla="*/ 346 w 1047"/>
                  <a:gd name="T75" fmla="*/ 117 h 919"/>
                  <a:gd name="T76" fmla="*/ 326 w 1047"/>
                  <a:gd name="T77" fmla="*/ 104 h 919"/>
                  <a:gd name="T78" fmla="*/ 357 w 1047"/>
                  <a:gd name="T79" fmla="*/ 95 h 919"/>
                  <a:gd name="T80" fmla="*/ 380 w 1047"/>
                  <a:gd name="T81" fmla="*/ 77 h 919"/>
                  <a:gd name="T82" fmla="*/ 401 w 1047"/>
                  <a:gd name="T83" fmla="*/ 68 h 919"/>
                  <a:gd name="T84" fmla="*/ 411 w 1047"/>
                  <a:gd name="T85" fmla="*/ 66 h 919"/>
                  <a:gd name="T86" fmla="*/ 423 w 1047"/>
                  <a:gd name="T87" fmla="*/ 63 h 919"/>
                  <a:gd name="T88" fmla="*/ 477 w 1047"/>
                  <a:gd name="T89" fmla="*/ 39 h 919"/>
                  <a:gd name="T90" fmla="*/ 506 w 1047"/>
                  <a:gd name="T91" fmla="*/ 27 h 919"/>
                  <a:gd name="T92" fmla="*/ 540 w 1047"/>
                  <a:gd name="T93" fmla="*/ 27 h 919"/>
                  <a:gd name="T94" fmla="*/ 586 w 1047"/>
                  <a:gd name="T95" fmla="*/ 15 h 919"/>
                  <a:gd name="T96" fmla="*/ 625 w 1047"/>
                  <a:gd name="T97" fmla="*/ 12 h 919"/>
                  <a:gd name="T98" fmla="*/ 663 w 1047"/>
                  <a:gd name="T99" fmla="*/ 10 h 919"/>
                  <a:gd name="T100" fmla="*/ 697 w 1047"/>
                  <a:gd name="T101" fmla="*/ 17 h 919"/>
                  <a:gd name="T102" fmla="*/ 727 w 1047"/>
                  <a:gd name="T103" fmla="*/ 14 h 919"/>
                  <a:gd name="T104" fmla="*/ 758 w 1047"/>
                  <a:gd name="T105" fmla="*/ 3 h 919"/>
                  <a:gd name="T106" fmla="*/ 775 w 1047"/>
                  <a:gd name="T107" fmla="*/ 5 h 919"/>
                  <a:gd name="T108" fmla="*/ 787 w 1047"/>
                  <a:gd name="T109" fmla="*/ 10 h 919"/>
                  <a:gd name="T110" fmla="*/ 809 w 1047"/>
                  <a:gd name="T111" fmla="*/ 0 h 919"/>
                  <a:gd name="T112" fmla="*/ 829 w 1047"/>
                  <a:gd name="T113" fmla="*/ 7 h 919"/>
                  <a:gd name="T114" fmla="*/ 865 w 1047"/>
                  <a:gd name="T115" fmla="*/ 10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7" h="919">
                    <a:moveTo>
                      <a:pt x="877" y="7"/>
                    </a:moveTo>
                    <a:lnTo>
                      <a:pt x="877" y="9"/>
                    </a:lnTo>
                    <a:lnTo>
                      <a:pt x="877" y="10"/>
                    </a:lnTo>
                    <a:lnTo>
                      <a:pt x="875" y="12"/>
                    </a:lnTo>
                    <a:lnTo>
                      <a:pt x="878" y="12"/>
                    </a:lnTo>
                    <a:lnTo>
                      <a:pt x="878" y="14"/>
                    </a:lnTo>
                    <a:lnTo>
                      <a:pt x="873" y="15"/>
                    </a:lnTo>
                    <a:lnTo>
                      <a:pt x="868" y="15"/>
                    </a:lnTo>
                    <a:lnTo>
                      <a:pt x="867" y="17"/>
                    </a:lnTo>
                    <a:lnTo>
                      <a:pt x="868" y="17"/>
                    </a:lnTo>
                    <a:lnTo>
                      <a:pt x="868" y="20"/>
                    </a:lnTo>
                    <a:lnTo>
                      <a:pt x="867" y="22"/>
                    </a:lnTo>
                    <a:lnTo>
                      <a:pt x="867" y="24"/>
                    </a:lnTo>
                    <a:lnTo>
                      <a:pt x="865" y="24"/>
                    </a:lnTo>
                    <a:lnTo>
                      <a:pt x="858" y="27"/>
                    </a:lnTo>
                    <a:lnTo>
                      <a:pt x="853" y="29"/>
                    </a:lnTo>
                    <a:lnTo>
                      <a:pt x="851" y="31"/>
                    </a:lnTo>
                    <a:lnTo>
                      <a:pt x="853" y="32"/>
                    </a:lnTo>
                    <a:lnTo>
                      <a:pt x="855" y="32"/>
                    </a:lnTo>
                    <a:lnTo>
                      <a:pt x="860" y="34"/>
                    </a:lnTo>
                    <a:lnTo>
                      <a:pt x="861" y="32"/>
                    </a:lnTo>
                    <a:lnTo>
                      <a:pt x="865" y="34"/>
                    </a:lnTo>
                    <a:lnTo>
                      <a:pt x="863" y="37"/>
                    </a:lnTo>
                    <a:lnTo>
                      <a:pt x="863" y="39"/>
                    </a:lnTo>
                    <a:lnTo>
                      <a:pt x="861" y="43"/>
                    </a:lnTo>
                    <a:lnTo>
                      <a:pt x="861" y="44"/>
                    </a:lnTo>
                    <a:lnTo>
                      <a:pt x="860" y="46"/>
                    </a:lnTo>
                    <a:lnTo>
                      <a:pt x="861" y="49"/>
                    </a:lnTo>
                    <a:lnTo>
                      <a:pt x="860" y="53"/>
                    </a:lnTo>
                    <a:lnTo>
                      <a:pt x="858" y="58"/>
                    </a:lnTo>
                    <a:lnTo>
                      <a:pt x="856" y="60"/>
                    </a:lnTo>
                    <a:lnTo>
                      <a:pt x="858" y="60"/>
                    </a:lnTo>
                    <a:lnTo>
                      <a:pt x="856" y="61"/>
                    </a:lnTo>
                    <a:lnTo>
                      <a:pt x="858" y="61"/>
                    </a:lnTo>
                    <a:lnTo>
                      <a:pt x="858" y="65"/>
                    </a:lnTo>
                    <a:lnTo>
                      <a:pt x="856" y="70"/>
                    </a:lnTo>
                    <a:lnTo>
                      <a:pt x="861" y="73"/>
                    </a:lnTo>
                    <a:lnTo>
                      <a:pt x="861" y="80"/>
                    </a:lnTo>
                    <a:lnTo>
                      <a:pt x="863" y="82"/>
                    </a:lnTo>
                    <a:lnTo>
                      <a:pt x="861" y="83"/>
                    </a:lnTo>
                    <a:lnTo>
                      <a:pt x="860" y="85"/>
                    </a:lnTo>
                    <a:lnTo>
                      <a:pt x="861" y="85"/>
                    </a:lnTo>
                    <a:lnTo>
                      <a:pt x="860" y="90"/>
                    </a:lnTo>
                    <a:lnTo>
                      <a:pt x="860" y="92"/>
                    </a:lnTo>
                    <a:lnTo>
                      <a:pt x="865" y="94"/>
                    </a:lnTo>
                    <a:lnTo>
                      <a:pt x="868" y="94"/>
                    </a:lnTo>
                    <a:lnTo>
                      <a:pt x="865" y="99"/>
                    </a:lnTo>
                    <a:lnTo>
                      <a:pt x="861" y="100"/>
                    </a:lnTo>
                    <a:lnTo>
                      <a:pt x="860" y="105"/>
                    </a:lnTo>
                    <a:lnTo>
                      <a:pt x="860" y="109"/>
                    </a:lnTo>
                    <a:lnTo>
                      <a:pt x="856" y="111"/>
                    </a:lnTo>
                    <a:lnTo>
                      <a:pt x="858" y="114"/>
                    </a:lnTo>
                    <a:lnTo>
                      <a:pt x="858" y="117"/>
                    </a:lnTo>
                    <a:lnTo>
                      <a:pt x="860" y="119"/>
                    </a:lnTo>
                    <a:lnTo>
                      <a:pt x="856" y="122"/>
                    </a:lnTo>
                    <a:lnTo>
                      <a:pt x="858" y="124"/>
                    </a:lnTo>
                    <a:lnTo>
                      <a:pt x="856" y="124"/>
                    </a:lnTo>
                    <a:lnTo>
                      <a:pt x="856" y="126"/>
                    </a:lnTo>
                    <a:lnTo>
                      <a:pt x="855" y="126"/>
                    </a:lnTo>
                    <a:lnTo>
                      <a:pt x="855" y="128"/>
                    </a:lnTo>
                    <a:lnTo>
                      <a:pt x="853" y="128"/>
                    </a:lnTo>
                    <a:lnTo>
                      <a:pt x="853" y="129"/>
                    </a:lnTo>
                    <a:lnTo>
                      <a:pt x="850" y="131"/>
                    </a:lnTo>
                    <a:lnTo>
                      <a:pt x="846" y="131"/>
                    </a:lnTo>
                    <a:lnTo>
                      <a:pt x="841" y="136"/>
                    </a:lnTo>
                    <a:lnTo>
                      <a:pt x="836" y="136"/>
                    </a:lnTo>
                    <a:lnTo>
                      <a:pt x="836" y="140"/>
                    </a:lnTo>
                    <a:lnTo>
                      <a:pt x="834" y="146"/>
                    </a:lnTo>
                    <a:lnTo>
                      <a:pt x="826" y="146"/>
                    </a:lnTo>
                    <a:lnTo>
                      <a:pt x="824" y="151"/>
                    </a:lnTo>
                    <a:lnTo>
                      <a:pt x="821" y="153"/>
                    </a:lnTo>
                    <a:lnTo>
                      <a:pt x="821" y="157"/>
                    </a:lnTo>
                    <a:lnTo>
                      <a:pt x="821" y="160"/>
                    </a:lnTo>
                    <a:lnTo>
                      <a:pt x="821" y="162"/>
                    </a:lnTo>
                    <a:lnTo>
                      <a:pt x="821" y="165"/>
                    </a:lnTo>
                    <a:lnTo>
                      <a:pt x="821" y="167"/>
                    </a:lnTo>
                    <a:lnTo>
                      <a:pt x="824" y="170"/>
                    </a:lnTo>
                    <a:lnTo>
                      <a:pt x="822" y="170"/>
                    </a:lnTo>
                    <a:lnTo>
                      <a:pt x="824" y="172"/>
                    </a:lnTo>
                    <a:lnTo>
                      <a:pt x="824" y="175"/>
                    </a:lnTo>
                    <a:lnTo>
                      <a:pt x="826" y="179"/>
                    </a:lnTo>
                    <a:lnTo>
                      <a:pt x="831" y="185"/>
                    </a:lnTo>
                    <a:lnTo>
                      <a:pt x="831" y="194"/>
                    </a:lnTo>
                    <a:lnTo>
                      <a:pt x="834" y="199"/>
                    </a:lnTo>
                    <a:lnTo>
                      <a:pt x="839" y="199"/>
                    </a:lnTo>
                    <a:lnTo>
                      <a:pt x="846" y="202"/>
                    </a:lnTo>
                    <a:lnTo>
                      <a:pt x="850" y="202"/>
                    </a:lnTo>
                    <a:lnTo>
                      <a:pt x="848" y="204"/>
                    </a:lnTo>
                    <a:lnTo>
                      <a:pt x="860" y="216"/>
                    </a:lnTo>
                    <a:lnTo>
                      <a:pt x="861" y="233"/>
                    </a:lnTo>
                    <a:lnTo>
                      <a:pt x="899" y="253"/>
                    </a:lnTo>
                    <a:lnTo>
                      <a:pt x="919" y="332"/>
                    </a:lnTo>
                    <a:lnTo>
                      <a:pt x="923" y="347"/>
                    </a:lnTo>
                    <a:lnTo>
                      <a:pt x="914" y="350"/>
                    </a:lnTo>
                    <a:lnTo>
                      <a:pt x="914" y="354"/>
                    </a:lnTo>
                    <a:lnTo>
                      <a:pt x="916" y="357"/>
                    </a:lnTo>
                    <a:lnTo>
                      <a:pt x="923" y="364"/>
                    </a:lnTo>
                    <a:lnTo>
                      <a:pt x="934" y="388"/>
                    </a:lnTo>
                    <a:lnTo>
                      <a:pt x="938" y="408"/>
                    </a:lnTo>
                    <a:lnTo>
                      <a:pt x="940" y="422"/>
                    </a:lnTo>
                    <a:lnTo>
                      <a:pt x="940" y="429"/>
                    </a:lnTo>
                    <a:lnTo>
                      <a:pt x="936" y="446"/>
                    </a:lnTo>
                    <a:lnTo>
                      <a:pt x="943" y="468"/>
                    </a:lnTo>
                    <a:lnTo>
                      <a:pt x="943" y="470"/>
                    </a:lnTo>
                    <a:lnTo>
                      <a:pt x="943" y="475"/>
                    </a:lnTo>
                    <a:lnTo>
                      <a:pt x="941" y="476"/>
                    </a:lnTo>
                    <a:lnTo>
                      <a:pt x="940" y="481"/>
                    </a:lnTo>
                    <a:lnTo>
                      <a:pt x="938" y="481"/>
                    </a:lnTo>
                    <a:lnTo>
                      <a:pt x="936" y="483"/>
                    </a:lnTo>
                    <a:lnTo>
                      <a:pt x="940" y="483"/>
                    </a:lnTo>
                    <a:lnTo>
                      <a:pt x="938" y="487"/>
                    </a:lnTo>
                    <a:lnTo>
                      <a:pt x="936" y="487"/>
                    </a:lnTo>
                    <a:lnTo>
                      <a:pt x="936" y="488"/>
                    </a:lnTo>
                    <a:lnTo>
                      <a:pt x="934" y="493"/>
                    </a:lnTo>
                    <a:lnTo>
                      <a:pt x="934" y="498"/>
                    </a:lnTo>
                    <a:lnTo>
                      <a:pt x="934" y="504"/>
                    </a:lnTo>
                    <a:lnTo>
                      <a:pt x="936" y="505"/>
                    </a:lnTo>
                    <a:lnTo>
                      <a:pt x="938" y="514"/>
                    </a:lnTo>
                    <a:lnTo>
                      <a:pt x="941" y="519"/>
                    </a:lnTo>
                    <a:lnTo>
                      <a:pt x="940" y="524"/>
                    </a:lnTo>
                    <a:lnTo>
                      <a:pt x="941" y="529"/>
                    </a:lnTo>
                    <a:lnTo>
                      <a:pt x="938" y="536"/>
                    </a:lnTo>
                    <a:lnTo>
                      <a:pt x="921" y="543"/>
                    </a:lnTo>
                    <a:lnTo>
                      <a:pt x="918" y="549"/>
                    </a:lnTo>
                    <a:lnTo>
                      <a:pt x="914" y="553"/>
                    </a:lnTo>
                    <a:lnTo>
                      <a:pt x="921" y="561"/>
                    </a:lnTo>
                    <a:lnTo>
                      <a:pt x="929" y="572"/>
                    </a:lnTo>
                    <a:lnTo>
                      <a:pt x="946" y="594"/>
                    </a:lnTo>
                    <a:lnTo>
                      <a:pt x="946" y="614"/>
                    </a:lnTo>
                    <a:lnTo>
                      <a:pt x="951" y="623"/>
                    </a:lnTo>
                    <a:lnTo>
                      <a:pt x="957" y="631"/>
                    </a:lnTo>
                    <a:lnTo>
                      <a:pt x="960" y="633"/>
                    </a:lnTo>
                    <a:lnTo>
                      <a:pt x="963" y="636"/>
                    </a:lnTo>
                    <a:lnTo>
                      <a:pt x="974" y="636"/>
                    </a:lnTo>
                    <a:lnTo>
                      <a:pt x="975" y="636"/>
                    </a:lnTo>
                    <a:lnTo>
                      <a:pt x="977" y="635"/>
                    </a:lnTo>
                    <a:lnTo>
                      <a:pt x="980" y="635"/>
                    </a:lnTo>
                    <a:lnTo>
                      <a:pt x="984" y="638"/>
                    </a:lnTo>
                    <a:lnTo>
                      <a:pt x="985" y="636"/>
                    </a:lnTo>
                    <a:lnTo>
                      <a:pt x="987" y="635"/>
                    </a:lnTo>
                    <a:lnTo>
                      <a:pt x="991" y="635"/>
                    </a:lnTo>
                    <a:lnTo>
                      <a:pt x="994" y="636"/>
                    </a:lnTo>
                    <a:lnTo>
                      <a:pt x="999" y="641"/>
                    </a:lnTo>
                    <a:lnTo>
                      <a:pt x="1002" y="643"/>
                    </a:lnTo>
                    <a:lnTo>
                      <a:pt x="1018" y="653"/>
                    </a:lnTo>
                    <a:lnTo>
                      <a:pt x="1026" y="650"/>
                    </a:lnTo>
                    <a:lnTo>
                      <a:pt x="1047" y="687"/>
                    </a:lnTo>
                    <a:lnTo>
                      <a:pt x="999" y="714"/>
                    </a:lnTo>
                    <a:lnTo>
                      <a:pt x="957" y="740"/>
                    </a:lnTo>
                    <a:lnTo>
                      <a:pt x="895" y="776"/>
                    </a:lnTo>
                    <a:lnTo>
                      <a:pt x="817" y="823"/>
                    </a:lnTo>
                    <a:lnTo>
                      <a:pt x="766" y="866"/>
                    </a:lnTo>
                    <a:lnTo>
                      <a:pt x="736" y="891"/>
                    </a:lnTo>
                    <a:lnTo>
                      <a:pt x="734" y="895"/>
                    </a:lnTo>
                    <a:lnTo>
                      <a:pt x="676" y="905"/>
                    </a:lnTo>
                    <a:lnTo>
                      <a:pt x="652" y="910"/>
                    </a:lnTo>
                    <a:lnTo>
                      <a:pt x="620" y="917"/>
                    </a:lnTo>
                    <a:lnTo>
                      <a:pt x="612" y="919"/>
                    </a:lnTo>
                    <a:lnTo>
                      <a:pt x="608" y="919"/>
                    </a:lnTo>
                    <a:lnTo>
                      <a:pt x="608" y="917"/>
                    </a:lnTo>
                    <a:lnTo>
                      <a:pt x="606" y="917"/>
                    </a:lnTo>
                    <a:lnTo>
                      <a:pt x="605" y="915"/>
                    </a:lnTo>
                    <a:lnTo>
                      <a:pt x="596" y="910"/>
                    </a:lnTo>
                    <a:lnTo>
                      <a:pt x="596" y="908"/>
                    </a:lnTo>
                    <a:lnTo>
                      <a:pt x="601" y="903"/>
                    </a:lnTo>
                    <a:lnTo>
                      <a:pt x="600" y="898"/>
                    </a:lnTo>
                    <a:lnTo>
                      <a:pt x="601" y="895"/>
                    </a:lnTo>
                    <a:lnTo>
                      <a:pt x="605" y="895"/>
                    </a:lnTo>
                    <a:lnTo>
                      <a:pt x="605" y="893"/>
                    </a:lnTo>
                    <a:lnTo>
                      <a:pt x="603" y="891"/>
                    </a:lnTo>
                    <a:lnTo>
                      <a:pt x="605" y="890"/>
                    </a:lnTo>
                    <a:lnTo>
                      <a:pt x="603" y="886"/>
                    </a:lnTo>
                    <a:lnTo>
                      <a:pt x="603" y="885"/>
                    </a:lnTo>
                    <a:lnTo>
                      <a:pt x="603" y="881"/>
                    </a:lnTo>
                    <a:lnTo>
                      <a:pt x="605" y="874"/>
                    </a:lnTo>
                    <a:lnTo>
                      <a:pt x="600" y="874"/>
                    </a:lnTo>
                    <a:lnTo>
                      <a:pt x="589" y="869"/>
                    </a:lnTo>
                    <a:lnTo>
                      <a:pt x="586" y="868"/>
                    </a:lnTo>
                    <a:lnTo>
                      <a:pt x="584" y="868"/>
                    </a:lnTo>
                    <a:lnTo>
                      <a:pt x="583" y="868"/>
                    </a:lnTo>
                    <a:lnTo>
                      <a:pt x="578" y="866"/>
                    </a:lnTo>
                    <a:lnTo>
                      <a:pt x="574" y="861"/>
                    </a:lnTo>
                    <a:lnTo>
                      <a:pt x="574" y="864"/>
                    </a:lnTo>
                    <a:lnTo>
                      <a:pt x="572" y="864"/>
                    </a:lnTo>
                    <a:lnTo>
                      <a:pt x="571" y="864"/>
                    </a:lnTo>
                    <a:lnTo>
                      <a:pt x="569" y="864"/>
                    </a:lnTo>
                    <a:lnTo>
                      <a:pt x="567" y="861"/>
                    </a:lnTo>
                    <a:lnTo>
                      <a:pt x="564" y="862"/>
                    </a:lnTo>
                    <a:lnTo>
                      <a:pt x="564" y="861"/>
                    </a:lnTo>
                    <a:lnTo>
                      <a:pt x="561" y="862"/>
                    </a:lnTo>
                    <a:lnTo>
                      <a:pt x="559" y="864"/>
                    </a:lnTo>
                    <a:lnTo>
                      <a:pt x="559" y="861"/>
                    </a:lnTo>
                    <a:lnTo>
                      <a:pt x="561" y="861"/>
                    </a:lnTo>
                    <a:lnTo>
                      <a:pt x="561" y="859"/>
                    </a:lnTo>
                    <a:lnTo>
                      <a:pt x="559" y="857"/>
                    </a:lnTo>
                    <a:lnTo>
                      <a:pt x="559" y="856"/>
                    </a:lnTo>
                    <a:lnTo>
                      <a:pt x="555" y="856"/>
                    </a:lnTo>
                    <a:lnTo>
                      <a:pt x="555" y="852"/>
                    </a:lnTo>
                    <a:lnTo>
                      <a:pt x="550" y="851"/>
                    </a:lnTo>
                    <a:lnTo>
                      <a:pt x="549" y="852"/>
                    </a:lnTo>
                    <a:lnTo>
                      <a:pt x="545" y="854"/>
                    </a:lnTo>
                    <a:lnTo>
                      <a:pt x="542" y="852"/>
                    </a:lnTo>
                    <a:lnTo>
                      <a:pt x="540" y="854"/>
                    </a:lnTo>
                    <a:lnTo>
                      <a:pt x="538" y="852"/>
                    </a:lnTo>
                    <a:lnTo>
                      <a:pt x="537" y="852"/>
                    </a:lnTo>
                    <a:lnTo>
                      <a:pt x="537" y="854"/>
                    </a:lnTo>
                    <a:lnTo>
                      <a:pt x="535" y="854"/>
                    </a:lnTo>
                    <a:lnTo>
                      <a:pt x="533" y="851"/>
                    </a:lnTo>
                    <a:lnTo>
                      <a:pt x="530" y="851"/>
                    </a:lnTo>
                    <a:lnTo>
                      <a:pt x="528" y="849"/>
                    </a:lnTo>
                    <a:lnTo>
                      <a:pt x="523" y="845"/>
                    </a:lnTo>
                    <a:lnTo>
                      <a:pt x="523" y="839"/>
                    </a:lnTo>
                    <a:lnTo>
                      <a:pt x="520" y="835"/>
                    </a:lnTo>
                    <a:lnTo>
                      <a:pt x="513" y="834"/>
                    </a:lnTo>
                    <a:lnTo>
                      <a:pt x="510" y="834"/>
                    </a:lnTo>
                    <a:lnTo>
                      <a:pt x="508" y="832"/>
                    </a:lnTo>
                    <a:lnTo>
                      <a:pt x="506" y="828"/>
                    </a:lnTo>
                    <a:lnTo>
                      <a:pt x="501" y="830"/>
                    </a:lnTo>
                    <a:lnTo>
                      <a:pt x="498" y="828"/>
                    </a:lnTo>
                    <a:lnTo>
                      <a:pt x="498" y="825"/>
                    </a:lnTo>
                    <a:lnTo>
                      <a:pt x="499" y="818"/>
                    </a:lnTo>
                    <a:lnTo>
                      <a:pt x="498" y="810"/>
                    </a:lnTo>
                    <a:lnTo>
                      <a:pt x="438" y="771"/>
                    </a:lnTo>
                    <a:lnTo>
                      <a:pt x="307" y="684"/>
                    </a:lnTo>
                    <a:lnTo>
                      <a:pt x="195" y="612"/>
                    </a:lnTo>
                    <a:lnTo>
                      <a:pt x="193" y="612"/>
                    </a:lnTo>
                    <a:lnTo>
                      <a:pt x="153" y="587"/>
                    </a:lnTo>
                    <a:lnTo>
                      <a:pt x="0" y="495"/>
                    </a:lnTo>
                    <a:lnTo>
                      <a:pt x="0" y="478"/>
                    </a:lnTo>
                    <a:lnTo>
                      <a:pt x="0" y="459"/>
                    </a:lnTo>
                    <a:lnTo>
                      <a:pt x="0" y="446"/>
                    </a:lnTo>
                    <a:lnTo>
                      <a:pt x="0" y="424"/>
                    </a:lnTo>
                    <a:lnTo>
                      <a:pt x="11" y="420"/>
                    </a:lnTo>
                    <a:lnTo>
                      <a:pt x="22" y="412"/>
                    </a:lnTo>
                    <a:lnTo>
                      <a:pt x="35" y="403"/>
                    </a:lnTo>
                    <a:lnTo>
                      <a:pt x="37" y="401"/>
                    </a:lnTo>
                    <a:lnTo>
                      <a:pt x="45" y="396"/>
                    </a:lnTo>
                    <a:lnTo>
                      <a:pt x="51" y="395"/>
                    </a:lnTo>
                    <a:lnTo>
                      <a:pt x="52" y="395"/>
                    </a:lnTo>
                    <a:lnTo>
                      <a:pt x="52" y="391"/>
                    </a:lnTo>
                    <a:lnTo>
                      <a:pt x="54" y="391"/>
                    </a:lnTo>
                    <a:lnTo>
                      <a:pt x="59" y="391"/>
                    </a:lnTo>
                    <a:lnTo>
                      <a:pt x="68" y="390"/>
                    </a:lnTo>
                    <a:lnTo>
                      <a:pt x="71" y="386"/>
                    </a:lnTo>
                    <a:lnTo>
                      <a:pt x="76" y="383"/>
                    </a:lnTo>
                    <a:lnTo>
                      <a:pt x="83" y="384"/>
                    </a:lnTo>
                    <a:lnTo>
                      <a:pt x="90" y="384"/>
                    </a:lnTo>
                    <a:lnTo>
                      <a:pt x="90" y="386"/>
                    </a:lnTo>
                    <a:lnTo>
                      <a:pt x="93" y="386"/>
                    </a:lnTo>
                    <a:lnTo>
                      <a:pt x="96" y="386"/>
                    </a:lnTo>
                    <a:lnTo>
                      <a:pt x="98" y="384"/>
                    </a:lnTo>
                    <a:lnTo>
                      <a:pt x="103" y="383"/>
                    </a:lnTo>
                    <a:lnTo>
                      <a:pt x="108" y="383"/>
                    </a:lnTo>
                    <a:lnTo>
                      <a:pt x="112" y="383"/>
                    </a:lnTo>
                    <a:lnTo>
                      <a:pt x="112" y="384"/>
                    </a:lnTo>
                    <a:lnTo>
                      <a:pt x="113" y="384"/>
                    </a:lnTo>
                    <a:lnTo>
                      <a:pt x="115" y="383"/>
                    </a:lnTo>
                    <a:lnTo>
                      <a:pt x="119" y="384"/>
                    </a:lnTo>
                    <a:lnTo>
                      <a:pt x="122" y="384"/>
                    </a:lnTo>
                    <a:lnTo>
                      <a:pt x="124" y="386"/>
                    </a:lnTo>
                    <a:lnTo>
                      <a:pt x="125" y="386"/>
                    </a:lnTo>
                    <a:lnTo>
                      <a:pt x="132" y="384"/>
                    </a:lnTo>
                    <a:lnTo>
                      <a:pt x="136" y="384"/>
                    </a:lnTo>
                    <a:lnTo>
                      <a:pt x="141" y="384"/>
                    </a:lnTo>
                    <a:lnTo>
                      <a:pt x="146" y="383"/>
                    </a:lnTo>
                    <a:lnTo>
                      <a:pt x="146" y="381"/>
                    </a:lnTo>
                    <a:lnTo>
                      <a:pt x="147" y="379"/>
                    </a:lnTo>
                    <a:lnTo>
                      <a:pt x="149" y="381"/>
                    </a:lnTo>
                    <a:lnTo>
                      <a:pt x="147" y="384"/>
                    </a:lnTo>
                    <a:lnTo>
                      <a:pt x="151" y="383"/>
                    </a:lnTo>
                    <a:lnTo>
                      <a:pt x="153" y="384"/>
                    </a:lnTo>
                    <a:lnTo>
                      <a:pt x="153" y="386"/>
                    </a:lnTo>
                    <a:lnTo>
                      <a:pt x="153" y="388"/>
                    </a:lnTo>
                    <a:lnTo>
                      <a:pt x="154" y="388"/>
                    </a:lnTo>
                    <a:lnTo>
                      <a:pt x="158" y="386"/>
                    </a:lnTo>
                    <a:lnTo>
                      <a:pt x="158" y="384"/>
                    </a:lnTo>
                    <a:lnTo>
                      <a:pt x="161" y="376"/>
                    </a:lnTo>
                    <a:lnTo>
                      <a:pt x="164" y="373"/>
                    </a:lnTo>
                    <a:lnTo>
                      <a:pt x="170" y="371"/>
                    </a:lnTo>
                    <a:lnTo>
                      <a:pt x="170" y="369"/>
                    </a:lnTo>
                    <a:lnTo>
                      <a:pt x="171" y="364"/>
                    </a:lnTo>
                    <a:lnTo>
                      <a:pt x="178" y="359"/>
                    </a:lnTo>
                    <a:lnTo>
                      <a:pt x="181" y="359"/>
                    </a:lnTo>
                    <a:lnTo>
                      <a:pt x="185" y="356"/>
                    </a:lnTo>
                    <a:lnTo>
                      <a:pt x="207" y="345"/>
                    </a:lnTo>
                    <a:lnTo>
                      <a:pt x="221" y="333"/>
                    </a:lnTo>
                    <a:lnTo>
                      <a:pt x="231" y="332"/>
                    </a:lnTo>
                    <a:lnTo>
                      <a:pt x="234" y="330"/>
                    </a:lnTo>
                    <a:lnTo>
                      <a:pt x="244" y="328"/>
                    </a:lnTo>
                    <a:lnTo>
                      <a:pt x="248" y="320"/>
                    </a:lnTo>
                    <a:lnTo>
                      <a:pt x="258" y="311"/>
                    </a:lnTo>
                    <a:lnTo>
                      <a:pt x="258" y="313"/>
                    </a:lnTo>
                    <a:lnTo>
                      <a:pt x="260" y="310"/>
                    </a:lnTo>
                    <a:lnTo>
                      <a:pt x="260" y="306"/>
                    </a:lnTo>
                    <a:lnTo>
                      <a:pt x="258" y="306"/>
                    </a:lnTo>
                    <a:lnTo>
                      <a:pt x="256" y="303"/>
                    </a:lnTo>
                    <a:lnTo>
                      <a:pt x="255" y="303"/>
                    </a:lnTo>
                    <a:lnTo>
                      <a:pt x="255" y="305"/>
                    </a:lnTo>
                    <a:lnTo>
                      <a:pt x="253" y="303"/>
                    </a:lnTo>
                    <a:lnTo>
                      <a:pt x="255" y="305"/>
                    </a:lnTo>
                    <a:lnTo>
                      <a:pt x="253" y="305"/>
                    </a:lnTo>
                    <a:lnTo>
                      <a:pt x="253" y="301"/>
                    </a:lnTo>
                    <a:lnTo>
                      <a:pt x="253" y="299"/>
                    </a:lnTo>
                    <a:lnTo>
                      <a:pt x="251" y="299"/>
                    </a:lnTo>
                    <a:lnTo>
                      <a:pt x="251" y="301"/>
                    </a:lnTo>
                    <a:lnTo>
                      <a:pt x="249" y="301"/>
                    </a:lnTo>
                    <a:lnTo>
                      <a:pt x="251" y="301"/>
                    </a:lnTo>
                    <a:lnTo>
                      <a:pt x="249" y="303"/>
                    </a:lnTo>
                    <a:lnTo>
                      <a:pt x="248" y="303"/>
                    </a:lnTo>
                    <a:lnTo>
                      <a:pt x="248" y="301"/>
                    </a:lnTo>
                    <a:lnTo>
                      <a:pt x="249" y="299"/>
                    </a:lnTo>
                    <a:lnTo>
                      <a:pt x="248" y="296"/>
                    </a:lnTo>
                    <a:lnTo>
                      <a:pt x="249" y="294"/>
                    </a:lnTo>
                    <a:lnTo>
                      <a:pt x="248" y="294"/>
                    </a:lnTo>
                    <a:lnTo>
                      <a:pt x="248" y="293"/>
                    </a:lnTo>
                    <a:lnTo>
                      <a:pt x="249" y="291"/>
                    </a:lnTo>
                    <a:lnTo>
                      <a:pt x="251" y="291"/>
                    </a:lnTo>
                    <a:lnTo>
                      <a:pt x="255" y="289"/>
                    </a:lnTo>
                    <a:lnTo>
                      <a:pt x="253" y="289"/>
                    </a:lnTo>
                    <a:lnTo>
                      <a:pt x="253" y="277"/>
                    </a:lnTo>
                    <a:lnTo>
                      <a:pt x="273" y="274"/>
                    </a:lnTo>
                    <a:lnTo>
                      <a:pt x="295" y="269"/>
                    </a:lnTo>
                    <a:lnTo>
                      <a:pt x="295" y="264"/>
                    </a:lnTo>
                    <a:lnTo>
                      <a:pt x="290" y="257"/>
                    </a:lnTo>
                    <a:lnTo>
                      <a:pt x="292" y="252"/>
                    </a:lnTo>
                    <a:lnTo>
                      <a:pt x="307" y="252"/>
                    </a:lnTo>
                    <a:lnTo>
                      <a:pt x="311" y="250"/>
                    </a:lnTo>
                    <a:lnTo>
                      <a:pt x="312" y="250"/>
                    </a:lnTo>
                    <a:lnTo>
                      <a:pt x="323" y="252"/>
                    </a:lnTo>
                    <a:lnTo>
                      <a:pt x="326" y="250"/>
                    </a:lnTo>
                    <a:lnTo>
                      <a:pt x="331" y="252"/>
                    </a:lnTo>
                    <a:lnTo>
                      <a:pt x="338" y="250"/>
                    </a:lnTo>
                    <a:lnTo>
                      <a:pt x="340" y="250"/>
                    </a:lnTo>
                    <a:lnTo>
                      <a:pt x="343" y="250"/>
                    </a:lnTo>
                    <a:lnTo>
                      <a:pt x="351" y="252"/>
                    </a:lnTo>
                    <a:lnTo>
                      <a:pt x="360" y="252"/>
                    </a:lnTo>
                    <a:lnTo>
                      <a:pt x="368" y="253"/>
                    </a:lnTo>
                    <a:lnTo>
                      <a:pt x="377" y="253"/>
                    </a:lnTo>
                    <a:lnTo>
                      <a:pt x="380" y="252"/>
                    </a:lnTo>
                    <a:lnTo>
                      <a:pt x="379" y="250"/>
                    </a:lnTo>
                    <a:lnTo>
                      <a:pt x="377" y="248"/>
                    </a:lnTo>
                    <a:lnTo>
                      <a:pt x="374" y="250"/>
                    </a:lnTo>
                    <a:lnTo>
                      <a:pt x="375" y="248"/>
                    </a:lnTo>
                    <a:lnTo>
                      <a:pt x="375" y="245"/>
                    </a:lnTo>
                    <a:lnTo>
                      <a:pt x="377" y="245"/>
                    </a:lnTo>
                    <a:lnTo>
                      <a:pt x="379" y="240"/>
                    </a:lnTo>
                    <a:lnTo>
                      <a:pt x="387" y="231"/>
                    </a:lnTo>
                    <a:lnTo>
                      <a:pt x="384" y="231"/>
                    </a:lnTo>
                    <a:lnTo>
                      <a:pt x="379" y="226"/>
                    </a:lnTo>
                    <a:lnTo>
                      <a:pt x="368" y="219"/>
                    </a:lnTo>
                    <a:lnTo>
                      <a:pt x="362" y="209"/>
                    </a:lnTo>
                    <a:lnTo>
                      <a:pt x="363" y="209"/>
                    </a:lnTo>
                    <a:lnTo>
                      <a:pt x="365" y="206"/>
                    </a:lnTo>
                    <a:lnTo>
                      <a:pt x="363" y="204"/>
                    </a:lnTo>
                    <a:lnTo>
                      <a:pt x="360" y="201"/>
                    </a:lnTo>
                    <a:lnTo>
                      <a:pt x="358" y="197"/>
                    </a:lnTo>
                    <a:lnTo>
                      <a:pt x="355" y="192"/>
                    </a:lnTo>
                    <a:lnTo>
                      <a:pt x="355" y="189"/>
                    </a:lnTo>
                    <a:lnTo>
                      <a:pt x="357" y="185"/>
                    </a:lnTo>
                    <a:lnTo>
                      <a:pt x="357" y="182"/>
                    </a:lnTo>
                    <a:lnTo>
                      <a:pt x="358" y="180"/>
                    </a:lnTo>
                    <a:lnTo>
                      <a:pt x="358" y="179"/>
                    </a:lnTo>
                    <a:lnTo>
                      <a:pt x="358" y="177"/>
                    </a:lnTo>
                    <a:lnTo>
                      <a:pt x="357" y="175"/>
                    </a:lnTo>
                    <a:lnTo>
                      <a:pt x="355" y="174"/>
                    </a:lnTo>
                    <a:lnTo>
                      <a:pt x="353" y="174"/>
                    </a:lnTo>
                    <a:lnTo>
                      <a:pt x="351" y="172"/>
                    </a:lnTo>
                    <a:lnTo>
                      <a:pt x="355" y="168"/>
                    </a:lnTo>
                    <a:lnTo>
                      <a:pt x="353" y="163"/>
                    </a:lnTo>
                    <a:lnTo>
                      <a:pt x="355" y="151"/>
                    </a:lnTo>
                    <a:lnTo>
                      <a:pt x="351" y="145"/>
                    </a:lnTo>
                    <a:lnTo>
                      <a:pt x="353" y="141"/>
                    </a:lnTo>
                    <a:lnTo>
                      <a:pt x="348" y="136"/>
                    </a:lnTo>
                    <a:lnTo>
                      <a:pt x="353" y="131"/>
                    </a:lnTo>
                    <a:lnTo>
                      <a:pt x="351" y="131"/>
                    </a:lnTo>
                    <a:lnTo>
                      <a:pt x="346" y="126"/>
                    </a:lnTo>
                    <a:lnTo>
                      <a:pt x="345" y="126"/>
                    </a:lnTo>
                    <a:lnTo>
                      <a:pt x="350" y="121"/>
                    </a:lnTo>
                    <a:lnTo>
                      <a:pt x="351" y="119"/>
                    </a:lnTo>
                    <a:lnTo>
                      <a:pt x="346" y="117"/>
                    </a:lnTo>
                    <a:lnTo>
                      <a:pt x="348" y="117"/>
                    </a:lnTo>
                    <a:lnTo>
                      <a:pt x="346" y="117"/>
                    </a:lnTo>
                    <a:lnTo>
                      <a:pt x="343" y="116"/>
                    </a:lnTo>
                    <a:lnTo>
                      <a:pt x="343" y="114"/>
                    </a:lnTo>
                    <a:lnTo>
                      <a:pt x="340" y="112"/>
                    </a:lnTo>
                    <a:lnTo>
                      <a:pt x="340" y="109"/>
                    </a:lnTo>
                    <a:lnTo>
                      <a:pt x="336" y="111"/>
                    </a:lnTo>
                    <a:lnTo>
                      <a:pt x="331" y="105"/>
                    </a:lnTo>
                    <a:lnTo>
                      <a:pt x="329" y="105"/>
                    </a:lnTo>
                    <a:lnTo>
                      <a:pt x="326" y="104"/>
                    </a:lnTo>
                    <a:lnTo>
                      <a:pt x="328" y="102"/>
                    </a:lnTo>
                    <a:lnTo>
                      <a:pt x="329" y="100"/>
                    </a:lnTo>
                    <a:lnTo>
                      <a:pt x="334" y="102"/>
                    </a:lnTo>
                    <a:lnTo>
                      <a:pt x="340" y="102"/>
                    </a:lnTo>
                    <a:lnTo>
                      <a:pt x="343" y="102"/>
                    </a:lnTo>
                    <a:lnTo>
                      <a:pt x="348" y="99"/>
                    </a:lnTo>
                    <a:lnTo>
                      <a:pt x="350" y="100"/>
                    </a:lnTo>
                    <a:lnTo>
                      <a:pt x="353" y="97"/>
                    </a:lnTo>
                    <a:lnTo>
                      <a:pt x="355" y="97"/>
                    </a:lnTo>
                    <a:lnTo>
                      <a:pt x="357" y="95"/>
                    </a:lnTo>
                    <a:lnTo>
                      <a:pt x="358" y="94"/>
                    </a:lnTo>
                    <a:lnTo>
                      <a:pt x="360" y="92"/>
                    </a:lnTo>
                    <a:lnTo>
                      <a:pt x="362" y="92"/>
                    </a:lnTo>
                    <a:lnTo>
                      <a:pt x="365" y="90"/>
                    </a:lnTo>
                    <a:lnTo>
                      <a:pt x="368" y="90"/>
                    </a:lnTo>
                    <a:lnTo>
                      <a:pt x="372" y="88"/>
                    </a:lnTo>
                    <a:lnTo>
                      <a:pt x="374" y="88"/>
                    </a:lnTo>
                    <a:lnTo>
                      <a:pt x="377" y="83"/>
                    </a:lnTo>
                    <a:lnTo>
                      <a:pt x="379" y="77"/>
                    </a:lnTo>
                    <a:lnTo>
                      <a:pt x="380" y="77"/>
                    </a:lnTo>
                    <a:lnTo>
                      <a:pt x="384" y="75"/>
                    </a:lnTo>
                    <a:lnTo>
                      <a:pt x="385" y="73"/>
                    </a:lnTo>
                    <a:lnTo>
                      <a:pt x="387" y="71"/>
                    </a:lnTo>
                    <a:lnTo>
                      <a:pt x="389" y="71"/>
                    </a:lnTo>
                    <a:lnTo>
                      <a:pt x="392" y="70"/>
                    </a:lnTo>
                    <a:lnTo>
                      <a:pt x="394" y="70"/>
                    </a:lnTo>
                    <a:lnTo>
                      <a:pt x="396" y="70"/>
                    </a:lnTo>
                    <a:lnTo>
                      <a:pt x="397" y="66"/>
                    </a:lnTo>
                    <a:lnTo>
                      <a:pt x="399" y="66"/>
                    </a:lnTo>
                    <a:lnTo>
                      <a:pt x="401" y="68"/>
                    </a:lnTo>
                    <a:lnTo>
                      <a:pt x="402" y="68"/>
                    </a:lnTo>
                    <a:lnTo>
                      <a:pt x="404" y="70"/>
                    </a:lnTo>
                    <a:lnTo>
                      <a:pt x="402" y="68"/>
                    </a:lnTo>
                    <a:lnTo>
                      <a:pt x="404" y="70"/>
                    </a:lnTo>
                    <a:lnTo>
                      <a:pt x="406" y="70"/>
                    </a:lnTo>
                    <a:lnTo>
                      <a:pt x="404" y="70"/>
                    </a:lnTo>
                    <a:lnTo>
                      <a:pt x="408" y="70"/>
                    </a:lnTo>
                    <a:lnTo>
                      <a:pt x="406" y="70"/>
                    </a:lnTo>
                    <a:lnTo>
                      <a:pt x="408" y="70"/>
                    </a:lnTo>
                    <a:lnTo>
                      <a:pt x="411" y="66"/>
                    </a:lnTo>
                    <a:lnTo>
                      <a:pt x="413" y="66"/>
                    </a:lnTo>
                    <a:lnTo>
                      <a:pt x="414" y="63"/>
                    </a:lnTo>
                    <a:lnTo>
                      <a:pt x="414" y="61"/>
                    </a:lnTo>
                    <a:lnTo>
                      <a:pt x="418" y="61"/>
                    </a:lnTo>
                    <a:lnTo>
                      <a:pt x="419" y="60"/>
                    </a:lnTo>
                    <a:lnTo>
                      <a:pt x="421" y="60"/>
                    </a:lnTo>
                    <a:lnTo>
                      <a:pt x="421" y="61"/>
                    </a:lnTo>
                    <a:lnTo>
                      <a:pt x="425" y="61"/>
                    </a:lnTo>
                    <a:lnTo>
                      <a:pt x="425" y="63"/>
                    </a:lnTo>
                    <a:lnTo>
                      <a:pt x="423" y="63"/>
                    </a:lnTo>
                    <a:lnTo>
                      <a:pt x="425" y="65"/>
                    </a:lnTo>
                    <a:lnTo>
                      <a:pt x="433" y="66"/>
                    </a:lnTo>
                    <a:lnTo>
                      <a:pt x="440" y="63"/>
                    </a:lnTo>
                    <a:lnTo>
                      <a:pt x="445" y="53"/>
                    </a:lnTo>
                    <a:lnTo>
                      <a:pt x="450" y="49"/>
                    </a:lnTo>
                    <a:lnTo>
                      <a:pt x="455" y="48"/>
                    </a:lnTo>
                    <a:lnTo>
                      <a:pt x="457" y="46"/>
                    </a:lnTo>
                    <a:lnTo>
                      <a:pt x="464" y="44"/>
                    </a:lnTo>
                    <a:lnTo>
                      <a:pt x="472" y="39"/>
                    </a:lnTo>
                    <a:lnTo>
                      <a:pt x="477" y="39"/>
                    </a:lnTo>
                    <a:lnTo>
                      <a:pt x="479" y="37"/>
                    </a:lnTo>
                    <a:lnTo>
                      <a:pt x="482" y="36"/>
                    </a:lnTo>
                    <a:lnTo>
                      <a:pt x="486" y="36"/>
                    </a:lnTo>
                    <a:lnTo>
                      <a:pt x="486" y="32"/>
                    </a:lnTo>
                    <a:lnTo>
                      <a:pt x="494" y="31"/>
                    </a:lnTo>
                    <a:lnTo>
                      <a:pt x="496" y="31"/>
                    </a:lnTo>
                    <a:lnTo>
                      <a:pt x="499" y="29"/>
                    </a:lnTo>
                    <a:lnTo>
                      <a:pt x="504" y="29"/>
                    </a:lnTo>
                    <a:lnTo>
                      <a:pt x="506" y="29"/>
                    </a:lnTo>
                    <a:lnTo>
                      <a:pt x="506" y="27"/>
                    </a:lnTo>
                    <a:lnTo>
                      <a:pt x="510" y="27"/>
                    </a:lnTo>
                    <a:lnTo>
                      <a:pt x="510" y="29"/>
                    </a:lnTo>
                    <a:lnTo>
                      <a:pt x="513" y="27"/>
                    </a:lnTo>
                    <a:lnTo>
                      <a:pt x="515" y="29"/>
                    </a:lnTo>
                    <a:lnTo>
                      <a:pt x="516" y="27"/>
                    </a:lnTo>
                    <a:lnTo>
                      <a:pt x="520" y="29"/>
                    </a:lnTo>
                    <a:lnTo>
                      <a:pt x="523" y="27"/>
                    </a:lnTo>
                    <a:lnTo>
                      <a:pt x="530" y="27"/>
                    </a:lnTo>
                    <a:lnTo>
                      <a:pt x="535" y="26"/>
                    </a:lnTo>
                    <a:lnTo>
                      <a:pt x="540" y="27"/>
                    </a:lnTo>
                    <a:lnTo>
                      <a:pt x="557" y="22"/>
                    </a:lnTo>
                    <a:lnTo>
                      <a:pt x="561" y="24"/>
                    </a:lnTo>
                    <a:lnTo>
                      <a:pt x="562" y="26"/>
                    </a:lnTo>
                    <a:lnTo>
                      <a:pt x="569" y="26"/>
                    </a:lnTo>
                    <a:lnTo>
                      <a:pt x="572" y="24"/>
                    </a:lnTo>
                    <a:lnTo>
                      <a:pt x="581" y="20"/>
                    </a:lnTo>
                    <a:lnTo>
                      <a:pt x="583" y="19"/>
                    </a:lnTo>
                    <a:lnTo>
                      <a:pt x="583" y="17"/>
                    </a:lnTo>
                    <a:lnTo>
                      <a:pt x="584" y="17"/>
                    </a:lnTo>
                    <a:lnTo>
                      <a:pt x="586" y="15"/>
                    </a:lnTo>
                    <a:lnTo>
                      <a:pt x="591" y="14"/>
                    </a:lnTo>
                    <a:lnTo>
                      <a:pt x="595" y="15"/>
                    </a:lnTo>
                    <a:lnTo>
                      <a:pt x="595" y="17"/>
                    </a:lnTo>
                    <a:lnTo>
                      <a:pt x="596" y="17"/>
                    </a:lnTo>
                    <a:lnTo>
                      <a:pt x="600" y="17"/>
                    </a:lnTo>
                    <a:lnTo>
                      <a:pt x="601" y="17"/>
                    </a:lnTo>
                    <a:lnTo>
                      <a:pt x="603" y="14"/>
                    </a:lnTo>
                    <a:lnTo>
                      <a:pt x="606" y="15"/>
                    </a:lnTo>
                    <a:lnTo>
                      <a:pt x="615" y="17"/>
                    </a:lnTo>
                    <a:lnTo>
                      <a:pt x="625" y="12"/>
                    </a:lnTo>
                    <a:lnTo>
                      <a:pt x="629" y="10"/>
                    </a:lnTo>
                    <a:lnTo>
                      <a:pt x="635" y="9"/>
                    </a:lnTo>
                    <a:lnTo>
                      <a:pt x="637" y="9"/>
                    </a:lnTo>
                    <a:lnTo>
                      <a:pt x="639" y="10"/>
                    </a:lnTo>
                    <a:lnTo>
                      <a:pt x="647" y="10"/>
                    </a:lnTo>
                    <a:lnTo>
                      <a:pt x="649" y="9"/>
                    </a:lnTo>
                    <a:lnTo>
                      <a:pt x="652" y="10"/>
                    </a:lnTo>
                    <a:lnTo>
                      <a:pt x="656" y="9"/>
                    </a:lnTo>
                    <a:lnTo>
                      <a:pt x="657" y="10"/>
                    </a:lnTo>
                    <a:lnTo>
                      <a:pt x="663" y="10"/>
                    </a:lnTo>
                    <a:lnTo>
                      <a:pt x="663" y="9"/>
                    </a:lnTo>
                    <a:lnTo>
                      <a:pt x="669" y="10"/>
                    </a:lnTo>
                    <a:lnTo>
                      <a:pt x="681" y="10"/>
                    </a:lnTo>
                    <a:lnTo>
                      <a:pt x="683" y="10"/>
                    </a:lnTo>
                    <a:lnTo>
                      <a:pt x="688" y="12"/>
                    </a:lnTo>
                    <a:lnTo>
                      <a:pt x="690" y="14"/>
                    </a:lnTo>
                    <a:lnTo>
                      <a:pt x="693" y="14"/>
                    </a:lnTo>
                    <a:lnTo>
                      <a:pt x="693" y="15"/>
                    </a:lnTo>
                    <a:lnTo>
                      <a:pt x="698" y="15"/>
                    </a:lnTo>
                    <a:lnTo>
                      <a:pt x="697" y="17"/>
                    </a:lnTo>
                    <a:lnTo>
                      <a:pt x="697" y="19"/>
                    </a:lnTo>
                    <a:lnTo>
                      <a:pt x="698" y="20"/>
                    </a:lnTo>
                    <a:lnTo>
                      <a:pt x="705" y="22"/>
                    </a:lnTo>
                    <a:lnTo>
                      <a:pt x="708" y="22"/>
                    </a:lnTo>
                    <a:lnTo>
                      <a:pt x="714" y="22"/>
                    </a:lnTo>
                    <a:lnTo>
                      <a:pt x="717" y="20"/>
                    </a:lnTo>
                    <a:lnTo>
                      <a:pt x="720" y="19"/>
                    </a:lnTo>
                    <a:lnTo>
                      <a:pt x="720" y="17"/>
                    </a:lnTo>
                    <a:lnTo>
                      <a:pt x="725" y="15"/>
                    </a:lnTo>
                    <a:lnTo>
                      <a:pt x="727" y="14"/>
                    </a:lnTo>
                    <a:lnTo>
                      <a:pt x="731" y="14"/>
                    </a:lnTo>
                    <a:lnTo>
                      <a:pt x="732" y="14"/>
                    </a:lnTo>
                    <a:lnTo>
                      <a:pt x="734" y="14"/>
                    </a:lnTo>
                    <a:lnTo>
                      <a:pt x="736" y="14"/>
                    </a:lnTo>
                    <a:lnTo>
                      <a:pt x="737" y="14"/>
                    </a:lnTo>
                    <a:lnTo>
                      <a:pt x="753" y="10"/>
                    </a:lnTo>
                    <a:lnTo>
                      <a:pt x="756" y="7"/>
                    </a:lnTo>
                    <a:lnTo>
                      <a:pt x="754" y="5"/>
                    </a:lnTo>
                    <a:lnTo>
                      <a:pt x="756" y="3"/>
                    </a:lnTo>
                    <a:lnTo>
                      <a:pt x="758" y="3"/>
                    </a:lnTo>
                    <a:lnTo>
                      <a:pt x="759" y="2"/>
                    </a:lnTo>
                    <a:lnTo>
                      <a:pt x="766" y="0"/>
                    </a:lnTo>
                    <a:lnTo>
                      <a:pt x="768" y="0"/>
                    </a:lnTo>
                    <a:lnTo>
                      <a:pt x="770" y="2"/>
                    </a:lnTo>
                    <a:lnTo>
                      <a:pt x="771" y="2"/>
                    </a:lnTo>
                    <a:lnTo>
                      <a:pt x="770" y="3"/>
                    </a:lnTo>
                    <a:lnTo>
                      <a:pt x="771" y="3"/>
                    </a:lnTo>
                    <a:lnTo>
                      <a:pt x="773" y="3"/>
                    </a:lnTo>
                    <a:lnTo>
                      <a:pt x="771" y="5"/>
                    </a:lnTo>
                    <a:lnTo>
                      <a:pt x="775" y="5"/>
                    </a:lnTo>
                    <a:lnTo>
                      <a:pt x="775" y="7"/>
                    </a:lnTo>
                    <a:lnTo>
                      <a:pt x="776" y="7"/>
                    </a:lnTo>
                    <a:lnTo>
                      <a:pt x="778" y="7"/>
                    </a:lnTo>
                    <a:lnTo>
                      <a:pt x="780" y="7"/>
                    </a:lnTo>
                    <a:lnTo>
                      <a:pt x="782" y="7"/>
                    </a:lnTo>
                    <a:lnTo>
                      <a:pt x="783" y="7"/>
                    </a:lnTo>
                    <a:lnTo>
                      <a:pt x="785" y="7"/>
                    </a:lnTo>
                    <a:lnTo>
                      <a:pt x="785" y="9"/>
                    </a:lnTo>
                    <a:lnTo>
                      <a:pt x="787" y="9"/>
                    </a:lnTo>
                    <a:lnTo>
                      <a:pt x="787" y="10"/>
                    </a:lnTo>
                    <a:lnTo>
                      <a:pt x="790" y="10"/>
                    </a:lnTo>
                    <a:lnTo>
                      <a:pt x="797" y="9"/>
                    </a:lnTo>
                    <a:lnTo>
                      <a:pt x="800" y="9"/>
                    </a:lnTo>
                    <a:lnTo>
                      <a:pt x="804" y="9"/>
                    </a:lnTo>
                    <a:lnTo>
                      <a:pt x="807" y="3"/>
                    </a:lnTo>
                    <a:lnTo>
                      <a:pt x="805" y="3"/>
                    </a:lnTo>
                    <a:lnTo>
                      <a:pt x="802" y="0"/>
                    </a:lnTo>
                    <a:lnTo>
                      <a:pt x="804" y="0"/>
                    </a:lnTo>
                    <a:lnTo>
                      <a:pt x="807" y="2"/>
                    </a:lnTo>
                    <a:lnTo>
                      <a:pt x="809" y="0"/>
                    </a:lnTo>
                    <a:lnTo>
                      <a:pt x="810" y="2"/>
                    </a:lnTo>
                    <a:lnTo>
                      <a:pt x="814" y="0"/>
                    </a:lnTo>
                    <a:lnTo>
                      <a:pt x="812" y="2"/>
                    </a:lnTo>
                    <a:lnTo>
                      <a:pt x="814" y="3"/>
                    </a:lnTo>
                    <a:lnTo>
                      <a:pt x="819" y="2"/>
                    </a:lnTo>
                    <a:lnTo>
                      <a:pt x="822" y="5"/>
                    </a:lnTo>
                    <a:lnTo>
                      <a:pt x="826" y="7"/>
                    </a:lnTo>
                    <a:lnTo>
                      <a:pt x="827" y="5"/>
                    </a:lnTo>
                    <a:lnTo>
                      <a:pt x="827" y="7"/>
                    </a:lnTo>
                    <a:lnTo>
                      <a:pt x="829" y="7"/>
                    </a:lnTo>
                    <a:lnTo>
                      <a:pt x="834" y="7"/>
                    </a:lnTo>
                    <a:lnTo>
                      <a:pt x="833" y="9"/>
                    </a:lnTo>
                    <a:lnTo>
                      <a:pt x="833" y="10"/>
                    </a:lnTo>
                    <a:lnTo>
                      <a:pt x="834" y="12"/>
                    </a:lnTo>
                    <a:lnTo>
                      <a:pt x="836" y="12"/>
                    </a:lnTo>
                    <a:lnTo>
                      <a:pt x="844" y="12"/>
                    </a:lnTo>
                    <a:lnTo>
                      <a:pt x="855" y="7"/>
                    </a:lnTo>
                    <a:lnTo>
                      <a:pt x="858" y="9"/>
                    </a:lnTo>
                    <a:lnTo>
                      <a:pt x="861" y="9"/>
                    </a:lnTo>
                    <a:lnTo>
                      <a:pt x="865" y="10"/>
                    </a:lnTo>
                    <a:lnTo>
                      <a:pt x="877" y="7"/>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13" name="Freeform 10">
                <a:extLst>
                  <a:ext uri="{FF2B5EF4-FFF2-40B4-BE49-F238E27FC236}">
                    <a16:creationId xmlns:a16="http://schemas.microsoft.com/office/drawing/2014/main" id="{EEC3FD39-80AB-46EC-8E8C-F7DBD06FDE43}"/>
                  </a:ext>
                </a:extLst>
              </p:cNvPr>
              <p:cNvSpPr>
                <a:spLocks noEditPoints="1"/>
              </p:cNvSpPr>
              <p:nvPr/>
            </p:nvSpPr>
            <p:spPr bwMode="gray">
              <a:xfrm>
                <a:off x="5514975" y="3805238"/>
                <a:ext cx="998537" cy="1098550"/>
              </a:xfrm>
              <a:custGeom>
                <a:avLst/>
                <a:gdLst>
                  <a:gd name="T0" fmla="*/ 624 w 629"/>
                  <a:gd name="T1" fmla="*/ 371 h 692"/>
                  <a:gd name="T2" fmla="*/ 620 w 629"/>
                  <a:gd name="T3" fmla="*/ 422 h 692"/>
                  <a:gd name="T4" fmla="*/ 523 w 629"/>
                  <a:gd name="T5" fmla="*/ 600 h 692"/>
                  <a:gd name="T6" fmla="*/ 539 w 629"/>
                  <a:gd name="T7" fmla="*/ 622 h 692"/>
                  <a:gd name="T8" fmla="*/ 578 w 629"/>
                  <a:gd name="T9" fmla="*/ 660 h 692"/>
                  <a:gd name="T10" fmla="*/ 537 w 629"/>
                  <a:gd name="T11" fmla="*/ 684 h 692"/>
                  <a:gd name="T12" fmla="*/ 465 w 629"/>
                  <a:gd name="T13" fmla="*/ 692 h 692"/>
                  <a:gd name="T14" fmla="*/ 435 w 629"/>
                  <a:gd name="T15" fmla="*/ 684 h 692"/>
                  <a:gd name="T16" fmla="*/ 403 w 629"/>
                  <a:gd name="T17" fmla="*/ 684 h 692"/>
                  <a:gd name="T18" fmla="*/ 380 w 629"/>
                  <a:gd name="T19" fmla="*/ 680 h 692"/>
                  <a:gd name="T20" fmla="*/ 348 w 629"/>
                  <a:gd name="T21" fmla="*/ 670 h 692"/>
                  <a:gd name="T22" fmla="*/ 227 w 629"/>
                  <a:gd name="T23" fmla="*/ 660 h 692"/>
                  <a:gd name="T24" fmla="*/ 117 w 629"/>
                  <a:gd name="T25" fmla="*/ 662 h 692"/>
                  <a:gd name="T26" fmla="*/ 61 w 629"/>
                  <a:gd name="T27" fmla="*/ 643 h 692"/>
                  <a:gd name="T28" fmla="*/ 35 w 629"/>
                  <a:gd name="T29" fmla="*/ 651 h 692"/>
                  <a:gd name="T30" fmla="*/ 6 w 629"/>
                  <a:gd name="T31" fmla="*/ 628 h 692"/>
                  <a:gd name="T32" fmla="*/ 10 w 629"/>
                  <a:gd name="T33" fmla="*/ 578 h 692"/>
                  <a:gd name="T34" fmla="*/ 22 w 629"/>
                  <a:gd name="T35" fmla="*/ 546 h 692"/>
                  <a:gd name="T36" fmla="*/ 34 w 629"/>
                  <a:gd name="T37" fmla="*/ 505 h 692"/>
                  <a:gd name="T38" fmla="*/ 44 w 629"/>
                  <a:gd name="T39" fmla="*/ 480 h 692"/>
                  <a:gd name="T40" fmla="*/ 52 w 629"/>
                  <a:gd name="T41" fmla="*/ 449 h 692"/>
                  <a:gd name="T42" fmla="*/ 78 w 629"/>
                  <a:gd name="T43" fmla="*/ 417 h 692"/>
                  <a:gd name="T44" fmla="*/ 97 w 629"/>
                  <a:gd name="T45" fmla="*/ 405 h 692"/>
                  <a:gd name="T46" fmla="*/ 108 w 629"/>
                  <a:gd name="T47" fmla="*/ 352 h 692"/>
                  <a:gd name="T48" fmla="*/ 83 w 629"/>
                  <a:gd name="T49" fmla="*/ 284 h 692"/>
                  <a:gd name="T50" fmla="*/ 74 w 629"/>
                  <a:gd name="T51" fmla="*/ 228 h 692"/>
                  <a:gd name="T52" fmla="*/ 78 w 629"/>
                  <a:gd name="T53" fmla="*/ 224 h 692"/>
                  <a:gd name="T54" fmla="*/ 86 w 629"/>
                  <a:gd name="T55" fmla="*/ 207 h 692"/>
                  <a:gd name="T56" fmla="*/ 64 w 629"/>
                  <a:gd name="T57" fmla="*/ 155 h 692"/>
                  <a:gd name="T58" fmla="*/ 35 w 629"/>
                  <a:gd name="T59" fmla="*/ 90 h 692"/>
                  <a:gd name="T60" fmla="*/ 57 w 629"/>
                  <a:gd name="T61" fmla="*/ 83 h 692"/>
                  <a:gd name="T62" fmla="*/ 85 w 629"/>
                  <a:gd name="T63" fmla="*/ 78 h 692"/>
                  <a:gd name="T64" fmla="*/ 131 w 629"/>
                  <a:gd name="T65" fmla="*/ 76 h 692"/>
                  <a:gd name="T66" fmla="*/ 227 w 629"/>
                  <a:gd name="T67" fmla="*/ 76 h 692"/>
                  <a:gd name="T68" fmla="*/ 251 w 629"/>
                  <a:gd name="T69" fmla="*/ 88 h 692"/>
                  <a:gd name="T70" fmla="*/ 256 w 629"/>
                  <a:gd name="T71" fmla="*/ 105 h 692"/>
                  <a:gd name="T72" fmla="*/ 267 w 629"/>
                  <a:gd name="T73" fmla="*/ 134 h 692"/>
                  <a:gd name="T74" fmla="*/ 277 w 629"/>
                  <a:gd name="T75" fmla="*/ 155 h 692"/>
                  <a:gd name="T76" fmla="*/ 287 w 629"/>
                  <a:gd name="T77" fmla="*/ 172 h 692"/>
                  <a:gd name="T78" fmla="*/ 297 w 629"/>
                  <a:gd name="T79" fmla="*/ 187 h 692"/>
                  <a:gd name="T80" fmla="*/ 329 w 629"/>
                  <a:gd name="T81" fmla="*/ 184 h 692"/>
                  <a:gd name="T82" fmla="*/ 389 w 629"/>
                  <a:gd name="T83" fmla="*/ 180 h 692"/>
                  <a:gd name="T84" fmla="*/ 397 w 629"/>
                  <a:gd name="T85" fmla="*/ 153 h 692"/>
                  <a:gd name="T86" fmla="*/ 448 w 629"/>
                  <a:gd name="T87" fmla="*/ 141 h 692"/>
                  <a:gd name="T88" fmla="*/ 515 w 629"/>
                  <a:gd name="T89" fmla="*/ 156 h 692"/>
                  <a:gd name="T90" fmla="*/ 511 w 629"/>
                  <a:gd name="T91" fmla="*/ 185 h 692"/>
                  <a:gd name="T92" fmla="*/ 518 w 629"/>
                  <a:gd name="T93" fmla="*/ 214 h 692"/>
                  <a:gd name="T94" fmla="*/ 513 w 629"/>
                  <a:gd name="T95" fmla="*/ 252 h 692"/>
                  <a:gd name="T96" fmla="*/ 525 w 629"/>
                  <a:gd name="T97" fmla="*/ 277 h 692"/>
                  <a:gd name="T98" fmla="*/ 537 w 629"/>
                  <a:gd name="T99" fmla="*/ 325 h 692"/>
                  <a:gd name="T100" fmla="*/ 549 w 629"/>
                  <a:gd name="T101" fmla="*/ 338 h 692"/>
                  <a:gd name="T102" fmla="*/ 600 w 629"/>
                  <a:gd name="T103" fmla="*/ 333 h 692"/>
                  <a:gd name="T104" fmla="*/ 69 w 629"/>
                  <a:gd name="T105" fmla="*/ 17 h 692"/>
                  <a:gd name="T106" fmla="*/ 47 w 629"/>
                  <a:gd name="T107" fmla="*/ 34 h 692"/>
                  <a:gd name="T108" fmla="*/ 27 w 629"/>
                  <a:gd name="T109" fmla="*/ 70 h 692"/>
                  <a:gd name="T110" fmla="*/ 25 w 629"/>
                  <a:gd name="T111" fmla="*/ 27 h 692"/>
                  <a:gd name="T112" fmla="*/ 56 w 629"/>
                  <a:gd name="T113" fmla="*/ 7 h 692"/>
                  <a:gd name="T114" fmla="*/ 1 w 629"/>
                  <a:gd name="T115" fmla="*/ 619 h 692"/>
                  <a:gd name="T116" fmla="*/ 34 w 629"/>
                  <a:gd name="T117" fmla="*/ 87 h 692"/>
                  <a:gd name="T118" fmla="*/ 64 w 629"/>
                  <a:gd name="T119" fmla="*/ 80 h 692"/>
                  <a:gd name="T120" fmla="*/ 57 w 629"/>
                  <a:gd name="T121" fmla="*/ 83 h 692"/>
                  <a:gd name="T122" fmla="*/ 64 w 629"/>
                  <a:gd name="T123" fmla="*/ 80 h 692"/>
                  <a:gd name="T124" fmla="*/ 56 w 629"/>
                  <a:gd name="T125" fmla="*/ 83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9" h="692">
                    <a:moveTo>
                      <a:pt x="624" y="330"/>
                    </a:moveTo>
                    <a:lnTo>
                      <a:pt x="624" y="332"/>
                    </a:lnTo>
                    <a:lnTo>
                      <a:pt x="625" y="335"/>
                    </a:lnTo>
                    <a:lnTo>
                      <a:pt x="625" y="337"/>
                    </a:lnTo>
                    <a:lnTo>
                      <a:pt x="625" y="342"/>
                    </a:lnTo>
                    <a:lnTo>
                      <a:pt x="625" y="343"/>
                    </a:lnTo>
                    <a:lnTo>
                      <a:pt x="625" y="350"/>
                    </a:lnTo>
                    <a:lnTo>
                      <a:pt x="629" y="357"/>
                    </a:lnTo>
                    <a:lnTo>
                      <a:pt x="625" y="359"/>
                    </a:lnTo>
                    <a:lnTo>
                      <a:pt x="625" y="362"/>
                    </a:lnTo>
                    <a:lnTo>
                      <a:pt x="624" y="369"/>
                    </a:lnTo>
                    <a:lnTo>
                      <a:pt x="622" y="369"/>
                    </a:lnTo>
                    <a:lnTo>
                      <a:pt x="624" y="371"/>
                    </a:lnTo>
                    <a:lnTo>
                      <a:pt x="625" y="377"/>
                    </a:lnTo>
                    <a:lnTo>
                      <a:pt x="624" y="379"/>
                    </a:lnTo>
                    <a:lnTo>
                      <a:pt x="624" y="394"/>
                    </a:lnTo>
                    <a:lnTo>
                      <a:pt x="624" y="398"/>
                    </a:lnTo>
                    <a:lnTo>
                      <a:pt x="627" y="400"/>
                    </a:lnTo>
                    <a:lnTo>
                      <a:pt x="627" y="403"/>
                    </a:lnTo>
                    <a:lnTo>
                      <a:pt x="629" y="405"/>
                    </a:lnTo>
                    <a:lnTo>
                      <a:pt x="627" y="408"/>
                    </a:lnTo>
                    <a:lnTo>
                      <a:pt x="625" y="410"/>
                    </a:lnTo>
                    <a:lnTo>
                      <a:pt x="622" y="413"/>
                    </a:lnTo>
                    <a:lnTo>
                      <a:pt x="622" y="417"/>
                    </a:lnTo>
                    <a:lnTo>
                      <a:pt x="620" y="420"/>
                    </a:lnTo>
                    <a:lnTo>
                      <a:pt x="620" y="422"/>
                    </a:lnTo>
                    <a:lnTo>
                      <a:pt x="618" y="425"/>
                    </a:lnTo>
                    <a:lnTo>
                      <a:pt x="618" y="429"/>
                    </a:lnTo>
                    <a:lnTo>
                      <a:pt x="620" y="432"/>
                    </a:lnTo>
                    <a:lnTo>
                      <a:pt x="624" y="432"/>
                    </a:lnTo>
                    <a:lnTo>
                      <a:pt x="625" y="434"/>
                    </a:lnTo>
                    <a:lnTo>
                      <a:pt x="627" y="437"/>
                    </a:lnTo>
                    <a:lnTo>
                      <a:pt x="559" y="437"/>
                    </a:lnTo>
                    <a:lnTo>
                      <a:pt x="523" y="437"/>
                    </a:lnTo>
                    <a:lnTo>
                      <a:pt x="523" y="459"/>
                    </a:lnTo>
                    <a:lnTo>
                      <a:pt x="523" y="473"/>
                    </a:lnTo>
                    <a:lnTo>
                      <a:pt x="523" y="558"/>
                    </a:lnTo>
                    <a:lnTo>
                      <a:pt x="523" y="599"/>
                    </a:lnTo>
                    <a:lnTo>
                      <a:pt x="523" y="600"/>
                    </a:lnTo>
                    <a:lnTo>
                      <a:pt x="527" y="602"/>
                    </a:lnTo>
                    <a:lnTo>
                      <a:pt x="527" y="604"/>
                    </a:lnTo>
                    <a:lnTo>
                      <a:pt x="528" y="607"/>
                    </a:lnTo>
                    <a:lnTo>
                      <a:pt x="530" y="611"/>
                    </a:lnTo>
                    <a:lnTo>
                      <a:pt x="530" y="612"/>
                    </a:lnTo>
                    <a:lnTo>
                      <a:pt x="530" y="614"/>
                    </a:lnTo>
                    <a:lnTo>
                      <a:pt x="528" y="614"/>
                    </a:lnTo>
                    <a:lnTo>
                      <a:pt x="530" y="614"/>
                    </a:lnTo>
                    <a:lnTo>
                      <a:pt x="532" y="616"/>
                    </a:lnTo>
                    <a:lnTo>
                      <a:pt x="533" y="619"/>
                    </a:lnTo>
                    <a:lnTo>
                      <a:pt x="535" y="619"/>
                    </a:lnTo>
                    <a:lnTo>
                      <a:pt x="537" y="621"/>
                    </a:lnTo>
                    <a:lnTo>
                      <a:pt x="539" y="622"/>
                    </a:lnTo>
                    <a:lnTo>
                      <a:pt x="540" y="624"/>
                    </a:lnTo>
                    <a:lnTo>
                      <a:pt x="542" y="624"/>
                    </a:lnTo>
                    <a:lnTo>
                      <a:pt x="547" y="631"/>
                    </a:lnTo>
                    <a:lnTo>
                      <a:pt x="550" y="634"/>
                    </a:lnTo>
                    <a:lnTo>
                      <a:pt x="559" y="643"/>
                    </a:lnTo>
                    <a:lnTo>
                      <a:pt x="561" y="645"/>
                    </a:lnTo>
                    <a:lnTo>
                      <a:pt x="562" y="646"/>
                    </a:lnTo>
                    <a:lnTo>
                      <a:pt x="564" y="648"/>
                    </a:lnTo>
                    <a:lnTo>
                      <a:pt x="567" y="650"/>
                    </a:lnTo>
                    <a:lnTo>
                      <a:pt x="573" y="653"/>
                    </a:lnTo>
                    <a:lnTo>
                      <a:pt x="576" y="658"/>
                    </a:lnTo>
                    <a:lnTo>
                      <a:pt x="576" y="656"/>
                    </a:lnTo>
                    <a:lnTo>
                      <a:pt x="578" y="660"/>
                    </a:lnTo>
                    <a:lnTo>
                      <a:pt x="579" y="662"/>
                    </a:lnTo>
                    <a:lnTo>
                      <a:pt x="581" y="663"/>
                    </a:lnTo>
                    <a:lnTo>
                      <a:pt x="583" y="665"/>
                    </a:lnTo>
                    <a:lnTo>
                      <a:pt x="586" y="668"/>
                    </a:lnTo>
                    <a:lnTo>
                      <a:pt x="588" y="667"/>
                    </a:lnTo>
                    <a:lnTo>
                      <a:pt x="593" y="670"/>
                    </a:lnTo>
                    <a:lnTo>
                      <a:pt x="595" y="670"/>
                    </a:lnTo>
                    <a:lnTo>
                      <a:pt x="596" y="672"/>
                    </a:lnTo>
                    <a:lnTo>
                      <a:pt x="593" y="673"/>
                    </a:lnTo>
                    <a:lnTo>
                      <a:pt x="573" y="677"/>
                    </a:lnTo>
                    <a:lnTo>
                      <a:pt x="554" y="680"/>
                    </a:lnTo>
                    <a:lnTo>
                      <a:pt x="542" y="682"/>
                    </a:lnTo>
                    <a:lnTo>
                      <a:pt x="537" y="684"/>
                    </a:lnTo>
                    <a:lnTo>
                      <a:pt x="523" y="687"/>
                    </a:lnTo>
                    <a:lnTo>
                      <a:pt x="515" y="689"/>
                    </a:lnTo>
                    <a:lnTo>
                      <a:pt x="496" y="692"/>
                    </a:lnTo>
                    <a:lnTo>
                      <a:pt x="494" y="692"/>
                    </a:lnTo>
                    <a:lnTo>
                      <a:pt x="491" y="690"/>
                    </a:lnTo>
                    <a:lnTo>
                      <a:pt x="489" y="690"/>
                    </a:lnTo>
                    <a:lnTo>
                      <a:pt x="484" y="689"/>
                    </a:lnTo>
                    <a:lnTo>
                      <a:pt x="484" y="687"/>
                    </a:lnTo>
                    <a:lnTo>
                      <a:pt x="481" y="687"/>
                    </a:lnTo>
                    <a:lnTo>
                      <a:pt x="477" y="689"/>
                    </a:lnTo>
                    <a:lnTo>
                      <a:pt x="471" y="689"/>
                    </a:lnTo>
                    <a:lnTo>
                      <a:pt x="465" y="690"/>
                    </a:lnTo>
                    <a:lnTo>
                      <a:pt x="465" y="692"/>
                    </a:lnTo>
                    <a:lnTo>
                      <a:pt x="464" y="692"/>
                    </a:lnTo>
                    <a:lnTo>
                      <a:pt x="459" y="692"/>
                    </a:lnTo>
                    <a:lnTo>
                      <a:pt x="459" y="690"/>
                    </a:lnTo>
                    <a:lnTo>
                      <a:pt x="457" y="690"/>
                    </a:lnTo>
                    <a:lnTo>
                      <a:pt x="454" y="689"/>
                    </a:lnTo>
                    <a:lnTo>
                      <a:pt x="448" y="690"/>
                    </a:lnTo>
                    <a:lnTo>
                      <a:pt x="447" y="689"/>
                    </a:lnTo>
                    <a:lnTo>
                      <a:pt x="445" y="689"/>
                    </a:lnTo>
                    <a:lnTo>
                      <a:pt x="445" y="685"/>
                    </a:lnTo>
                    <a:lnTo>
                      <a:pt x="440" y="685"/>
                    </a:lnTo>
                    <a:lnTo>
                      <a:pt x="438" y="684"/>
                    </a:lnTo>
                    <a:lnTo>
                      <a:pt x="437" y="684"/>
                    </a:lnTo>
                    <a:lnTo>
                      <a:pt x="435" y="684"/>
                    </a:lnTo>
                    <a:lnTo>
                      <a:pt x="435" y="685"/>
                    </a:lnTo>
                    <a:lnTo>
                      <a:pt x="430" y="684"/>
                    </a:lnTo>
                    <a:lnTo>
                      <a:pt x="426" y="685"/>
                    </a:lnTo>
                    <a:lnTo>
                      <a:pt x="425" y="685"/>
                    </a:lnTo>
                    <a:lnTo>
                      <a:pt x="423" y="685"/>
                    </a:lnTo>
                    <a:lnTo>
                      <a:pt x="418" y="684"/>
                    </a:lnTo>
                    <a:lnTo>
                      <a:pt x="414" y="685"/>
                    </a:lnTo>
                    <a:lnTo>
                      <a:pt x="413" y="684"/>
                    </a:lnTo>
                    <a:lnTo>
                      <a:pt x="409" y="685"/>
                    </a:lnTo>
                    <a:lnTo>
                      <a:pt x="408" y="684"/>
                    </a:lnTo>
                    <a:lnTo>
                      <a:pt x="406" y="685"/>
                    </a:lnTo>
                    <a:lnTo>
                      <a:pt x="404" y="684"/>
                    </a:lnTo>
                    <a:lnTo>
                      <a:pt x="403" y="684"/>
                    </a:lnTo>
                    <a:lnTo>
                      <a:pt x="401" y="684"/>
                    </a:lnTo>
                    <a:lnTo>
                      <a:pt x="399" y="684"/>
                    </a:lnTo>
                    <a:lnTo>
                      <a:pt x="397" y="684"/>
                    </a:lnTo>
                    <a:lnTo>
                      <a:pt x="396" y="684"/>
                    </a:lnTo>
                    <a:lnTo>
                      <a:pt x="394" y="684"/>
                    </a:lnTo>
                    <a:lnTo>
                      <a:pt x="392" y="684"/>
                    </a:lnTo>
                    <a:lnTo>
                      <a:pt x="389" y="684"/>
                    </a:lnTo>
                    <a:lnTo>
                      <a:pt x="387" y="684"/>
                    </a:lnTo>
                    <a:lnTo>
                      <a:pt x="387" y="682"/>
                    </a:lnTo>
                    <a:lnTo>
                      <a:pt x="386" y="682"/>
                    </a:lnTo>
                    <a:lnTo>
                      <a:pt x="384" y="682"/>
                    </a:lnTo>
                    <a:lnTo>
                      <a:pt x="382" y="682"/>
                    </a:lnTo>
                    <a:lnTo>
                      <a:pt x="380" y="680"/>
                    </a:lnTo>
                    <a:lnTo>
                      <a:pt x="379" y="682"/>
                    </a:lnTo>
                    <a:lnTo>
                      <a:pt x="377" y="680"/>
                    </a:lnTo>
                    <a:lnTo>
                      <a:pt x="377" y="682"/>
                    </a:lnTo>
                    <a:lnTo>
                      <a:pt x="367" y="682"/>
                    </a:lnTo>
                    <a:lnTo>
                      <a:pt x="363" y="680"/>
                    </a:lnTo>
                    <a:lnTo>
                      <a:pt x="363" y="679"/>
                    </a:lnTo>
                    <a:lnTo>
                      <a:pt x="360" y="679"/>
                    </a:lnTo>
                    <a:lnTo>
                      <a:pt x="360" y="677"/>
                    </a:lnTo>
                    <a:lnTo>
                      <a:pt x="358" y="677"/>
                    </a:lnTo>
                    <a:lnTo>
                      <a:pt x="352" y="672"/>
                    </a:lnTo>
                    <a:lnTo>
                      <a:pt x="352" y="670"/>
                    </a:lnTo>
                    <a:lnTo>
                      <a:pt x="350" y="670"/>
                    </a:lnTo>
                    <a:lnTo>
                      <a:pt x="348" y="670"/>
                    </a:lnTo>
                    <a:lnTo>
                      <a:pt x="348" y="667"/>
                    </a:lnTo>
                    <a:lnTo>
                      <a:pt x="345" y="665"/>
                    </a:lnTo>
                    <a:lnTo>
                      <a:pt x="345" y="663"/>
                    </a:lnTo>
                    <a:lnTo>
                      <a:pt x="341" y="660"/>
                    </a:lnTo>
                    <a:lnTo>
                      <a:pt x="321" y="660"/>
                    </a:lnTo>
                    <a:lnTo>
                      <a:pt x="302" y="660"/>
                    </a:lnTo>
                    <a:lnTo>
                      <a:pt x="290" y="660"/>
                    </a:lnTo>
                    <a:lnTo>
                      <a:pt x="289" y="660"/>
                    </a:lnTo>
                    <a:lnTo>
                      <a:pt x="284" y="660"/>
                    </a:lnTo>
                    <a:lnTo>
                      <a:pt x="268" y="660"/>
                    </a:lnTo>
                    <a:lnTo>
                      <a:pt x="255" y="660"/>
                    </a:lnTo>
                    <a:lnTo>
                      <a:pt x="236" y="660"/>
                    </a:lnTo>
                    <a:lnTo>
                      <a:pt x="227" y="660"/>
                    </a:lnTo>
                    <a:lnTo>
                      <a:pt x="214" y="660"/>
                    </a:lnTo>
                    <a:lnTo>
                      <a:pt x="202" y="660"/>
                    </a:lnTo>
                    <a:lnTo>
                      <a:pt x="187" y="660"/>
                    </a:lnTo>
                    <a:lnTo>
                      <a:pt x="176" y="660"/>
                    </a:lnTo>
                    <a:lnTo>
                      <a:pt x="159" y="660"/>
                    </a:lnTo>
                    <a:lnTo>
                      <a:pt x="151" y="660"/>
                    </a:lnTo>
                    <a:lnTo>
                      <a:pt x="129" y="660"/>
                    </a:lnTo>
                    <a:lnTo>
                      <a:pt x="129" y="662"/>
                    </a:lnTo>
                    <a:lnTo>
                      <a:pt x="125" y="662"/>
                    </a:lnTo>
                    <a:lnTo>
                      <a:pt x="124" y="662"/>
                    </a:lnTo>
                    <a:lnTo>
                      <a:pt x="122" y="662"/>
                    </a:lnTo>
                    <a:lnTo>
                      <a:pt x="119" y="662"/>
                    </a:lnTo>
                    <a:lnTo>
                      <a:pt x="117" y="662"/>
                    </a:lnTo>
                    <a:lnTo>
                      <a:pt x="115" y="662"/>
                    </a:lnTo>
                    <a:lnTo>
                      <a:pt x="114" y="662"/>
                    </a:lnTo>
                    <a:lnTo>
                      <a:pt x="112" y="658"/>
                    </a:lnTo>
                    <a:lnTo>
                      <a:pt x="102" y="653"/>
                    </a:lnTo>
                    <a:lnTo>
                      <a:pt x="93" y="646"/>
                    </a:lnTo>
                    <a:lnTo>
                      <a:pt x="93" y="645"/>
                    </a:lnTo>
                    <a:lnTo>
                      <a:pt x="90" y="641"/>
                    </a:lnTo>
                    <a:lnTo>
                      <a:pt x="85" y="639"/>
                    </a:lnTo>
                    <a:lnTo>
                      <a:pt x="80" y="639"/>
                    </a:lnTo>
                    <a:lnTo>
                      <a:pt x="76" y="638"/>
                    </a:lnTo>
                    <a:lnTo>
                      <a:pt x="66" y="639"/>
                    </a:lnTo>
                    <a:lnTo>
                      <a:pt x="66" y="641"/>
                    </a:lnTo>
                    <a:lnTo>
                      <a:pt x="61" y="643"/>
                    </a:lnTo>
                    <a:lnTo>
                      <a:pt x="57" y="645"/>
                    </a:lnTo>
                    <a:lnTo>
                      <a:pt x="57" y="646"/>
                    </a:lnTo>
                    <a:lnTo>
                      <a:pt x="54" y="648"/>
                    </a:lnTo>
                    <a:lnTo>
                      <a:pt x="52" y="648"/>
                    </a:lnTo>
                    <a:lnTo>
                      <a:pt x="51" y="648"/>
                    </a:lnTo>
                    <a:lnTo>
                      <a:pt x="47" y="651"/>
                    </a:lnTo>
                    <a:lnTo>
                      <a:pt x="46" y="651"/>
                    </a:lnTo>
                    <a:lnTo>
                      <a:pt x="46" y="653"/>
                    </a:lnTo>
                    <a:lnTo>
                      <a:pt x="40" y="653"/>
                    </a:lnTo>
                    <a:lnTo>
                      <a:pt x="39" y="653"/>
                    </a:lnTo>
                    <a:lnTo>
                      <a:pt x="39" y="651"/>
                    </a:lnTo>
                    <a:lnTo>
                      <a:pt x="37" y="650"/>
                    </a:lnTo>
                    <a:lnTo>
                      <a:pt x="35" y="651"/>
                    </a:lnTo>
                    <a:lnTo>
                      <a:pt x="34" y="651"/>
                    </a:lnTo>
                    <a:lnTo>
                      <a:pt x="29" y="651"/>
                    </a:lnTo>
                    <a:lnTo>
                      <a:pt x="25" y="650"/>
                    </a:lnTo>
                    <a:lnTo>
                      <a:pt x="25" y="648"/>
                    </a:lnTo>
                    <a:lnTo>
                      <a:pt x="22" y="648"/>
                    </a:lnTo>
                    <a:lnTo>
                      <a:pt x="20" y="648"/>
                    </a:lnTo>
                    <a:lnTo>
                      <a:pt x="13" y="650"/>
                    </a:lnTo>
                    <a:lnTo>
                      <a:pt x="6" y="653"/>
                    </a:lnTo>
                    <a:lnTo>
                      <a:pt x="5" y="653"/>
                    </a:lnTo>
                    <a:lnTo>
                      <a:pt x="5" y="641"/>
                    </a:lnTo>
                    <a:lnTo>
                      <a:pt x="5" y="634"/>
                    </a:lnTo>
                    <a:lnTo>
                      <a:pt x="5" y="629"/>
                    </a:lnTo>
                    <a:lnTo>
                      <a:pt x="6" y="628"/>
                    </a:lnTo>
                    <a:lnTo>
                      <a:pt x="5" y="631"/>
                    </a:lnTo>
                    <a:lnTo>
                      <a:pt x="6" y="631"/>
                    </a:lnTo>
                    <a:lnTo>
                      <a:pt x="6" y="628"/>
                    </a:lnTo>
                    <a:lnTo>
                      <a:pt x="8" y="612"/>
                    </a:lnTo>
                    <a:lnTo>
                      <a:pt x="6" y="595"/>
                    </a:lnTo>
                    <a:lnTo>
                      <a:pt x="6" y="590"/>
                    </a:lnTo>
                    <a:lnTo>
                      <a:pt x="3" y="585"/>
                    </a:lnTo>
                    <a:lnTo>
                      <a:pt x="3" y="583"/>
                    </a:lnTo>
                    <a:lnTo>
                      <a:pt x="5" y="578"/>
                    </a:lnTo>
                    <a:lnTo>
                      <a:pt x="8" y="578"/>
                    </a:lnTo>
                    <a:lnTo>
                      <a:pt x="6" y="578"/>
                    </a:lnTo>
                    <a:lnTo>
                      <a:pt x="8" y="580"/>
                    </a:lnTo>
                    <a:lnTo>
                      <a:pt x="10" y="578"/>
                    </a:lnTo>
                    <a:lnTo>
                      <a:pt x="12" y="577"/>
                    </a:lnTo>
                    <a:lnTo>
                      <a:pt x="13" y="573"/>
                    </a:lnTo>
                    <a:lnTo>
                      <a:pt x="17" y="571"/>
                    </a:lnTo>
                    <a:lnTo>
                      <a:pt x="17" y="568"/>
                    </a:lnTo>
                    <a:lnTo>
                      <a:pt x="18" y="559"/>
                    </a:lnTo>
                    <a:lnTo>
                      <a:pt x="18" y="556"/>
                    </a:lnTo>
                    <a:lnTo>
                      <a:pt x="20" y="551"/>
                    </a:lnTo>
                    <a:lnTo>
                      <a:pt x="22" y="549"/>
                    </a:lnTo>
                    <a:lnTo>
                      <a:pt x="23" y="548"/>
                    </a:lnTo>
                    <a:lnTo>
                      <a:pt x="23" y="549"/>
                    </a:lnTo>
                    <a:lnTo>
                      <a:pt x="23" y="548"/>
                    </a:lnTo>
                    <a:lnTo>
                      <a:pt x="23" y="546"/>
                    </a:lnTo>
                    <a:lnTo>
                      <a:pt x="22" y="546"/>
                    </a:lnTo>
                    <a:lnTo>
                      <a:pt x="23" y="541"/>
                    </a:lnTo>
                    <a:lnTo>
                      <a:pt x="25" y="539"/>
                    </a:lnTo>
                    <a:lnTo>
                      <a:pt x="25" y="537"/>
                    </a:lnTo>
                    <a:lnTo>
                      <a:pt x="27" y="536"/>
                    </a:lnTo>
                    <a:lnTo>
                      <a:pt x="27" y="534"/>
                    </a:lnTo>
                    <a:lnTo>
                      <a:pt x="27" y="531"/>
                    </a:lnTo>
                    <a:lnTo>
                      <a:pt x="29" y="531"/>
                    </a:lnTo>
                    <a:lnTo>
                      <a:pt x="30" y="525"/>
                    </a:lnTo>
                    <a:lnTo>
                      <a:pt x="30" y="524"/>
                    </a:lnTo>
                    <a:lnTo>
                      <a:pt x="32" y="522"/>
                    </a:lnTo>
                    <a:lnTo>
                      <a:pt x="32" y="517"/>
                    </a:lnTo>
                    <a:lnTo>
                      <a:pt x="34" y="508"/>
                    </a:lnTo>
                    <a:lnTo>
                      <a:pt x="34" y="505"/>
                    </a:lnTo>
                    <a:lnTo>
                      <a:pt x="35" y="503"/>
                    </a:lnTo>
                    <a:lnTo>
                      <a:pt x="34" y="497"/>
                    </a:lnTo>
                    <a:lnTo>
                      <a:pt x="35" y="497"/>
                    </a:lnTo>
                    <a:lnTo>
                      <a:pt x="34" y="493"/>
                    </a:lnTo>
                    <a:lnTo>
                      <a:pt x="35" y="491"/>
                    </a:lnTo>
                    <a:lnTo>
                      <a:pt x="37" y="490"/>
                    </a:lnTo>
                    <a:lnTo>
                      <a:pt x="37" y="486"/>
                    </a:lnTo>
                    <a:lnTo>
                      <a:pt x="39" y="485"/>
                    </a:lnTo>
                    <a:lnTo>
                      <a:pt x="37" y="481"/>
                    </a:lnTo>
                    <a:lnTo>
                      <a:pt x="42" y="481"/>
                    </a:lnTo>
                    <a:lnTo>
                      <a:pt x="40" y="481"/>
                    </a:lnTo>
                    <a:lnTo>
                      <a:pt x="42" y="481"/>
                    </a:lnTo>
                    <a:lnTo>
                      <a:pt x="44" y="480"/>
                    </a:lnTo>
                    <a:lnTo>
                      <a:pt x="42" y="476"/>
                    </a:lnTo>
                    <a:lnTo>
                      <a:pt x="44" y="471"/>
                    </a:lnTo>
                    <a:lnTo>
                      <a:pt x="44" y="468"/>
                    </a:lnTo>
                    <a:lnTo>
                      <a:pt x="44" y="466"/>
                    </a:lnTo>
                    <a:lnTo>
                      <a:pt x="44" y="464"/>
                    </a:lnTo>
                    <a:lnTo>
                      <a:pt x="44" y="463"/>
                    </a:lnTo>
                    <a:lnTo>
                      <a:pt x="44" y="459"/>
                    </a:lnTo>
                    <a:lnTo>
                      <a:pt x="46" y="457"/>
                    </a:lnTo>
                    <a:lnTo>
                      <a:pt x="47" y="456"/>
                    </a:lnTo>
                    <a:lnTo>
                      <a:pt x="49" y="454"/>
                    </a:lnTo>
                    <a:lnTo>
                      <a:pt x="49" y="452"/>
                    </a:lnTo>
                    <a:lnTo>
                      <a:pt x="51" y="451"/>
                    </a:lnTo>
                    <a:lnTo>
                      <a:pt x="52" y="449"/>
                    </a:lnTo>
                    <a:lnTo>
                      <a:pt x="54" y="449"/>
                    </a:lnTo>
                    <a:lnTo>
                      <a:pt x="54" y="447"/>
                    </a:lnTo>
                    <a:lnTo>
                      <a:pt x="56" y="447"/>
                    </a:lnTo>
                    <a:lnTo>
                      <a:pt x="57" y="446"/>
                    </a:lnTo>
                    <a:lnTo>
                      <a:pt x="59" y="444"/>
                    </a:lnTo>
                    <a:lnTo>
                      <a:pt x="61" y="442"/>
                    </a:lnTo>
                    <a:lnTo>
                      <a:pt x="63" y="439"/>
                    </a:lnTo>
                    <a:lnTo>
                      <a:pt x="66" y="437"/>
                    </a:lnTo>
                    <a:lnTo>
                      <a:pt x="64" y="430"/>
                    </a:lnTo>
                    <a:lnTo>
                      <a:pt x="64" y="429"/>
                    </a:lnTo>
                    <a:lnTo>
                      <a:pt x="74" y="420"/>
                    </a:lnTo>
                    <a:lnTo>
                      <a:pt x="74" y="418"/>
                    </a:lnTo>
                    <a:lnTo>
                      <a:pt x="78" y="417"/>
                    </a:lnTo>
                    <a:lnTo>
                      <a:pt x="78" y="418"/>
                    </a:lnTo>
                    <a:lnTo>
                      <a:pt x="80" y="418"/>
                    </a:lnTo>
                    <a:lnTo>
                      <a:pt x="81" y="417"/>
                    </a:lnTo>
                    <a:lnTo>
                      <a:pt x="83" y="417"/>
                    </a:lnTo>
                    <a:lnTo>
                      <a:pt x="83" y="418"/>
                    </a:lnTo>
                    <a:lnTo>
                      <a:pt x="85" y="418"/>
                    </a:lnTo>
                    <a:lnTo>
                      <a:pt x="91" y="413"/>
                    </a:lnTo>
                    <a:lnTo>
                      <a:pt x="91" y="412"/>
                    </a:lnTo>
                    <a:lnTo>
                      <a:pt x="91" y="410"/>
                    </a:lnTo>
                    <a:lnTo>
                      <a:pt x="93" y="405"/>
                    </a:lnTo>
                    <a:lnTo>
                      <a:pt x="97" y="403"/>
                    </a:lnTo>
                    <a:lnTo>
                      <a:pt x="95" y="405"/>
                    </a:lnTo>
                    <a:lnTo>
                      <a:pt x="97" y="405"/>
                    </a:lnTo>
                    <a:lnTo>
                      <a:pt x="100" y="400"/>
                    </a:lnTo>
                    <a:lnTo>
                      <a:pt x="102" y="394"/>
                    </a:lnTo>
                    <a:lnTo>
                      <a:pt x="103" y="393"/>
                    </a:lnTo>
                    <a:lnTo>
                      <a:pt x="103" y="386"/>
                    </a:lnTo>
                    <a:lnTo>
                      <a:pt x="105" y="384"/>
                    </a:lnTo>
                    <a:lnTo>
                      <a:pt x="107" y="376"/>
                    </a:lnTo>
                    <a:lnTo>
                      <a:pt x="107" y="367"/>
                    </a:lnTo>
                    <a:lnTo>
                      <a:pt x="107" y="366"/>
                    </a:lnTo>
                    <a:lnTo>
                      <a:pt x="107" y="364"/>
                    </a:lnTo>
                    <a:lnTo>
                      <a:pt x="107" y="360"/>
                    </a:lnTo>
                    <a:lnTo>
                      <a:pt x="108" y="355"/>
                    </a:lnTo>
                    <a:lnTo>
                      <a:pt x="107" y="354"/>
                    </a:lnTo>
                    <a:lnTo>
                      <a:pt x="108" y="352"/>
                    </a:lnTo>
                    <a:lnTo>
                      <a:pt x="108" y="349"/>
                    </a:lnTo>
                    <a:lnTo>
                      <a:pt x="110" y="337"/>
                    </a:lnTo>
                    <a:lnTo>
                      <a:pt x="110" y="332"/>
                    </a:lnTo>
                    <a:lnTo>
                      <a:pt x="103" y="323"/>
                    </a:lnTo>
                    <a:lnTo>
                      <a:pt x="107" y="321"/>
                    </a:lnTo>
                    <a:lnTo>
                      <a:pt x="107" y="320"/>
                    </a:lnTo>
                    <a:lnTo>
                      <a:pt x="100" y="311"/>
                    </a:lnTo>
                    <a:lnTo>
                      <a:pt x="93" y="304"/>
                    </a:lnTo>
                    <a:lnTo>
                      <a:pt x="95" y="304"/>
                    </a:lnTo>
                    <a:lnTo>
                      <a:pt x="93" y="299"/>
                    </a:lnTo>
                    <a:lnTo>
                      <a:pt x="91" y="296"/>
                    </a:lnTo>
                    <a:lnTo>
                      <a:pt x="90" y="291"/>
                    </a:lnTo>
                    <a:lnTo>
                      <a:pt x="83" y="284"/>
                    </a:lnTo>
                    <a:lnTo>
                      <a:pt x="85" y="284"/>
                    </a:lnTo>
                    <a:lnTo>
                      <a:pt x="83" y="279"/>
                    </a:lnTo>
                    <a:lnTo>
                      <a:pt x="78" y="269"/>
                    </a:lnTo>
                    <a:lnTo>
                      <a:pt x="80" y="267"/>
                    </a:lnTo>
                    <a:lnTo>
                      <a:pt x="76" y="264"/>
                    </a:lnTo>
                    <a:lnTo>
                      <a:pt x="78" y="262"/>
                    </a:lnTo>
                    <a:lnTo>
                      <a:pt x="76" y="258"/>
                    </a:lnTo>
                    <a:lnTo>
                      <a:pt x="76" y="255"/>
                    </a:lnTo>
                    <a:lnTo>
                      <a:pt x="74" y="250"/>
                    </a:lnTo>
                    <a:lnTo>
                      <a:pt x="66" y="240"/>
                    </a:lnTo>
                    <a:lnTo>
                      <a:pt x="68" y="236"/>
                    </a:lnTo>
                    <a:lnTo>
                      <a:pt x="69" y="233"/>
                    </a:lnTo>
                    <a:lnTo>
                      <a:pt x="74" y="228"/>
                    </a:lnTo>
                    <a:lnTo>
                      <a:pt x="76" y="228"/>
                    </a:lnTo>
                    <a:lnTo>
                      <a:pt x="74" y="228"/>
                    </a:lnTo>
                    <a:lnTo>
                      <a:pt x="74" y="229"/>
                    </a:lnTo>
                    <a:lnTo>
                      <a:pt x="69" y="235"/>
                    </a:lnTo>
                    <a:lnTo>
                      <a:pt x="68" y="236"/>
                    </a:lnTo>
                    <a:lnTo>
                      <a:pt x="68" y="238"/>
                    </a:lnTo>
                    <a:lnTo>
                      <a:pt x="68" y="240"/>
                    </a:lnTo>
                    <a:lnTo>
                      <a:pt x="73" y="233"/>
                    </a:lnTo>
                    <a:lnTo>
                      <a:pt x="74" y="233"/>
                    </a:lnTo>
                    <a:lnTo>
                      <a:pt x="74" y="229"/>
                    </a:lnTo>
                    <a:lnTo>
                      <a:pt x="78" y="228"/>
                    </a:lnTo>
                    <a:lnTo>
                      <a:pt x="78" y="226"/>
                    </a:lnTo>
                    <a:lnTo>
                      <a:pt x="78" y="224"/>
                    </a:lnTo>
                    <a:lnTo>
                      <a:pt x="78" y="226"/>
                    </a:lnTo>
                    <a:lnTo>
                      <a:pt x="78" y="224"/>
                    </a:lnTo>
                    <a:lnTo>
                      <a:pt x="80" y="224"/>
                    </a:lnTo>
                    <a:lnTo>
                      <a:pt x="81" y="223"/>
                    </a:lnTo>
                    <a:lnTo>
                      <a:pt x="78" y="224"/>
                    </a:lnTo>
                    <a:lnTo>
                      <a:pt x="80" y="224"/>
                    </a:lnTo>
                    <a:lnTo>
                      <a:pt x="81" y="224"/>
                    </a:lnTo>
                    <a:lnTo>
                      <a:pt x="83" y="223"/>
                    </a:lnTo>
                    <a:lnTo>
                      <a:pt x="86" y="223"/>
                    </a:lnTo>
                    <a:lnTo>
                      <a:pt x="88" y="218"/>
                    </a:lnTo>
                    <a:lnTo>
                      <a:pt x="86" y="214"/>
                    </a:lnTo>
                    <a:lnTo>
                      <a:pt x="85" y="207"/>
                    </a:lnTo>
                    <a:lnTo>
                      <a:pt x="86" y="207"/>
                    </a:lnTo>
                    <a:lnTo>
                      <a:pt x="86" y="204"/>
                    </a:lnTo>
                    <a:lnTo>
                      <a:pt x="85" y="201"/>
                    </a:lnTo>
                    <a:lnTo>
                      <a:pt x="81" y="192"/>
                    </a:lnTo>
                    <a:lnTo>
                      <a:pt x="80" y="190"/>
                    </a:lnTo>
                    <a:lnTo>
                      <a:pt x="78" y="187"/>
                    </a:lnTo>
                    <a:lnTo>
                      <a:pt x="76" y="184"/>
                    </a:lnTo>
                    <a:lnTo>
                      <a:pt x="74" y="182"/>
                    </a:lnTo>
                    <a:lnTo>
                      <a:pt x="74" y="180"/>
                    </a:lnTo>
                    <a:lnTo>
                      <a:pt x="73" y="175"/>
                    </a:lnTo>
                    <a:lnTo>
                      <a:pt x="71" y="173"/>
                    </a:lnTo>
                    <a:lnTo>
                      <a:pt x="69" y="170"/>
                    </a:lnTo>
                    <a:lnTo>
                      <a:pt x="68" y="163"/>
                    </a:lnTo>
                    <a:lnTo>
                      <a:pt x="64" y="155"/>
                    </a:lnTo>
                    <a:lnTo>
                      <a:pt x="63" y="150"/>
                    </a:lnTo>
                    <a:lnTo>
                      <a:pt x="59" y="148"/>
                    </a:lnTo>
                    <a:lnTo>
                      <a:pt x="59" y="139"/>
                    </a:lnTo>
                    <a:lnTo>
                      <a:pt x="59" y="133"/>
                    </a:lnTo>
                    <a:lnTo>
                      <a:pt x="54" y="127"/>
                    </a:lnTo>
                    <a:lnTo>
                      <a:pt x="46" y="116"/>
                    </a:lnTo>
                    <a:lnTo>
                      <a:pt x="37" y="99"/>
                    </a:lnTo>
                    <a:lnTo>
                      <a:pt x="30" y="92"/>
                    </a:lnTo>
                    <a:lnTo>
                      <a:pt x="32" y="92"/>
                    </a:lnTo>
                    <a:lnTo>
                      <a:pt x="32" y="90"/>
                    </a:lnTo>
                    <a:lnTo>
                      <a:pt x="34" y="90"/>
                    </a:lnTo>
                    <a:lnTo>
                      <a:pt x="34" y="88"/>
                    </a:lnTo>
                    <a:lnTo>
                      <a:pt x="35" y="90"/>
                    </a:lnTo>
                    <a:lnTo>
                      <a:pt x="35" y="88"/>
                    </a:lnTo>
                    <a:lnTo>
                      <a:pt x="39" y="88"/>
                    </a:lnTo>
                    <a:lnTo>
                      <a:pt x="40" y="88"/>
                    </a:lnTo>
                    <a:lnTo>
                      <a:pt x="40" y="87"/>
                    </a:lnTo>
                    <a:lnTo>
                      <a:pt x="42" y="88"/>
                    </a:lnTo>
                    <a:lnTo>
                      <a:pt x="42" y="87"/>
                    </a:lnTo>
                    <a:lnTo>
                      <a:pt x="46" y="87"/>
                    </a:lnTo>
                    <a:lnTo>
                      <a:pt x="46" y="85"/>
                    </a:lnTo>
                    <a:lnTo>
                      <a:pt x="49" y="87"/>
                    </a:lnTo>
                    <a:lnTo>
                      <a:pt x="51" y="85"/>
                    </a:lnTo>
                    <a:lnTo>
                      <a:pt x="54" y="85"/>
                    </a:lnTo>
                    <a:lnTo>
                      <a:pt x="56" y="85"/>
                    </a:lnTo>
                    <a:lnTo>
                      <a:pt x="57" y="83"/>
                    </a:lnTo>
                    <a:lnTo>
                      <a:pt x="59" y="85"/>
                    </a:lnTo>
                    <a:lnTo>
                      <a:pt x="61" y="83"/>
                    </a:lnTo>
                    <a:lnTo>
                      <a:pt x="63" y="83"/>
                    </a:lnTo>
                    <a:lnTo>
                      <a:pt x="64" y="81"/>
                    </a:lnTo>
                    <a:lnTo>
                      <a:pt x="66" y="80"/>
                    </a:lnTo>
                    <a:lnTo>
                      <a:pt x="66" y="78"/>
                    </a:lnTo>
                    <a:lnTo>
                      <a:pt x="68" y="78"/>
                    </a:lnTo>
                    <a:lnTo>
                      <a:pt x="69" y="78"/>
                    </a:lnTo>
                    <a:lnTo>
                      <a:pt x="73" y="76"/>
                    </a:lnTo>
                    <a:lnTo>
                      <a:pt x="73" y="78"/>
                    </a:lnTo>
                    <a:lnTo>
                      <a:pt x="74" y="76"/>
                    </a:lnTo>
                    <a:lnTo>
                      <a:pt x="80" y="76"/>
                    </a:lnTo>
                    <a:lnTo>
                      <a:pt x="85" y="78"/>
                    </a:lnTo>
                    <a:lnTo>
                      <a:pt x="86" y="76"/>
                    </a:lnTo>
                    <a:lnTo>
                      <a:pt x="88" y="75"/>
                    </a:lnTo>
                    <a:lnTo>
                      <a:pt x="93" y="76"/>
                    </a:lnTo>
                    <a:lnTo>
                      <a:pt x="95" y="76"/>
                    </a:lnTo>
                    <a:lnTo>
                      <a:pt x="97" y="76"/>
                    </a:lnTo>
                    <a:lnTo>
                      <a:pt x="107" y="76"/>
                    </a:lnTo>
                    <a:lnTo>
                      <a:pt x="115" y="75"/>
                    </a:lnTo>
                    <a:lnTo>
                      <a:pt x="119" y="75"/>
                    </a:lnTo>
                    <a:lnTo>
                      <a:pt x="120" y="75"/>
                    </a:lnTo>
                    <a:lnTo>
                      <a:pt x="124" y="75"/>
                    </a:lnTo>
                    <a:lnTo>
                      <a:pt x="127" y="75"/>
                    </a:lnTo>
                    <a:lnTo>
                      <a:pt x="129" y="76"/>
                    </a:lnTo>
                    <a:lnTo>
                      <a:pt x="131" y="76"/>
                    </a:lnTo>
                    <a:lnTo>
                      <a:pt x="132" y="75"/>
                    </a:lnTo>
                    <a:lnTo>
                      <a:pt x="134" y="76"/>
                    </a:lnTo>
                    <a:lnTo>
                      <a:pt x="136" y="76"/>
                    </a:lnTo>
                    <a:lnTo>
                      <a:pt x="141" y="78"/>
                    </a:lnTo>
                    <a:lnTo>
                      <a:pt x="142" y="76"/>
                    </a:lnTo>
                    <a:lnTo>
                      <a:pt x="149" y="78"/>
                    </a:lnTo>
                    <a:lnTo>
                      <a:pt x="153" y="76"/>
                    </a:lnTo>
                    <a:lnTo>
                      <a:pt x="166" y="76"/>
                    </a:lnTo>
                    <a:lnTo>
                      <a:pt x="178" y="76"/>
                    </a:lnTo>
                    <a:lnTo>
                      <a:pt x="190" y="76"/>
                    </a:lnTo>
                    <a:lnTo>
                      <a:pt x="202" y="75"/>
                    </a:lnTo>
                    <a:lnTo>
                      <a:pt x="210" y="76"/>
                    </a:lnTo>
                    <a:lnTo>
                      <a:pt x="227" y="76"/>
                    </a:lnTo>
                    <a:lnTo>
                      <a:pt x="236" y="76"/>
                    </a:lnTo>
                    <a:lnTo>
                      <a:pt x="238" y="75"/>
                    </a:lnTo>
                    <a:lnTo>
                      <a:pt x="241" y="76"/>
                    </a:lnTo>
                    <a:lnTo>
                      <a:pt x="244" y="75"/>
                    </a:lnTo>
                    <a:lnTo>
                      <a:pt x="248" y="76"/>
                    </a:lnTo>
                    <a:lnTo>
                      <a:pt x="248" y="80"/>
                    </a:lnTo>
                    <a:lnTo>
                      <a:pt x="250" y="80"/>
                    </a:lnTo>
                    <a:lnTo>
                      <a:pt x="250" y="81"/>
                    </a:lnTo>
                    <a:lnTo>
                      <a:pt x="250" y="85"/>
                    </a:lnTo>
                    <a:lnTo>
                      <a:pt x="251" y="85"/>
                    </a:lnTo>
                    <a:lnTo>
                      <a:pt x="250" y="85"/>
                    </a:lnTo>
                    <a:lnTo>
                      <a:pt x="251" y="87"/>
                    </a:lnTo>
                    <a:lnTo>
                      <a:pt x="251" y="88"/>
                    </a:lnTo>
                    <a:lnTo>
                      <a:pt x="253" y="87"/>
                    </a:lnTo>
                    <a:lnTo>
                      <a:pt x="253" y="88"/>
                    </a:lnTo>
                    <a:lnTo>
                      <a:pt x="255" y="88"/>
                    </a:lnTo>
                    <a:lnTo>
                      <a:pt x="256" y="92"/>
                    </a:lnTo>
                    <a:lnTo>
                      <a:pt x="255" y="93"/>
                    </a:lnTo>
                    <a:lnTo>
                      <a:pt x="255" y="99"/>
                    </a:lnTo>
                    <a:lnTo>
                      <a:pt x="255" y="100"/>
                    </a:lnTo>
                    <a:lnTo>
                      <a:pt x="253" y="100"/>
                    </a:lnTo>
                    <a:lnTo>
                      <a:pt x="255" y="100"/>
                    </a:lnTo>
                    <a:lnTo>
                      <a:pt x="253" y="102"/>
                    </a:lnTo>
                    <a:lnTo>
                      <a:pt x="256" y="104"/>
                    </a:lnTo>
                    <a:lnTo>
                      <a:pt x="255" y="104"/>
                    </a:lnTo>
                    <a:lnTo>
                      <a:pt x="256" y="105"/>
                    </a:lnTo>
                    <a:lnTo>
                      <a:pt x="255" y="107"/>
                    </a:lnTo>
                    <a:lnTo>
                      <a:pt x="256" y="109"/>
                    </a:lnTo>
                    <a:lnTo>
                      <a:pt x="256" y="112"/>
                    </a:lnTo>
                    <a:lnTo>
                      <a:pt x="258" y="114"/>
                    </a:lnTo>
                    <a:lnTo>
                      <a:pt x="258" y="119"/>
                    </a:lnTo>
                    <a:lnTo>
                      <a:pt x="260" y="119"/>
                    </a:lnTo>
                    <a:lnTo>
                      <a:pt x="260" y="122"/>
                    </a:lnTo>
                    <a:lnTo>
                      <a:pt x="261" y="124"/>
                    </a:lnTo>
                    <a:lnTo>
                      <a:pt x="261" y="127"/>
                    </a:lnTo>
                    <a:lnTo>
                      <a:pt x="263" y="127"/>
                    </a:lnTo>
                    <a:lnTo>
                      <a:pt x="265" y="129"/>
                    </a:lnTo>
                    <a:lnTo>
                      <a:pt x="265" y="134"/>
                    </a:lnTo>
                    <a:lnTo>
                      <a:pt x="267" y="134"/>
                    </a:lnTo>
                    <a:lnTo>
                      <a:pt x="267" y="136"/>
                    </a:lnTo>
                    <a:lnTo>
                      <a:pt x="268" y="136"/>
                    </a:lnTo>
                    <a:lnTo>
                      <a:pt x="267" y="139"/>
                    </a:lnTo>
                    <a:lnTo>
                      <a:pt x="265" y="138"/>
                    </a:lnTo>
                    <a:lnTo>
                      <a:pt x="267" y="143"/>
                    </a:lnTo>
                    <a:lnTo>
                      <a:pt x="267" y="144"/>
                    </a:lnTo>
                    <a:lnTo>
                      <a:pt x="268" y="146"/>
                    </a:lnTo>
                    <a:lnTo>
                      <a:pt x="268" y="148"/>
                    </a:lnTo>
                    <a:lnTo>
                      <a:pt x="272" y="148"/>
                    </a:lnTo>
                    <a:lnTo>
                      <a:pt x="272" y="150"/>
                    </a:lnTo>
                    <a:lnTo>
                      <a:pt x="275" y="151"/>
                    </a:lnTo>
                    <a:lnTo>
                      <a:pt x="275" y="155"/>
                    </a:lnTo>
                    <a:lnTo>
                      <a:pt x="277" y="155"/>
                    </a:lnTo>
                    <a:lnTo>
                      <a:pt x="277" y="153"/>
                    </a:lnTo>
                    <a:lnTo>
                      <a:pt x="278" y="155"/>
                    </a:lnTo>
                    <a:lnTo>
                      <a:pt x="277" y="156"/>
                    </a:lnTo>
                    <a:lnTo>
                      <a:pt x="280" y="158"/>
                    </a:lnTo>
                    <a:lnTo>
                      <a:pt x="280" y="160"/>
                    </a:lnTo>
                    <a:lnTo>
                      <a:pt x="280" y="163"/>
                    </a:lnTo>
                    <a:lnTo>
                      <a:pt x="282" y="163"/>
                    </a:lnTo>
                    <a:lnTo>
                      <a:pt x="285" y="165"/>
                    </a:lnTo>
                    <a:lnTo>
                      <a:pt x="285" y="168"/>
                    </a:lnTo>
                    <a:lnTo>
                      <a:pt x="284" y="168"/>
                    </a:lnTo>
                    <a:lnTo>
                      <a:pt x="287" y="170"/>
                    </a:lnTo>
                    <a:lnTo>
                      <a:pt x="285" y="172"/>
                    </a:lnTo>
                    <a:lnTo>
                      <a:pt x="287" y="172"/>
                    </a:lnTo>
                    <a:lnTo>
                      <a:pt x="287" y="173"/>
                    </a:lnTo>
                    <a:lnTo>
                      <a:pt x="289" y="173"/>
                    </a:lnTo>
                    <a:lnTo>
                      <a:pt x="289" y="175"/>
                    </a:lnTo>
                    <a:lnTo>
                      <a:pt x="290" y="175"/>
                    </a:lnTo>
                    <a:lnTo>
                      <a:pt x="289" y="175"/>
                    </a:lnTo>
                    <a:lnTo>
                      <a:pt x="290" y="175"/>
                    </a:lnTo>
                    <a:lnTo>
                      <a:pt x="290" y="177"/>
                    </a:lnTo>
                    <a:lnTo>
                      <a:pt x="292" y="177"/>
                    </a:lnTo>
                    <a:lnTo>
                      <a:pt x="292" y="180"/>
                    </a:lnTo>
                    <a:lnTo>
                      <a:pt x="294" y="182"/>
                    </a:lnTo>
                    <a:lnTo>
                      <a:pt x="294" y="184"/>
                    </a:lnTo>
                    <a:lnTo>
                      <a:pt x="295" y="184"/>
                    </a:lnTo>
                    <a:lnTo>
                      <a:pt x="297" y="187"/>
                    </a:lnTo>
                    <a:lnTo>
                      <a:pt x="295" y="187"/>
                    </a:lnTo>
                    <a:lnTo>
                      <a:pt x="295" y="189"/>
                    </a:lnTo>
                    <a:lnTo>
                      <a:pt x="299" y="190"/>
                    </a:lnTo>
                    <a:lnTo>
                      <a:pt x="301" y="190"/>
                    </a:lnTo>
                    <a:lnTo>
                      <a:pt x="306" y="189"/>
                    </a:lnTo>
                    <a:lnTo>
                      <a:pt x="311" y="190"/>
                    </a:lnTo>
                    <a:lnTo>
                      <a:pt x="314" y="189"/>
                    </a:lnTo>
                    <a:lnTo>
                      <a:pt x="319" y="189"/>
                    </a:lnTo>
                    <a:lnTo>
                      <a:pt x="326" y="189"/>
                    </a:lnTo>
                    <a:lnTo>
                      <a:pt x="324" y="187"/>
                    </a:lnTo>
                    <a:lnTo>
                      <a:pt x="326" y="185"/>
                    </a:lnTo>
                    <a:lnTo>
                      <a:pt x="328" y="185"/>
                    </a:lnTo>
                    <a:lnTo>
                      <a:pt x="329" y="184"/>
                    </a:lnTo>
                    <a:lnTo>
                      <a:pt x="331" y="182"/>
                    </a:lnTo>
                    <a:lnTo>
                      <a:pt x="335" y="184"/>
                    </a:lnTo>
                    <a:lnTo>
                      <a:pt x="336" y="185"/>
                    </a:lnTo>
                    <a:lnTo>
                      <a:pt x="338" y="185"/>
                    </a:lnTo>
                    <a:lnTo>
                      <a:pt x="341" y="184"/>
                    </a:lnTo>
                    <a:lnTo>
                      <a:pt x="346" y="184"/>
                    </a:lnTo>
                    <a:lnTo>
                      <a:pt x="348" y="180"/>
                    </a:lnTo>
                    <a:lnTo>
                      <a:pt x="360" y="180"/>
                    </a:lnTo>
                    <a:lnTo>
                      <a:pt x="360" y="182"/>
                    </a:lnTo>
                    <a:lnTo>
                      <a:pt x="360" y="184"/>
                    </a:lnTo>
                    <a:lnTo>
                      <a:pt x="391" y="184"/>
                    </a:lnTo>
                    <a:lnTo>
                      <a:pt x="389" y="182"/>
                    </a:lnTo>
                    <a:lnTo>
                      <a:pt x="389" y="180"/>
                    </a:lnTo>
                    <a:lnTo>
                      <a:pt x="389" y="178"/>
                    </a:lnTo>
                    <a:lnTo>
                      <a:pt x="389" y="177"/>
                    </a:lnTo>
                    <a:lnTo>
                      <a:pt x="389" y="175"/>
                    </a:lnTo>
                    <a:lnTo>
                      <a:pt x="391" y="173"/>
                    </a:lnTo>
                    <a:lnTo>
                      <a:pt x="392" y="168"/>
                    </a:lnTo>
                    <a:lnTo>
                      <a:pt x="389" y="163"/>
                    </a:lnTo>
                    <a:lnTo>
                      <a:pt x="391" y="163"/>
                    </a:lnTo>
                    <a:lnTo>
                      <a:pt x="396" y="163"/>
                    </a:lnTo>
                    <a:lnTo>
                      <a:pt x="396" y="160"/>
                    </a:lnTo>
                    <a:lnTo>
                      <a:pt x="396" y="158"/>
                    </a:lnTo>
                    <a:lnTo>
                      <a:pt x="397" y="156"/>
                    </a:lnTo>
                    <a:lnTo>
                      <a:pt x="397" y="155"/>
                    </a:lnTo>
                    <a:lnTo>
                      <a:pt x="397" y="153"/>
                    </a:lnTo>
                    <a:lnTo>
                      <a:pt x="396" y="153"/>
                    </a:lnTo>
                    <a:lnTo>
                      <a:pt x="396" y="151"/>
                    </a:lnTo>
                    <a:lnTo>
                      <a:pt x="396" y="150"/>
                    </a:lnTo>
                    <a:lnTo>
                      <a:pt x="397" y="146"/>
                    </a:lnTo>
                    <a:lnTo>
                      <a:pt x="396" y="141"/>
                    </a:lnTo>
                    <a:lnTo>
                      <a:pt x="399" y="136"/>
                    </a:lnTo>
                    <a:lnTo>
                      <a:pt x="399" y="133"/>
                    </a:lnTo>
                    <a:lnTo>
                      <a:pt x="420" y="133"/>
                    </a:lnTo>
                    <a:lnTo>
                      <a:pt x="437" y="133"/>
                    </a:lnTo>
                    <a:lnTo>
                      <a:pt x="438" y="129"/>
                    </a:lnTo>
                    <a:lnTo>
                      <a:pt x="454" y="129"/>
                    </a:lnTo>
                    <a:lnTo>
                      <a:pt x="452" y="136"/>
                    </a:lnTo>
                    <a:lnTo>
                      <a:pt x="448" y="141"/>
                    </a:lnTo>
                    <a:lnTo>
                      <a:pt x="450" y="141"/>
                    </a:lnTo>
                    <a:lnTo>
                      <a:pt x="450" y="144"/>
                    </a:lnTo>
                    <a:lnTo>
                      <a:pt x="450" y="148"/>
                    </a:lnTo>
                    <a:lnTo>
                      <a:pt x="464" y="148"/>
                    </a:lnTo>
                    <a:lnTo>
                      <a:pt x="472" y="148"/>
                    </a:lnTo>
                    <a:lnTo>
                      <a:pt x="488" y="148"/>
                    </a:lnTo>
                    <a:lnTo>
                      <a:pt x="513" y="148"/>
                    </a:lnTo>
                    <a:lnTo>
                      <a:pt x="513" y="150"/>
                    </a:lnTo>
                    <a:lnTo>
                      <a:pt x="515" y="150"/>
                    </a:lnTo>
                    <a:lnTo>
                      <a:pt x="515" y="153"/>
                    </a:lnTo>
                    <a:lnTo>
                      <a:pt x="515" y="155"/>
                    </a:lnTo>
                    <a:lnTo>
                      <a:pt x="516" y="155"/>
                    </a:lnTo>
                    <a:lnTo>
                      <a:pt x="515" y="156"/>
                    </a:lnTo>
                    <a:lnTo>
                      <a:pt x="516" y="158"/>
                    </a:lnTo>
                    <a:lnTo>
                      <a:pt x="515" y="160"/>
                    </a:lnTo>
                    <a:lnTo>
                      <a:pt x="516" y="161"/>
                    </a:lnTo>
                    <a:lnTo>
                      <a:pt x="515" y="163"/>
                    </a:lnTo>
                    <a:lnTo>
                      <a:pt x="515" y="165"/>
                    </a:lnTo>
                    <a:lnTo>
                      <a:pt x="515" y="167"/>
                    </a:lnTo>
                    <a:lnTo>
                      <a:pt x="513" y="167"/>
                    </a:lnTo>
                    <a:lnTo>
                      <a:pt x="513" y="170"/>
                    </a:lnTo>
                    <a:lnTo>
                      <a:pt x="511" y="173"/>
                    </a:lnTo>
                    <a:lnTo>
                      <a:pt x="511" y="178"/>
                    </a:lnTo>
                    <a:lnTo>
                      <a:pt x="510" y="180"/>
                    </a:lnTo>
                    <a:lnTo>
                      <a:pt x="511" y="182"/>
                    </a:lnTo>
                    <a:lnTo>
                      <a:pt x="511" y="185"/>
                    </a:lnTo>
                    <a:lnTo>
                      <a:pt x="513" y="187"/>
                    </a:lnTo>
                    <a:lnTo>
                      <a:pt x="515" y="190"/>
                    </a:lnTo>
                    <a:lnTo>
                      <a:pt x="516" y="194"/>
                    </a:lnTo>
                    <a:lnTo>
                      <a:pt x="518" y="199"/>
                    </a:lnTo>
                    <a:lnTo>
                      <a:pt x="520" y="199"/>
                    </a:lnTo>
                    <a:lnTo>
                      <a:pt x="520" y="201"/>
                    </a:lnTo>
                    <a:lnTo>
                      <a:pt x="518" y="202"/>
                    </a:lnTo>
                    <a:lnTo>
                      <a:pt x="518" y="204"/>
                    </a:lnTo>
                    <a:lnTo>
                      <a:pt x="520" y="206"/>
                    </a:lnTo>
                    <a:lnTo>
                      <a:pt x="520" y="209"/>
                    </a:lnTo>
                    <a:lnTo>
                      <a:pt x="520" y="211"/>
                    </a:lnTo>
                    <a:lnTo>
                      <a:pt x="520" y="212"/>
                    </a:lnTo>
                    <a:lnTo>
                      <a:pt x="518" y="214"/>
                    </a:lnTo>
                    <a:lnTo>
                      <a:pt x="520" y="214"/>
                    </a:lnTo>
                    <a:lnTo>
                      <a:pt x="518" y="216"/>
                    </a:lnTo>
                    <a:lnTo>
                      <a:pt x="518" y="218"/>
                    </a:lnTo>
                    <a:lnTo>
                      <a:pt x="518" y="219"/>
                    </a:lnTo>
                    <a:lnTo>
                      <a:pt x="518" y="224"/>
                    </a:lnTo>
                    <a:lnTo>
                      <a:pt x="516" y="228"/>
                    </a:lnTo>
                    <a:lnTo>
                      <a:pt x="515" y="229"/>
                    </a:lnTo>
                    <a:lnTo>
                      <a:pt x="515" y="236"/>
                    </a:lnTo>
                    <a:lnTo>
                      <a:pt x="515" y="238"/>
                    </a:lnTo>
                    <a:lnTo>
                      <a:pt x="515" y="240"/>
                    </a:lnTo>
                    <a:lnTo>
                      <a:pt x="516" y="243"/>
                    </a:lnTo>
                    <a:lnTo>
                      <a:pt x="516" y="247"/>
                    </a:lnTo>
                    <a:lnTo>
                      <a:pt x="513" y="252"/>
                    </a:lnTo>
                    <a:lnTo>
                      <a:pt x="513" y="253"/>
                    </a:lnTo>
                    <a:lnTo>
                      <a:pt x="513" y="255"/>
                    </a:lnTo>
                    <a:lnTo>
                      <a:pt x="515" y="258"/>
                    </a:lnTo>
                    <a:lnTo>
                      <a:pt x="515" y="260"/>
                    </a:lnTo>
                    <a:lnTo>
                      <a:pt x="516" y="264"/>
                    </a:lnTo>
                    <a:lnTo>
                      <a:pt x="516" y="267"/>
                    </a:lnTo>
                    <a:lnTo>
                      <a:pt x="520" y="269"/>
                    </a:lnTo>
                    <a:lnTo>
                      <a:pt x="520" y="270"/>
                    </a:lnTo>
                    <a:lnTo>
                      <a:pt x="522" y="272"/>
                    </a:lnTo>
                    <a:lnTo>
                      <a:pt x="522" y="274"/>
                    </a:lnTo>
                    <a:lnTo>
                      <a:pt x="523" y="272"/>
                    </a:lnTo>
                    <a:lnTo>
                      <a:pt x="523" y="275"/>
                    </a:lnTo>
                    <a:lnTo>
                      <a:pt x="525" y="277"/>
                    </a:lnTo>
                    <a:lnTo>
                      <a:pt x="527" y="279"/>
                    </a:lnTo>
                    <a:lnTo>
                      <a:pt x="528" y="279"/>
                    </a:lnTo>
                    <a:lnTo>
                      <a:pt x="532" y="281"/>
                    </a:lnTo>
                    <a:lnTo>
                      <a:pt x="533" y="286"/>
                    </a:lnTo>
                    <a:lnTo>
                      <a:pt x="533" y="294"/>
                    </a:lnTo>
                    <a:lnTo>
                      <a:pt x="539" y="304"/>
                    </a:lnTo>
                    <a:lnTo>
                      <a:pt x="537" y="311"/>
                    </a:lnTo>
                    <a:lnTo>
                      <a:pt x="539" y="313"/>
                    </a:lnTo>
                    <a:lnTo>
                      <a:pt x="539" y="318"/>
                    </a:lnTo>
                    <a:lnTo>
                      <a:pt x="539" y="320"/>
                    </a:lnTo>
                    <a:lnTo>
                      <a:pt x="540" y="323"/>
                    </a:lnTo>
                    <a:lnTo>
                      <a:pt x="539" y="325"/>
                    </a:lnTo>
                    <a:lnTo>
                      <a:pt x="537" y="325"/>
                    </a:lnTo>
                    <a:lnTo>
                      <a:pt x="533" y="326"/>
                    </a:lnTo>
                    <a:lnTo>
                      <a:pt x="532" y="330"/>
                    </a:lnTo>
                    <a:lnTo>
                      <a:pt x="533" y="333"/>
                    </a:lnTo>
                    <a:lnTo>
                      <a:pt x="533" y="342"/>
                    </a:lnTo>
                    <a:lnTo>
                      <a:pt x="535" y="343"/>
                    </a:lnTo>
                    <a:lnTo>
                      <a:pt x="537" y="345"/>
                    </a:lnTo>
                    <a:lnTo>
                      <a:pt x="535" y="349"/>
                    </a:lnTo>
                    <a:lnTo>
                      <a:pt x="539" y="349"/>
                    </a:lnTo>
                    <a:lnTo>
                      <a:pt x="540" y="345"/>
                    </a:lnTo>
                    <a:lnTo>
                      <a:pt x="545" y="345"/>
                    </a:lnTo>
                    <a:lnTo>
                      <a:pt x="549" y="342"/>
                    </a:lnTo>
                    <a:lnTo>
                      <a:pt x="547" y="338"/>
                    </a:lnTo>
                    <a:lnTo>
                      <a:pt x="549" y="338"/>
                    </a:lnTo>
                    <a:lnTo>
                      <a:pt x="554" y="338"/>
                    </a:lnTo>
                    <a:lnTo>
                      <a:pt x="557" y="340"/>
                    </a:lnTo>
                    <a:lnTo>
                      <a:pt x="559" y="342"/>
                    </a:lnTo>
                    <a:lnTo>
                      <a:pt x="562" y="342"/>
                    </a:lnTo>
                    <a:lnTo>
                      <a:pt x="567" y="338"/>
                    </a:lnTo>
                    <a:lnTo>
                      <a:pt x="569" y="340"/>
                    </a:lnTo>
                    <a:lnTo>
                      <a:pt x="576" y="340"/>
                    </a:lnTo>
                    <a:lnTo>
                      <a:pt x="578" y="342"/>
                    </a:lnTo>
                    <a:lnTo>
                      <a:pt x="581" y="340"/>
                    </a:lnTo>
                    <a:lnTo>
                      <a:pt x="583" y="342"/>
                    </a:lnTo>
                    <a:lnTo>
                      <a:pt x="593" y="333"/>
                    </a:lnTo>
                    <a:lnTo>
                      <a:pt x="598" y="333"/>
                    </a:lnTo>
                    <a:lnTo>
                      <a:pt x="600" y="333"/>
                    </a:lnTo>
                    <a:lnTo>
                      <a:pt x="603" y="335"/>
                    </a:lnTo>
                    <a:lnTo>
                      <a:pt x="607" y="335"/>
                    </a:lnTo>
                    <a:lnTo>
                      <a:pt x="607" y="337"/>
                    </a:lnTo>
                    <a:lnTo>
                      <a:pt x="612" y="335"/>
                    </a:lnTo>
                    <a:lnTo>
                      <a:pt x="617" y="338"/>
                    </a:lnTo>
                    <a:lnTo>
                      <a:pt x="618" y="335"/>
                    </a:lnTo>
                    <a:lnTo>
                      <a:pt x="622" y="333"/>
                    </a:lnTo>
                    <a:lnTo>
                      <a:pt x="624" y="330"/>
                    </a:lnTo>
                    <a:close/>
                    <a:moveTo>
                      <a:pt x="73" y="13"/>
                    </a:moveTo>
                    <a:lnTo>
                      <a:pt x="73" y="15"/>
                    </a:lnTo>
                    <a:lnTo>
                      <a:pt x="73" y="17"/>
                    </a:lnTo>
                    <a:lnTo>
                      <a:pt x="69" y="15"/>
                    </a:lnTo>
                    <a:lnTo>
                      <a:pt x="69" y="17"/>
                    </a:lnTo>
                    <a:lnTo>
                      <a:pt x="66" y="17"/>
                    </a:lnTo>
                    <a:lnTo>
                      <a:pt x="64" y="19"/>
                    </a:lnTo>
                    <a:lnTo>
                      <a:pt x="63" y="19"/>
                    </a:lnTo>
                    <a:lnTo>
                      <a:pt x="61" y="19"/>
                    </a:lnTo>
                    <a:lnTo>
                      <a:pt x="61" y="20"/>
                    </a:lnTo>
                    <a:lnTo>
                      <a:pt x="59" y="19"/>
                    </a:lnTo>
                    <a:lnTo>
                      <a:pt x="57" y="24"/>
                    </a:lnTo>
                    <a:lnTo>
                      <a:pt x="56" y="25"/>
                    </a:lnTo>
                    <a:lnTo>
                      <a:pt x="54" y="27"/>
                    </a:lnTo>
                    <a:lnTo>
                      <a:pt x="52" y="29"/>
                    </a:lnTo>
                    <a:lnTo>
                      <a:pt x="51" y="30"/>
                    </a:lnTo>
                    <a:lnTo>
                      <a:pt x="49" y="29"/>
                    </a:lnTo>
                    <a:lnTo>
                      <a:pt x="47" y="34"/>
                    </a:lnTo>
                    <a:lnTo>
                      <a:pt x="46" y="34"/>
                    </a:lnTo>
                    <a:lnTo>
                      <a:pt x="44" y="34"/>
                    </a:lnTo>
                    <a:lnTo>
                      <a:pt x="44" y="36"/>
                    </a:lnTo>
                    <a:lnTo>
                      <a:pt x="42" y="34"/>
                    </a:lnTo>
                    <a:lnTo>
                      <a:pt x="40" y="37"/>
                    </a:lnTo>
                    <a:lnTo>
                      <a:pt x="42" y="39"/>
                    </a:lnTo>
                    <a:lnTo>
                      <a:pt x="44" y="39"/>
                    </a:lnTo>
                    <a:lnTo>
                      <a:pt x="42" y="41"/>
                    </a:lnTo>
                    <a:lnTo>
                      <a:pt x="44" y="41"/>
                    </a:lnTo>
                    <a:lnTo>
                      <a:pt x="44" y="64"/>
                    </a:lnTo>
                    <a:lnTo>
                      <a:pt x="44" y="70"/>
                    </a:lnTo>
                    <a:lnTo>
                      <a:pt x="32" y="70"/>
                    </a:lnTo>
                    <a:lnTo>
                      <a:pt x="27" y="70"/>
                    </a:lnTo>
                    <a:lnTo>
                      <a:pt x="27" y="71"/>
                    </a:lnTo>
                    <a:lnTo>
                      <a:pt x="23" y="66"/>
                    </a:lnTo>
                    <a:lnTo>
                      <a:pt x="23" y="64"/>
                    </a:lnTo>
                    <a:lnTo>
                      <a:pt x="25" y="59"/>
                    </a:lnTo>
                    <a:lnTo>
                      <a:pt x="27" y="59"/>
                    </a:lnTo>
                    <a:lnTo>
                      <a:pt x="29" y="59"/>
                    </a:lnTo>
                    <a:lnTo>
                      <a:pt x="29" y="56"/>
                    </a:lnTo>
                    <a:lnTo>
                      <a:pt x="25" y="49"/>
                    </a:lnTo>
                    <a:lnTo>
                      <a:pt x="25" y="47"/>
                    </a:lnTo>
                    <a:lnTo>
                      <a:pt x="23" y="44"/>
                    </a:lnTo>
                    <a:lnTo>
                      <a:pt x="23" y="42"/>
                    </a:lnTo>
                    <a:lnTo>
                      <a:pt x="17" y="34"/>
                    </a:lnTo>
                    <a:lnTo>
                      <a:pt x="25" y="27"/>
                    </a:lnTo>
                    <a:lnTo>
                      <a:pt x="27" y="20"/>
                    </a:lnTo>
                    <a:lnTo>
                      <a:pt x="29" y="22"/>
                    </a:lnTo>
                    <a:lnTo>
                      <a:pt x="32" y="22"/>
                    </a:lnTo>
                    <a:lnTo>
                      <a:pt x="34" y="22"/>
                    </a:lnTo>
                    <a:lnTo>
                      <a:pt x="37" y="15"/>
                    </a:lnTo>
                    <a:lnTo>
                      <a:pt x="37" y="12"/>
                    </a:lnTo>
                    <a:lnTo>
                      <a:pt x="39" y="12"/>
                    </a:lnTo>
                    <a:lnTo>
                      <a:pt x="47" y="8"/>
                    </a:lnTo>
                    <a:lnTo>
                      <a:pt x="49" y="7"/>
                    </a:lnTo>
                    <a:lnTo>
                      <a:pt x="51" y="5"/>
                    </a:lnTo>
                    <a:lnTo>
                      <a:pt x="54" y="5"/>
                    </a:lnTo>
                    <a:lnTo>
                      <a:pt x="54" y="7"/>
                    </a:lnTo>
                    <a:lnTo>
                      <a:pt x="56" y="7"/>
                    </a:lnTo>
                    <a:lnTo>
                      <a:pt x="56" y="5"/>
                    </a:lnTo>
                    <a:lnTo>
                      <a:pt x="52" y="3"/>
                    </a:lnTo>
                    <a:lnTo>
                      <a:pt x="54" y="0"/>
                    </a:lnTo>
                    <a:lnTo>
                      <a:pt x="57" y="2"/>
                    </a:lnTo>
                    <a:lnTo>
                      <a:pt x="63" y="2"/>
                    </a:lnTo>
                    <a:lnTo>
                      <a:pt x="61" y="5"/>
                    </a:lnTo>
                    <a:lnTo>
                      <a:pt x="66" y="8"/>
                    </a:lnTo>
                    <a:lnTo>
                      <a:pt x="68" y="12"/>
                    </a:lnTo>
                    <a:lnTo>
                      <a:pt x="69" y="13"/>
                    </a:lnTo>
                    <a:lnTo>
                      <a:pt x="71" y="13"/>
                    </a:lnTo>
                    <a:lnTo>
                      <a:pt x="73" y="13"/>
                    </a:lnTo>
                    <a:close/>
                    <a:moveTo>
                      <a:pt x="3" y="616"/>
                    </a:moveTo>
                    <a:lnTo>
                      <a:pt x="1" y="619"/>
                    </a:lnTo>
                    <a:lnTo>
                      <a:pt x="3" y="626"/>
                    </a:lnTo>
                    <a:lnTo>
                      <a:pt x="1" y="624"/>
                    </a:lnTo>
                    <a:lnTo>
                      <a:pt x="0" y="619"/>
                    </a:lnTo>
                    <a:lnTo>
                      <a:pt x="0" y="617"/>
                    </a:lnTo>
                    <a:lnTo>
                      <a:pt x="1" y="616"/>
                    </a:lnTo>
                    <a:lnTo>
                      <a:pt x="3" y="616"/>
                    </a:lnTo>
                    <a:close/>
                    <a:moveTo>
                      <a:pt x="32" y="88"/>
                    </a:moveTo>
                    <a:lnTo>
                      <a:pt x="30" y="88"/>
                    </a:lnTo>
                    <a:lnTo>
                      <a:pt x="32" y="88"/>
                    </a:lnTo>
                    <a:lnTo>
                      <a:pt x="32" y="90"/>
                    </a:lnTo>
                    <a:lnTo>
                      <a:pt x="30" y="90"/>
                    </a:lnTo>
                    <a:lnTo>
                      <a:pt x="30" y="88"/>
                    </a:lnTo>
                    <a:lnTo>
                      <a:pt x="34" y="87"/>
                    </a:lnTo>
                    <a:lnTo>
                      <a:pt x="32" y="88"/>
                    </a:lnTo>
                    <a:close/>
                    <a:moveTo>
                      <a:pt x="57" y="81"/>
                    </a:moveTo>
                    <a:lnTo>
                      <a:pt x="56" y="83"/>
                    </a:lnTo>
                    <a:lnTo>
                      <a:pt x="52" y="83"/>
                    </a:lnTo>
                    <a:lnTo>
                      <a:pt x="57" y="81"/>
                    </a:lnTo>
                    <a:close/>
                    <a:moveTo>
                      <a:pt x="47" y="85"/>
                    </a:moveTo>
                    <a:lnTo>
                      <a:pt x="51" y="85"/>
                    </a:lnTo>
                    <a:lnTo>
                      <a:pt x="51" y="87"/>
                    </a:lnTo>
                    <a:lnTo>
                      <a:pt x="47" y="87"/>
                    </a:lnTo>
                    <a:lnTo>
                      <a:pt x="47" y="85"/>
                    </a:lnTo>
                    <a:close/>
                    <a:moveTo>
                      <a:pt x="63" y="81"/>
                    </a:moveTo>
                    <a:lnTo>
                      <a:pt x="59" y="81"/>
                    </a:lnTo>
                    <a:lnTo>
                      <a:pt x="64" y="80"/>
                    </a:lnTo>
                    <a:lnTo>
                      <a:pt x="63" y="81"/>
                    </a:lnTo>
                    <a:close/>
                    <a:moveTo>
                      <a:pt x="69" y="76"/>
                    </a:moveTo>
                    <a:lnTo>
                      <a:pt x="71" y="76"/>
                    </a:lnTo>
                    <a:lnTo>
                      <a:pt x="69" y="76"/>
                    </a:lnTo>
                    <a:close/>
                    <a:moveTo>
                      <a:pt x="73" y="229"/>
                    </a:moveTo>
                    <a:lnTo>
                      <a:pt x="73" y="231"/>
                    </a:lnTo>
                    <a:lnTo>
                      <a:pt x="73" y="229"/>
                    </a:lnTo>
                    <a:close/>
                    <a:moveTo>
                      <a:pt x="59" y="80"/>
                    </a:moveTo>
                    <a:lnTo>
                      <a:pt x="59" y="81"/>
                    </a:lnTo>
                    <a:lnTo>
                      <a:pt x="59" y="80"/>
                    </a:lnTo>
                    <a:close/>
                    <a:moveTo>
                      <a:pt x="57" y="83"/>
                    </a:moveTo>
                    <a:lnTo>
                      <a:pt x="59" y="83"/>
                    </a:lnTo>
                    <a:lnTo>
                      <a:pt x="57" y="83"/>
                    </a:lnTo>
                    <a:close/>
                    <a:moveTo>
                      <a:pt x="30" y="90"/>
                    </a:moveTo>
                    <a:lnTo>
                      <a:pt x="32" y="90"/>
                    </a:lnTo>
                    <a:lnTo>
                      <a:pt x="30" y="90"/>
                    </a:lnTo>
                    <a:close/>
                    <a:moveTo>
                      <a:pt x="61" y="80"/>
                    </a:moveTo>
                    <a:lnTo>
                      <a:pt x="63" y="80"/>
                    </a:lnTo>
                    <a:lnTo>
                      <a:pt x="61" y="80"/>
                    </a:lnTo>
                    <a:close/>
                    <a:moveTo>
                      <a:pt x="54" y="81"/>
                    </a:moveTo>
                    <a:lnTo>
                      <a:pt x="56" y="81"/>
                    </a:lnTo>
                    <a:lnTo>
                      <a:pt x="54" y="81"/>
                    </a:lnTo>
                    <a:close/>
                    <a:moveTo>
                      <a:pt x="59" y="83"/>
                    </a:moveTo>
                    <a:lnTo>
                      <a:pt x="59" y="85"/>
                    </a:lnTo>
                    <a:lnTo>
                      <a:pt x="59" y="83"/>
                    </a:lnTo>
                    <a:close/>
                    <a:moveTo>
                      <a:pt x="64" y="80"/>
                    </a:moveTo>
                    <a:lnTo>
                      <a:pt x="66" y="80"/>
                    </a:lnTo>
                    <a:lnTo>
                      <a:pt x="66" y="81"/>
                    </a:lnTo>
                    <a:lnTo>
                      <a:pt x="64" y="81"/>
                    </a:lnTo>
                    <a:lnTo>
                      <a:pt x="64" y="80"/>
                    </a:lnTo>
                    <a:close/>
                    <a:moveTo>
                      <a:pt x="57" y="81"/>
                    </a:moveTo>
                    <a:lnTo>
                      <a:pt x="59" y="81"/>
                    </a:lnTo>
                    <a:lnTo>
                      <a:pt x="59" y="83"/>
                    </a:lnTo>
                    <a:lnTo>
                      <a:pt x="57" y="83"/>
                    </a:lnTo>
                    <a:lnTo>
                      <a:pt x="57" y="81"/>
                    </a:lnTo>
                    <a:close/>
                    <a:moveTo>
                      <a:pt x="54" y="85"/>
                    </a:moveTo>
                    <a:lnTo>
                      <a:pt x="56" y="85"/>
                    </a:lnTo>
                    <a:lnTo>
                      <a:pt x="54" y="85"/>
                    </a:lnTo>
                    <a:close/>
                    <a:moveTo>
                      <a:pt x="56" y="83"/>
                    </a:moveTo>
                    <a:lnTo>
                      <a:pt x="57" y="83"/>
                    </a:lnTo>
                    <a:lnTo>
                      <a:pt x="56" y="83"/>
                    </a:lnTo>
                    <a:close/>
                    <a:moveTo>
                      <a:pt x="68" y="76"/>
                    </a:moveTo>
                    <a:lnTo>
                      <a:pt x="69" y="76"/>
                    </a:lnTo>
                    <a:lnTo>
                      <a:pt x="68" y="76"/>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14" name="Freeform 11">
                <a:extLst>
                  <a:ext uri="{FF2B5EF4-FFF2-40B4-BE49-F238E27FC236}">
                    <a16:creationId xmlns:a16="http://schemas.microsoft.com/office/drawing/2014/main" id="{FFF799F6-C045-491E-8291-7CD840A43425}"/>
                  </a:ext>
                </a:extLst>
              </p:cNvPr>
              <p:cNvSpPr>
                <a:spLocks noEditPoints="1"/>
              </p:cNvSpPr>
              <p:nvPr/>
            </p:nvSpPr>
            <p:spPr bwMode="gray">
              <a:xfrm>
                <a:off x="2538413" y="2068513"/>
                <a:ext cx="215900" cy="195263"/>
              </a:xfrm>
              <a:custGeom>
                <a:avLst/>
                <a:gdLst>
                  <a:gd name="T0" fmla="*/ 85 w 136"/>
                  <a:gd name="T1" fmla="*/ 99 h 123"/>
                  <a:gd name="T2" fmla="*/ 91 w 136"/>
                  <a:gd name="T3" fmla="*/ 106 h 123"/>
                  <a:gd name="T4" fmla="*/ 97 w 136"/>
                  <a:gd name="T5" fmla="*/ 111 h 123"/>
                  <a:gd name="T6" fmla="*/ 95 w 136"/>
                  <a:gd name="T7" fmla="*/ 117 h 123"/>
                  <a:gd name="T8" fmla="*/ 83 w 136"/>
                  <a:gd name="T9" fmla="*/ 112 h 123"/>
                  <a:gd name="T10" fmla="*/ 80 w 136"/>
                  <a:gd name="T11" fmla="*/ 104 h 123"/>
                  <a:gd name="T12" fmla="*/ 81 w 136"/>
                  <a:gd name="T13" fmla="*/ 97 h 123"/>
                  <a:gd name="T14" fmla="*/ 17 w 136"/>
                  <a:gd name="T15" fmla="*/ 2 h 123"/>
                  <a:gd name="T16" fmla="*/ 18 w 136"/>
                  <a:gd name="T17" fmla="*/ 9 h 123"/>
                  <a:gd name="T18" fmla="*/ 8 w 136"/>
                  <a:gd name="T19" fmla="*/ 15 h 123"/>
                  <a:gd name="T20" fmla="*/ 1 w 136"/>
                  <a:gd name="T21" fmla="*/ 14 h 123"/>
                  <a:gd name="T22" fmla="*/ 1 w 136"/>
                  <a:gd name="T23" fmla="*/ 7 h 123"/>
                  <a:gd name="T24" fmla="*/ 13 w 136"/>
                  <a:gd name="T25" fmla="*/ 0 h 123"/>
                  <a:gd name="T26" fmla="*/ 129 w 136"/>
                  <a:gd name="T27" fmla="*/ 51 h 123"/>
                  <a:gd name="T28" fmla="*/ 136 w 136"/>
                  <a:gd name="T29" fmla="*/ 54 h 123"/>
                  <a:gd name="T30" fmla="*/ 131 w 136"/>
                  <a:gd name="T31" fmla="*/ 63 h 123"/>
                  <a:gd name="T32" fmla="*/ 120 w 136"/>
                  <a:gd name="T33" fmla="*/ 61 h 123"/>
                  <a:gd name="T34" fmla="*/ 124 w 136"/>
                  <a:gd name="T35" fmla="*/ 53 h 123"/>
                  <a:gd name="T36" fmla="*/ 52 w 136"/>
                  <a:gd name="T37" fmla="*/ 111 h 123"/>
                  <a:gd name="T38" fmla="*/ 52 w 136"/>
                  <a:gd name="T39" fmla="*/ 121 h 123"/>
                  <a:gd name="T40" fmla="*/ 42 w 136"/>
                  <a:gd name="T41" fmla="*/ 116 h 123"/>
                  <a:gd name="T42" fmla="*/ 52 w 136"/>
                  <a:gd name="T43" fmla="*/ 111 h 123"/>
                  <a:gd name="T44" fmla="*/ 61 w 136"/>
                  <a:gd name="T45" fmla="*/ 31 h 123"/>
                  <a:gd name="T46" fmla="*/ 68 w 136"/>
                  <a:gd name="T47" fmla="*/ 34 h 123"/>
                  <a:gd name="T48" fmla="*/ 57 w 136"/>
                  <a:gd name="T49" fmla="*/ 32 h 123"/>
                  <a:gd name="T50" fmla="*/ 51 w 136"/>
                  <a:gd name="T51" fmla="*/ 32 h 123"/>
                  <a:gd name="T52" fmla="*/ 51 w 136"/>
                  <a:gd name="T53" fmla="*/ 27 h 123"/>
                  <a:gd name="T54" fmla="*/ 112 w 136"/>
                  <a:gd name="T55" fmla="*/ 95 h 123"/>
                  <a:gd name="T56" fmla="*/ 115 w 136"/>
                  <a:gd name="T57" fmla="*/ 102 h 123"/>
                  <a:gd name="T58" fmla="*/ 108 w 136"/>
                  <a:gd name="T59" fmla="*/ 106 h 123"/>
                  <a:gd name="T60" fmla="*/ 107 w 136"/>
                  <a:gd name="T61" fmla="*/ 99 h 123"/>
                  <a:gd name="T62" fmla="*/ 110 w 136"/>
                  <a:gd name="T63" fmla="*/ 95 h 123"/>
                  <a:gd name="T64" fmla="*/ 22 w 136"/>
                  <a:gd name="T65" fmla="*/ 17 h 123"/>
                  <a:gd name="T66" fmla="*/ 18 w 136"/>
                  <a:gd name="T67" fmla="*/ 22 h 123"/>
                  <a:gd name="T68" fmla="*/ 18 w 136"/>
                  <a:gd name="T69" fmla="*/ 17 h 123"/>
                  <a:gd name="T70" fmla="*/ 22 w 136"/>
                  <a:gd name="T71" fmla="*/ 15 h 123"/>
                  <a:gd name="T72" fmla="*/ 125 w 136"/>
                  <a:gd name="T73" fmla="*/ 22 h 123"/>
                  <a:gd name="T74" fmla="*/ 124 w 136"/>
                  <a:gd name="T75" fmla="*/ 29 h 123"/>
                  <a:gd name="T76" fmla="*/ 124 w 136"/>
                  <a:gd name="T77" fmla="*/ 32 h 123"/>
                  <a:gd name="T78" fmla="*/ 120 w 136"/>
                  <a:gd name="T79" fmla="*/ 26 h 123"/>
                  <a:gd name="T80" fmla="*/ 120 w 136"/>
                  <a:gd name="T81" fmla="*/ 20 h 123"/>
                  <a:gd name="T82" fmla="*/ 35 w 136"/>
                  <a:gd name="T83" fmla="*/ 121 h 123"/>
                  <a:gd name="T84" fmla="*/ 30 w 136"/>
                  <a:gd name="T85" fmla="*/ 119 h 123"/>
                  <a:gd name="T86" fmla="*/ 34 w 136"/>
                  <a:gd name="T87" fmla="*/ 117 h 123"/>
                  <a:gd name="T88" fmla="*/ 32 w 136"/>
                  <a:gd name="T89" fmla="*/ 24 h 123"/>
                  <a:gd name="T90" fmla="*/ 29 w 136"/>
                  <a:gd name="T91" fmla="*/ 22 h 123"/>
                  <a:gd name="T92" fmla="*/ 37 w 136"/>
                  <a:gd name="T93" fmla="*/ 31 h 123"/>
                  <a:gd name="T94" fmla="*/ 34 w 136"/>
                  <a:gd name="T95" fmla="*/ 27 h 123"/>
                  <a:gd name="T96" fmla="*/ 34 w 136"/>
                  <a:gd name="T97" fmla="*/ 29 h 123"/>
                  <a:gd name="T98" fmla="*/ 124 w 136"/>
                  <a:gd name="T99" fmla="*/ 53 h 123"/>
                  <a:gd name="T100" fmla="*/ 37 w 136"/>
                  <a:gd name="T10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23">
                    <a:moveTo>
                      <a:pt x="85" y="95"/>
                    </a:moveTo>
                    <a:lnTo>
                      <a:pt x="85" y="97"/>
                    </a:lnTo>
                    <a:lnTo>
                      <a:pt x="85" y="99"/>
                    </a:lnTo>
                    <a:lnTo>
                      <a:pt x="88" y="100"/>
                    </a:lnTo>
                    <a:lnTo>
                      <a:pt x="90" y="104"/>
                    </a:lnTo>
                    <a:lnTo>
                      <a:pt x="91" y="106"/>
                    </a:lnTo>
                    <a:lnTo>
                      <a:pt x="93" y="106"/>
                    </a:lnTo>
                    <a:lnTo>
                      <a:pt x="95" y="109"/>
                    </a:lnTo>
                    <a:lnTo>
                      <a:pt x="97" y="111"/>
                    </a:lnTo>
                    <a:lnTo>
                      <a:pt x="97" y="112"/>
                    </a:lnTo>
                    <a:lnTo>
                      <a:pt x="97" y="114"/>
                    </a:lnTo>
                    <a:lnTo>
                      <a:pt x="95" y="117"/>
                    </a:lnTo>
                    <a:lnTo>
                      <a:pt x="93" y="117"/>
                    </a:lnTo>
                    <a:lnTo>
                      <a:pt x="88" y="117"/>
                    </a:lnTo>
                    <a:lnTo>
                      <a:pt x="83" y="112"/>
                    </a:lnTo>
                    <a:lnTo>
                      <a:pt x="80" y="109"/>
                    </a:lnTo>
                    <a:lnTo>
                      <a:pt x="81" y="106"/>
                    </a:lnTo>
                    <a:lnTo>
                      <a:pt x="80" y="104"/>
                    </a:lnTo>
                    <a:lnTo>
                      <a:pt x="81" y="100"/>
                    </a:lnTo>
                    <a:lnTo>
                      <a:pt x="80" y="97"/>
                    </a:lnTo>
                    <a:lnTo>
                      <a:pt x="81" y="97"/>
                    </a:lnTo>
                    <a:lnTo>
                      <a:pt x="81" y="95"/>
                    </a:lnTo>
                    <a:lnTo>
                      <a:pt x="85" y="95"/>
                    </a:lnTo>
                    <a:close/>
                    <a:moveTo>
                      <a:pt x="17" y="2"/>
                    </a:moveTo>
                    <a:lnTo>
                      <a:pt x="18" y="5"/>
                    </a:lnTo>
                    <a:lnTo>
                      <a:pt x="20" y="5"/>
                    </a:lnTo>
                    <a:lnTo>
                      <a:pt x="18" y="9"/>
                    </a:lnTo>
                    <a:lnTo>
                      <a:pt x="15" y="10"/>
                    </a:lnTo>
                    <a:lnTo>
                      <a:pt x="13" y="10"/>
                    </a:lnTo>
                    <a:lnTo>
                      <a:pt x="8" y="15"/>
                    </a:lnTo>
                    <a:lnTo>
                      <a:pt x="5" y="15"/>
                    </a:lnTo>
                    <a:lnTo>
                      <a:pt x="3" y="15"/>
                    </a:lnTo>
                    <a:lnTo>
                      <a:pt x="1" y="14"/>
                    </a:lnTo>
                    <a:lnTo>
                      <a:pt x="1" y="10"/>
                    </a:lnTo>
                    <a:lnTo>
                      <a:pt x="0" y="9"/>
                    </a:lnTo>
                    <a:lnTo>
                      <a:pt x="1" y="7"/>
                    </a:lnTo>
                    <a:lnTo>
                      <a:pt x="5" y="5"/>
                    </a:lnTo>
                    <a:lnTo>
                      <a:pt x="8" y="3"/>
                    </a:lnTo>
                    <a:lnTo>
                      <a:pt x="13" y="0"/>
                    </a:lnTo>
                    <a:lnTo>
                      <a:pt x="17" y="2"/>
                    </a:lnTo>
                    <a:close/>
                    <a:moveTo>
                      <a:pt x="125" y="51"/>
                    </a:moveTo>
                    <a:lnTo>
                      <a:pt x="129" y="51"/>
                    </a:lnTo>
                    <a:lnTo>
                      <a:pt x="131" y="49"/>
                    </a:lnTo>
                    <a:lnTo>
                      <a:pt x="134" y="51"/>
                    </a:lnTo>
                    <a:lnTo>
                      <a:pt x="136" y="54"/>
                    </a:lnTo>
                    <a:lnTo>
                      <a:pt x="136" y="58"/>
                    </a:lnTo>
                    <a:lnTo>
                      <a:pt x="136" y="60"/>
                    </a:lnTo>
                    <a:lnTo>
                      <a:pt x="131" y="63"/>
                    </a:lnTo>
                    <a:lnTo>
                      <a:pt x="129" y="63"/>
                    </a:lnTo>
                    <a:lnTo>
                      <a:pt x="125" y="63"/>
                    </a:lnTo>
                    <a:lnTo>
                      <a:pt x="120" y="61"/>
                    </a:lnTo>
                    <a:lnTo>
                      <a:pt x="122" y="58"/>
                    </a:lnTo>
                    <a:lnTo>
                      <a:pt x="124" y="56"/>
                    </a:lnTo>
                    <a:lnTo>
                      <a:pt x="124" y="53"/>
                    </a:lnTo>
                    <a:lnTo>
                      <a:pt x="124" y="49"/>
                    </a:lnTo>
                    <a:lnTo>
                      <a:pt x="125" y="51"/>
                    </a:lnTo>
                    <a:close/>
                    <a:moveTo>
                      <a:pt x="52" y="111"/>
                    </a:moveTo>
                    <a:lnTo>
                      <a:pt x="54" y="112"/>
                    </a:lnTo>
                    <a:lnTo>
                      <a:pt x="54" y="119"/>
                    </a:lnTo>
                    <a:lnTo>
                      <a:pt x="52" y="121"/>
                    </a:lnTo>
                    <a:lnTo>
                      <a:pt x="49" y="123"/>
                    </a:lnTo>
                    <a:lnTo>
                      <a:pt x="44" y="119"/>
                    </a:lnTo>
                    <a:lnTo>
                      <a:pt x="42" y="116"/>
                    </a:lnTo>
                    <a:lnTo>
                      <a:pt x="44" y="112"/>
                    </a:lnTo>
                    <a:lnTo>
                      <a:pt x="49" y="111"/>
                    </a:lnTo>
                    <a:lnTo>
                      <a:pt x="52" y="111"/>
                    </a:lnTo>
                    <a:close/>
                    <a:moveTo>
                      <a:pt x="54" y="29"/>
                    </a:moveTo>
                    <a:lnTo>
                      <a:pt x="57" y="29"/>
                    </a:lnTo>
                    <a:lnTo>
                      <a:pt x="61" y="31"/>
                    </a:lnTo>
                    <a:lnTo>
                      <a:pt x="66" y="31"/>
                    </a:lnTo>
                    <a:lnTo>
                      <a:pt x="68" y="32"/>
                    </a:lnTo>
                    <a:lnTo>
                      <a:pt x="68" y="34"/>
                    </a:lnTo>
                    <a:lnTo>
                      <a:pt x="63" y="34"/>
                    </a:lnTo>
                    <a:lnTo>
                      <a:pt x="59" y="32"/>
                    </a:lnTo>
                    <a:lnTo>
                      <a:pt x="57" y="32"/>
                    </a:lnTo>
                    <a:lnTo>
                      <a:pt x="54" y="34"/>
                    </a:lnTo>
                    <a:lnTo>
                      <a:pt x="52" y="37"/>
                    </a:lnTo>
                    <a:lnTo>
                      <a:pt x="51" y="32"/>
                    </a:lnTo>
                    <a:lnTo>
                      <a:pt x="47" y="31"/>
                    </a:lnTo>
                    <a:lnTo>
                      <a:pt x="47" y="29"/>
                    </a:lnTo>
                    <a:lnTo>
                      <a:pt x="51" y="27"/>
                    </a:lnTo>
                    <a:lnTo>
                      <a:pt x="54" y="29"/>
                    </a:lnTo>
                    <a:close/>
                    <a:moveTo>
                      <a:pt x="110" y="95"/>
                    </a:moveTo>
                    <a:lnTo>
                      <a:pt x="112" y="95"/>
                    </a:lnTo>
                    <a:lnTo>
                      <a:pt x="112" y="97"/>
                    </a:lnTo>
                    <a:lnTo>
                      <a:pt x="114" y="97"/>
                    </a:lnTo>
                    <a:lnTo>
                      <a:pt x="115" y="102"/>
                    </a:lnTo>
                    <a:lnTo>
                      <a:pt x="115" y="104"/>
                    </a:lnTo>
                    <a:lnTo>
                      <a:pt x="112" y="107"/>
                    </a:lnTo>
                    <a:lnTo>
                      <a:pt x="108" y="106"/>
                    </a:lnTo>
                    <a:lnTo>
                      <a:pt x="107" y="104"/>
                    </a:lnTo>
                    <a:lnTo>
                      <a:pt x="108" y="100"/>
                    </a:lnTo>
                    <a:lnTo>
                      <a:pt x="107" y="99"/>
                    </a:lnTo>
                    <a:lnTo>
                      <a:pt x="108" y="97"/>
                    </a:lnTo>
                    <a:lnTo>
                      <a:pt x="110" y="97"/>
                    </a:lnTo>
                    <a:lnTo>
                      <a:pt x="110" y="95"/>
                    </a:lnTo>
                    <a:close/>
                    <a:moveTo>
                      <a:pt x="22" y="15"/>
                    </a:moveTo>
                    <a:lnTo>
                      <a:pt x="23" y="15"/>
                    </a:lnTo>
                    <a:lnTo>
                      <a:pt x="22" y="17"/>
                    </a:lnTo>
                    <a:lnTo>
                      <a:pt x="25" y="19"/>
                    </a:lnTo>
                    <a:lnTo>
                      <a:pt x="25" y="20"/>
                    </a:lnTo>
                    <a:lnTo>
                      <a:pt x="18" y="22"/>
                    </a:lnTo>
                    <a:lnTo>
                      <a:pt x="13" y="20"/>
                    </a:lnTo>
                    <a:lnTo>
                      <a:pt x="15" y="17"/>
                    </a:lnTo>
                    <a:lnTo>
                      <a:pt x="18" y="17"/>
                    </a:lnTo>
                    <a:lnTo>
                      <a:pt x="18" y="15"/>
                    </a:lnTo>
                    <a:lnTo>
                      <a:pt x="20" y="15"/>
                    </a:lnTo>
                    <a:lnTo>
                      <a:pt x="22" y="15"/>
                    </a:lnTo>
                    <a:close/>
                    <a:moveTo>
                      <a:pt x="125" y="19"/>
                    </a:moveTo>
                    <a:lnTo>
                      <a:pt x="124" y="20"/>
                    </a:lnTo>
                    <a:lnTo>
                      <a:pt x="125" y="22"/>
                    </a:lnTo>
                    <a:lnTo>
                      <a:pt x="124" y="24"/>
                    </a:lnTo>
                    <a:lnTo>
                      <a:pt x="125" y="27"/>
                    </a:lnTo>
                    <a:lnTo>
                      <a:pt x="124" y="29"/>
                    </a:lnTo>
                    <a:lnTo>
                      <a:pt x="125" y="32"/>
                    </a:lnTo>
                    <a:lnTo>
                      <a:pt x="124" y="31"/>
                    </a:lnTo>
                    <a:lnTo>
                      <a:pt x="124" y="32"/>
                    </a:lnTo>
                    <a:lnTo>
                      <a:pt x="122" y="29"/>
                    </a:lnTo>
                    <a:lnTo>
                      <a:pt x="122" y="27"/>
                    </a:lnTo>
                    <a:lnTo>
                      <a:pt x="120" y="26"/>
                    </a:lnTo>
                    <a:lnTo>
                      <a:pt x="120" y="24"/>
                    </a:lnTo>
                    <a:lnTo>
                      <a:pt x="119" y="22"/>
                    </a:lnTo>
                    <a:lnTo>
                      <a:pt x="120" y="20"/>
                    </a:lnTo>
                    <a:lnTo>
                      <a:pt x="124" y="19"/>
                    </a:lnTo>
                    <a:lnTo>
                      <a:pt x="125" y="19"/>
                    </a:lnTo>
                    <a:close/>
                    <a:moveTo>
                      <a:pt x="35" y="121"/>
                    </a:moveTo>
                    <a:lnTo>
                      <a:pt x="34" y="123"/>
                    </a:lnTo>
                    <a:lnTo>
                      <a:pt x="30" y="121"/>
                    </a:lnTo>
                    <a:lnTo>
                      <a:pt x="30" y="119"/>
                    </a:lnTo>
                    <a:lnTo>
                      <a:pt x="32" y="119"/>
                    </a:lnTo>
                    <a:lnTo>
                      <a:pt x="32" y="117"/>
                    </a:lnTo>
                    <a:lnTo>
                      <a:pt x="34" y="117"/>
                    </a:lnTo>
                    <a:lnTo>
                      <a:pt x="35" y="121"/>
                    </a:lnTo>
                    <a:close/>
                    <a:moveTo>
                      <a:pt x="30" y="22"/>
                    </a:moveTo>
                    <a:lnTo>
                      <a:pt x="32" y="24"/>
                    </a:lnTo>
                    <a:lnTo>
                      <a:pt x="34" y="24"/>
                    </a:lnTo>
                    <a:lnTo>
                      <a:pt x="30" y="24"/>
                    </a:lnTo>
                    <a:lnTo>
                      <a:pt x="29" y="22"/>
                    </a:lnTo>
                    <a:lnTo>
                      <a:pt x="29" y="20"/>
                    </a:lnTo>
                    <a:lnTo>
                      <a:pt x="30" y="22"/>
                    </a:lnTo>
                    <a:close/>
                    <a:moveTo>
                      <a:pt x="37" y="31"/>
                    </a:moveTo>
                    <a:lnTo>
                      <a:pt x="39" y="31"/>
                    </a:lnTo>
                    <a:lnTo>
                      <a:pt x="37" y="31"/>
                    </a:lnTo>
                    <a:close/>
                    <a:moveTo>
                      <a:pt x="34" y="27"/>
                    </a:moveTo>
                    <a:lnTo>
                      <a:pt x="35" y="27"/>
                    </a:lnTo>
                    <a:lnTo>
                      <a:pt x="35" y="29"/>
                    </a:lnTo>
                    <a:lnTo>
                      <a:pt x="34" y="29"/>
                    </a:lnTo>
                    <a:lnTo>
                      <a:pt x="34" y="27"/>
                    </a:lnTo>
                    <a:close/>
                    <a:moveTo>
                      <a:pt x="122" y="53"/>
                    </a:moveTo>
                    <a:lnTo>
                      <a:pt x="124" y="53"/>
                    </a:lnTo>
                    <a:lnTo>
                      <a:pt x="122" y="53"/>
                    </a:lnTo>
                    <a:close/>
                    <a:moveTo>
                      <a:pt x="35" y="114"/>
                    </a:moveTo>
                    <a:lnTo>
                      <a:pt x="37" y="114"/>
                    </a:lnTo>
                    <a:lnTo>
                      <a:pt x="35" y="114"/>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15" name="Freeform 12">
                <a:extLst>
                  <a:ext uri="{FF2B5EF4-FFF2-40B4-BE49-F238E27FC236}">
                    <a16:creationId xmlns:a16="http://schemas.microsoft.com/office/drawing/2014/main" id="{EB617FB4-59FC-443D-8A1D-ADDC748B5BDE}"/>
                  </a:ext>
                </a:extLst>
              </p:cNvPr>
              <p:cNvSpPr>
                <a:spLocks/>
              </p:cNvSpPr>
              <p:nvPr/>
            </p:nvSpPr>
            <p:spPr bwMode="gray">
              <a:xfrm>
                <a:off x="4640263" y="2454275"/>
                <a:ext cx="246062" cy="496888"/>
              </a:xfrm>
              <a:custGeom>
                <a:avLst/>
                <a:gdLst>
                  <a:gd name="T0" fmla="*/ 148 w 155"/>
                  <a:gd name="T1" fmla="*/ 70 h 313"/>
                  <a:gd name="T2" fmla="*/ 155 w 155"/>
                  <a:gd name="T3" fmla="*/ 87 h 313"/>
                  <a:gd name="T4" fmla="*/ 144 w 155"/>
                  <a:gd name="T5" fmla="*/ 101 h 313"/>
                  <a:gd name="T6" fmla="*/ 143 w 155"/>
                  <a:gd name="T7" fmla="*/ 119 h 313"/>
                  <a:gd name="T8" fmla="*/ 129 w 155"/>
                  <a:gd name="T9" fmla="*/ 133 h 313"/>
                  <a:gd name="T10" fmla="*/ 121 w 155"/>
                  <a:gd name="T11" fmla="*/ 148 h 313"/>
                  <a:gd name="T12" fmla="*/ 119 w 155"/>
                  <a:gd name="T13" fmla="*/ 160 h 313"/>
                  <a:gd name="T14" fmla="*/ 107 w 155"/>
                  <a:gd name="T15" fmla="*/ 169 h 313"/>
                  <a:gd name="T16" fmla="*/ 102 w 155"/>
                  <a:gd name="T17" fmla="*/ 172 h 313"/>
                  <a:gd name="T18" fmla="*/ 99 w 155"/>
                  <a:gd name="T19" fmla="*/ 177 h 313"/>
                  <a:gd name="T20" fmla="*/ 100 w 155"/>
                  <a:gd name="T21" fmla="*/ 182 h 313"/>
                  <a:gd name="T22" fmla="*/ 99 w 155"/>
                  <a:gd name="T23" fmla="*/ 191 h 313"/>
                  <a:gd name="T24" fmla="*/ 99 w 155"/>
                  <a:gd name="T25" fmla="*/ 199 h 313"/>
                  <a:gd name="T26" fmla="*/ 97 w 155"/>
                  <a:gd name="T27" fmla="*/ 206 h 313"/>
                  <a:gd name="T28" fmla="*/ 99 w 155"/>
                  <a:gd name="T29" fmla="*/ 216 h 313"/>
                  <a:gd name="T30" fmla="*/ 99 w 155"/>
                  <a:gd name="T31" fmla="*/ 245 h 313"/>
                  <a:gd name="T32" fmla="*/ 99 w 155"/>
                  <a:gd name="T33" fmla="*/ 254 h 313"/>
                  <a:gd name="T34" fmla="*/ 102 w 155"/>
                  <a:gd name="T35" fmla="*/ 272 h 313"/>
                  <a:gd name="T36" fmla="*/ 99 w 155"/>
                  <a:gd name="T37" fmla="*/ 284 h 313"/>
                  <a:gd name="T38" fmla="*/ 99 w 155"/>
                  <a:gd name="T39" fmla="*/ 293 h 313"/>
                  <a:gd name="T40" fmla="*/ 83 w 155"/>
                  <a:gd name="T41" fmla="*/ 308 h 313"/>
                  <a:gd name="T42" fmla="*/ 51 w 155"/>
                  <a:gd name="T43" fmla="*/ 312 h 313"/>
                  <a:gd name="T44" fmla="*/ 49 w 155"/>
                  <a:gd name="T45" fmla="*/ 303 h 313"/>
                  <a:gd name="T46" fmla="*/ 44 w 155"/>
                  <a:gd name="T47" fmla="*/ 296 h 313"/>
                  <a:gd name="T48" fmla="*/ 41 w 155"/>
                  <a:gd name="T49" fmla="*/ 289 h 313"/>
                  <a:gd name="T50" fmla="*/ 41 w 155"/>
                  <a:gd name="T51" fmla="*/ 284 h 313"/>
                  <a:gd name="T52" fmla="*/ 42 w 155"/>
                  <a:gd name="T53" fmla="*/ 254 h 313"/>
                  <a:gd name="T54" fmla="*/ 42 w 155"/>
                  <a:gd name="T55" fmla="*/ 240 h 313"/>
                  <a:gd name="T56" fmla="*/ 44 w 155"/>
                  <a:gd name="T57" fmla="*/ 199 h 313"/>
                  <a:gd name="T58" fmla="*/ 39 w 155"/>
                  <a:gd name="T59" fmla="*/ 165 h 313"/>
                  <a:gd name="T60" fmla="*/ 27 w 155"/>
                  <a:gd name="T61" fmla="*/ 147 h 313"/>
                  <a:gd name="T62" fmla="*/ 0 w 155"/>
                  <a:gd name="T63" fmla="*/ 97 h 313"/>
                  <a:gd name="T64" fmla="*/ 8 w 155"/>
                  <a:gd name="T65" fmla="*/ 70 h 313"/>
                  <a:gd name="T66" fmla="*/ 17 w 155"/>
                  <a:gd name="T67" fmla="*/ 70 h 313"/>
                  <a:gd name="T68" fmla="*/ 17 w 155"/>
                  <a:gd name="T69" fmla="*/ 63 h 313"/>
                  <a:gd name="T70" fmla="*/ 19 w 155"/>
                  <a:gd name="T71" fmla="*/ 58 h 313"/>
                  <a:gd name="T72" fmla="*/ 24 w 155"/>
                  <a:gd name="T73" fmla="*/ 55 h 313"/>
                  <a:gd name="T74" fmla="*/ 29 w 155"/>
                  <a:gd name="T75" fmla="*/ 56 h 313"/>
                  <a:gd name="T76" fmla="*/ 31 w 155"/>
                  <a:gd name="T77" fmla="*/ 51 h 313"/>
                  <a:gd name="T78" fmla="*/ 36 w 155"/>
                  <a:gd name="T79" fmla="*/ 50 h 313"/>
                  <a:gd name="T80" fmla="*/ 41 w 155"/>
                  <a:gd name="T81" fmla="*/ 50 h 313"/>
                  <a:gd name="T82" fmla="*/ 46 w 155"/>
                  <a:gd name="T83" fmla="*/ 51 h 313"/>
                  <a:gd name="T84" fmla="*/ 56 w 155"/>
                  <a:gd name="T85" fmla="*/ 50 h 313"/>
                  <a:gd name="T86" fmla="*/ 78 w 155"/>
                  <a:gd name="T87" fmla="*/ 33 h 313"/>
                  <a:gd name="T88" fmla="*/ 82 w 155"/>
                  <a:gd name="T89" fmla="*/ 26 h 313"/>
                  <a:gd name="T90" fmla="*/ 82 w 155"/>
                  <a:gd name="T91" fmla="*/ 16 h 313"/>
                  <a:gd name="T92" fmla="*/ 82 w 155"/>
                  <a:gd name="T93" fmla="*/ 11 h 313"/>
                  <a:gd name="T94" fmla="*/ 87 w 155"/>
                  <a:gd name="T95" fmla="*/ 9 h 313"/>
                  <a:gd name="T96" fmla="*/ 95 w 155"/>
                  <a:gd name="T97" fmla="*/ 7 h 313"/>
                  <a:gd name="T98" fmla="*/ 104 w 155"/>
                  <a:gd name="T99" fmla="*/ 0 h 313"/>
                  <a:gd name="T100" fmla="*/ 119 w 155"/>
                  <a:gd name="T101" fmla="*/ 14 h 313"/>
                  <a:gd name="T102" fmla="*/ 136 w 155"/>
                  <a:gd name="T103" fmla="*/ 29 h 313"/>
                  <a:gd name="T104" fmla="*/ 143 w 155"/>
                  <a:gd name="T105" fmla="*/ 3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313">
                    <a:moveTo>
                      <a:pt x="143" y="36"/>
                    </a:moveTo>
                    <a:lnTo>
                      <a:pt x="136" y="50"/>
                    </a:lnTo>
                    <a:lnTo>
                      <a:pt x="146" y="65"/>
                    </a:lnTo>
                    <a:lnTo>
                      <a:pt x="150" y="67"/>
                    </a:lnTo>
                    <a:lnTo>
                      <a:pt x="148" y="70"/>
                    </a:lnTo>
                    <a:lnTo>
                      <a:pt x="151" y="72"/>
                    </a:lnTo>
                    <a:lnTo>
                      <a:pt x="151" y="75"/>
                    </a:lnTo>
                    <a:lnTo>
                      <a:pt x="150" y="82"/>
                    </a:lnTo>
                    <a:lnTo>
                      <a:pt x="151" y="85"/>
                    </a:lnTo>
                    <a:lnTo>
                      <a:pt x="155" y="87"/>
                    </a:lnTo>
                    <a:lnTo>
                      <a:pt x="155" y="92"/>
                    </a:lnTo>
                    <a:lnTo>
                      <a:pt x="153" y="97"/>
                    </a:lnTo>
                    <a:lnTo>
                      <a:pt x="151" y="102"/>
                    </a:lnTo>
                    <a:lnTo>
                      <a:pt x="146" y="99"/>
                    </a:lnTo>
                    <a:lnTo>
                      <a:pt x="144" y="101"/>
                    </a:lnTo>
                    <a:lnTo>
                      <a:pt x="141" y="109"/>
                    </a:lnTo>
                    <a:lnTo>
                      <a:pt x="143" y="111"/>
                    </a:lnTo>
                    <a:lnTo>
                      <a:pt x="146" y="114"/>
                    </a:lnTo>
                    <a:lnTo>
                      <a:pt x="146" y="118"/>
                    </a:lnTo>
                    <a:lnTo>
                      <a:pt x="143" y="119"/>
                    </a:lnTo>
                    <a:lnTo>
                      <a:pt x="143" y="124"/>
                    </a:lnTo>
                    <a:lnTo>
                      <a:pt x="139" y="130"/>
                    </a:lnTo>
                    <a:lnTo>
                      <a:pt x="134" y="130"/>
                    </a:lnTo>
                    <a:lnTo>
                      <a:pt x="129" y="131"/>
                    </a:lnTo>
                    <a:lnTo>
                      <a:pt x="129" y="133"/>
                    </a:lnTo>
                    <a:lnTo>
                      <a:pt x="127" y="135"/>
                    </a:lnTo>
                    <a:lnTo>
                      <a:pt x="129" y="138"/>
                    </a:lnTo>
                    <a:lnTo>
                      <a:pt x="127" y="140"/>
                    </a:lnTo>
                    <a:lnTo>
                      <a:pt x="126" y="140"/>
                    </a:lnTo>
                    <a:lnTo>
                      <a:pt x="121" y="148"/>
                    </a:lnTo>
                    <a:lnTo>
                      <a:pt x="119" y="150"/>
                    </a:lnTo>
                    <a:lnTo>
                      <a:pt x="119" y="152"/>
                    </a:lnTo>
                    <a:lnTo>
                      <a:pt x="119" y="155"/>
                    </a:lnTo>
                    <a:lnTo>
                      <a:pt x="121" y="159"/>
                    </a:lnTo>
                    <a:lnTo>
                      <a:pt x="119" y="160"/>
                    </a:lnTo>
                    <a:lnTo>
                      <a:pt x="119" y="164"/>
                    </a:lnTo>
                    <a:lnTo>
                      <a:pt x="116" y="169"/>
                    </a:lnTo>
                    <a:lnTo>
                      <a:pt x="110" y="170"/>
                    </a:lnTo>
                    <a:lnTo>
                      <a:pt x="109" y="169"/>
                    </a:lnTo>
                    <a:lnTo>
                      <a:pt x="107" y="169"/>
                    </a:lnTo>
                    <a:lnTo>
                      <a:pt x="105" y="170"/>
                    </a:lnTo>
                    <a:lnTo>
                      <a:pt x="100" y="170"/>
                    </a:lnTo>
                    <a:lnTo>
                      <a:pt x="102" y="170"/>
                    </a:lnTo>
                    <a:lnTo>
                      <a:pt x="100" y="172"/>
                    </a:lnTo>
                    <a:lnTo>
                      <a:pt x="102" y="172"/>
                    </a:lnTo>
                    <a:lnTo>
                      <a:pt x="100" y="172"/>
                    </a:lnTo>
                    <a:lnTo>
                      <a:pt x="102" y="174"/>
                    </a:lnTo>
                    <a:lnTo>
                      <a:pt x="100" y="176"/>
                    </a:lnTo>
                    <a:lnTo>
                      <a:pt x="100" y="177"/>
                    </a:lnTo>
                    <a:lnTo>
                      <a:pt x="99" y="177"/>
                    </a:lnTo>
                    <a:lnTo>
                      <a:pt x="100" y="179"/>
                    </a:lnTo>
                    <a:lnTo>
                      <a:pt x="100" y="181"/>
                    </a:lnTo>
                    <a:lnTo>
                      <a:pt x="99" y="181"/>
                    </a:lnTo>
                    <a:lnTo>
                      <a:pt x="100" y="181"/>
                    </a:lnTo>
                    <a:lnTo>
                      <a:pt x="100" y="182"/>
                    </a:lnTo>
                    <a:lnTo>
                      <a:pt x="99" y="184"/>
                    </a:lnTo>
                    <a:lnTo>
                      <a:pt x="99" y="186"/>
                    </a:lnTo>
                    <a:lnTo>
                      <a:pt x="99" y="187"/>
                    </a:lnTo>
                    <a:lnTo>
                      <a:pt x="100" y="187"/>
                    </a:lnTo>
                    <a:lnTo>
                      <a:pt x="99" y="191"/>
                    </a:lnTo>
                    <a:lnTo>
                      <a:pt x="99" y="194"/>
                    </a:lnTo>
                    <a:lnTo>
                      <a:pt x="100" y="196"/>
                    </a:lnTo>
                    <a:lnTo>
                      <a:pt x="99" y="196"/>
                    </a:lnTo>
                    <a:lnTo>
                      <a:pt x="100" y="198"/>
                    </a:lnTo>
                    <a:lnTo>
                      <a:pt x="99" y="199"/>
                    </a:lnTo>
                    <a:lnTo>
                      <a:pt x="100" y="199"/>
                    </a:lnTo>
                    <a:lnTo>
                      <a:pt x="99" y="201"/>
                    </a:lnTo>
                    <a:lnTo>
                      <a:pt x="97" y="203"/>
                    </a:lnTo>
                    <a:lnTo>
                      <a:pt x="97" y="204"/>
                    </a:lnTo>
                    <a:lnTo>
                      <a:pt x="97" y="206"/>
                    </a:lnTo>
                    <a:lnTo>
                      <a:pt x="97" y="208"/>
                    </a:lnTo>
                    <a:lnTo>
                      <a:pt x="97" y="211"/>
                    </a:lnTo>
                    <a:lnTo>
                      <a:pt x="99" y="213"/>
                    </a:lnTo>
                    <a:lnTo>
                      <a:pt x="99" y="215"/>
                    </a:lnTo>
                    <a:lnTo>
                      <a:pt x="99" y="216"/>
                    </a:lnTo>
                    <a:lnTo>
                      <a:pt x="99" y="220"/>
                    </a:lnTo>
                    <a:lnTo>
                      <a:pt x="97" y="228"/>
                    </a:lnTo>
                    <a:lnTo>
                      <a:pt x="95" y="230"/>
                    </a:lnTo>
                    <a:lnTo>
                      <a:pt x="99" y="235"/>
                    </a:lnTo>
                    <a:lnTo>
                      <a:pt x="99" y="245"/>
                    </a:lnTo>
                    <a:lnTo>
                      <a:pt x="99" y="249"/>
                    </a:lnTo>
                    <a:lnTo>
                      <a:pt x="102" y="250"/>
                    </a:lnTo>
                    <a:lnTo>
                      <a:pt x="102" y="254"/>
                    </a:lnTo>
                    <a:lnTo>
                      <a:pt x="100" y="254"/>
                    </a:lnTo>
                    <a:lnTo>
                      <a:pt x="99" y="254"/>
                    </a:lnTo>
                    <a:lnTo>
                      <a:pt x="99" y="262"/>
                    </a:lnTo>
                    <a:lnTo>
                      <a:pt x="100" y="262"/>
                    </a:lnTo>
                    <a:lnTo>
                      <a:pt x="100" y="267"/>
                    </a:lnTo>
                    <a:lnTo>
                      <a:pt x="99" y="271"/>
                    </a:lnTo>
                    <a:lnTo>
                      <a:pt x="102" y="272"/>
                    </a:lnTo>
                    <a:lnTo>
                      <a:pt x="99" y="276"/>
                    </a:lnTo>
                    <a:lnTo>
                      <a:pt x="97" y="278"/>
                    </a:lnTo>
                    <a:lnTo>
                      <a:pt x="99" y="279"/>
                    </a:lnTo>
                    <a:lnTo>
                      <a:pt x="99" y="283"/>
                    </a:lnTo>
                    <a:lnTo>
                      <a:pt x="99" y="284"/>
                    </a:lnTo>
                    <a:lnTo>
                      <a:pt x="99" y="286"/>
                    </a:lnTo>
                    <a:lnTo>
                      <a:pt x="100" y="288"/>
                    </a:lnTo>
                    <a:lnTo>
                      <a:pt x="102" y="288"/>
                    </a:lnTo>
                    <a:lnTo>
                      <a:pt x="100" y="289"/>
                    </a:lnTo>
                    <a:lnTo>
                      <a:pt x="99" y="293"/>
                    </a:lnTo>
                    <a:lnTo>
                      <a:pt x="99" y="296"/>
                    </a:lnTo>
                    <a:lnTo>
                      <a:pt x="97" y="300"/>
                    </a:lnTo>
                    <a:lnTo>
                      <a:pt x="97" y="307"/>
                    </a:lnTo>
                    <a:lnTo>
                      <a:pt x="85" y="307"/>
                    </a:lnTo>
                    <a:lnTo>
                      <a:pt x="83" y="308"/>
                    </a:lnTo>
                    <a:lnTo>
                      <a:pt x="78" y="308"/>
                    </a:lnTo>
                    <a:lnTo>
                      <a:pt x="68" y="308"/>
                    </a:lnTo>
                    <a:lnTo>
                      <a:pt x="58" y="310"/>
                    </a:lnTo>
                    <a:lnTo>
                      <a:pt x="42" y="313"/>
                    </a:lnTo>
                    <a:lnTo>
                      <a:pt x="51" y="312"/>
                    </a:lnTo>
                    <a:lnTo>
                      <a:pt x="51" y="310"/>
                    </a:lnTo>
                    <a:lnTo>
                      <a:pt x="49" y="308"/>
                    </a:lnTo>
                    <a:lnTo>
                      <a:pt x="51" y="307"/>
                    </a:lnTo>
                    <a:lnTo>
                      <a:pt x="49" y="305"/>
                    </a:lnTo>
                    <a:lnTo>
                      <a:pt x="49" y="303"/>
                    </a:lnTo>
                    <a:lnTo>
                      <a:pt x="49" y="301"/>
                    </a:lnTo>
                    <a:lnTo>
                      <a:pt x="46" y="300"/>
                    </a:lnTo>
                    <a:lnTo>
                      <a:pt x="46" y="298"/>
                    </a:lnTo>
                    <a:lnTo>
                      <a:pt x="44" y="298"/>
                    </a:lnTo>
                    <a:lnTo>
                      <a:pt x="44" y="296"/>
                    </a:lnTo>
                    <a:lnTo>
                      <a:pt x="41" y="295"/>
                    </a:lnTo>
                    <a:lnTo>
                      <a:pt x="41" y="293"/>
                    </a:lnTo>
                    <a:lnTo>
                      <a:pt x="42" y="293"/>
                    </a:lnTo>
                    <a:lnTo>
                      <a:pt x="39" y="291"/>
                    </a:lnTo>
                    <a:lnTo>
                      <a:pt x="41" y="289"/>
                    </a:lnTo>
                    <a:lnTo>
                      <a:pt x="41" y="288"/>
                    </a:lnTo>
                    <a:lnTo>
                      <a:pt x="42" y="288"/>
                    </a:lnTo>
                    <a:lnTo>
                      <a:pt x="42" y="286"/>
                    </a:lnTo>
                    <a:lnTo>
                      <a:pt x="41" y="286"/>
                    </a:lnTo>
                    <a:lnTo>
                      <a:pt x="41" y="284"/>
                    </a:lnTo>
                    <a:lnTo>
                      <a:pt x="41" y="283"/>
                    </a:lnTo>
                    <a:lnTo>
                      <a:pt x="41" y="279"/>
                    </a:lnTo>
                    <a:lnTo>
                      <a:pt x="39" y="274"/>
                    </a:lnTo>
                    <a:lnTo>
                      <a:pt x="42" y="276"/>
                    </a:lnTo>
                    <a:lnTo>
                      <a:pt x="42" y="254"/>
                    </a:lnTo>
                    <a:lnTo>
                      <a:pt x="42" y="250"/>
                    </a:lnTo>
                    <a:lnTo>
                      <a:pt x="44" y="250"/>
                    </a:lnTo>
                    <a:lnTo>
                      <a:pt x="44" y="247"/>
                    </a:lnTo>
                    <a:lnTo>
                      <a:pt x="44" y="244"/>
                    </a:lnTo>
                    <a:lnTo>
                      <a:pt x="42" y="240"/>
                    </a:lnTo>
                    <a:lnTo>
                      <a:pt x="42" y="233"/>
                    </a:lnTo>
                    <a:lnTo>
                      <a:pt x="42" y="215"/>
                    </a:lnTo>
                    <a:lnTo>
                      <a:pt x="42" y="206"/>
                    </a:lnTo>
                    <a:lnTo>
                      <a:pt x="42" y="201"/>
                    </a:lnTo>
                    <a:lnTo>
                      <a:pt x="44" y="199"/>
                    </a:lnTo>
                    <a:lnTo>
                      <a:pt x="42" y="198"/>
                    </a:lnTo>
                    <a:lnTo>
                      <a:pt x="42" y="194"/>
                    </a:lnTo>
                    <a:lnTo>
                      <a:pt x="42" y="172"/>
                    </a:lnTo>
                    <a:lnTo>
                      <a:pt x="42" y="169"/>
                    </a:lnTo>
                    <a:lnTo>
                      <a:pt x="39" y="165"/>
                    </a:lnTo>
                    <a:lnTo>
                      <a:pt x="34" y="160"/>
                    </a:lnTo>
                    <a:lnTo>
                      <a:pt x="32" y="157"/>
                    </a:lnTo>
                    <a:lnTo>
                      <a:pt x="31" y="148"/>
                    </a:lnTo>
                    <a:lnTo>
                      <a:pt x="29" y="148"/>
                    </a:lnTo>
                    <a:lnTo>
                      <a:pt x="27" y="147"/>
                    </a:lnTo>
                    <a:lnTo>
                      <a:pt x="29" y="140"/>
                    </a:lnTo>
                    <a:lnTo>
                      <a:pt x="29" y="123"/>
                    </a:lnTo>
                    <a:lnTo>
                      <a:pt x="10" y="113"/>
                    </a:lnTo>
                    <a:lnTo>
                      <a:pt x="0" y="102"/>
                    </a:lnTo>
                    <a:lnTo>
                      <a:pt x="0" y="97"/>
                    </a:lnTo>
                    <a:lnTo>
                      <a:pt x="0" y="94"/>
                    </a:lnTo>
                    <a:lnTo>
                      <a:pt x="0" y="85"/>
                    </a:lnTo>
                    <a:lnTo>
                      <a:pt x="5" y="82"/>
                    </a:lnTo>
                    <a:lnTo>
                      <a:pt x="7" y="72"/>
                    </a:lnTo>
                    <a:lnTo>
                      <a:pt x="8" y="70"/>
                    </a:lnTo>
                    <a:lnTo>
                      <a:pt x="10" y="67"/>
                    </a:lnTo>
                    <a:lnTo>
                      <a:pt x="12" y="68"/>
                    </a:lnTo>
                    <a:lnTo>
                      <a:pt x="12" y="70"/>
                    </a:lnTo>
                    <a:lnTo>
                      <a:pt x="14" y="68"/>
                    </a:lnTo>
                    <a:lnTo>
                      <a:pt x="17" y="70"/>
                    </a:lnTo>
                    <a:lnTo>
                      <a:pt x="15" y="68"/>
                    </a:lnTo>
                    <a:lnTo>
                      <a:pt x="15" y="67"/>
                    </a:lnTo>
                    <a:lnTo>
                      <a:pt x="14" y="65"/>
                    </a:lnTo>
                    <a:lnTo>
                      <a:pt x="15" y="65"/>
                    </a:lnTo>
                    <a:lnTo>
                      <a:pt x="17" y="63"/>
                    </a:lnTo>
                    <a:lnTo>
                      <a:pt x="19" y="63"/>
                    </a:lnTo>
                    <a:lnTo>
                      <a:pt x="19" y="60"/>
                    </a:lnTo>
                    <a:lnTo>
                      <a:pt x="17" y="60"/>
                    </a:lnTo>
                    <a:lnTo>
                      <a:pt x="17" y="58"/>
                    </a:lnTo>
                    <a:lnTo>
                      <a:pt x="19" y="58"/>
                    </a:lnTo>
                    <a:lnTo>
                      <a:pt x="22" y="58"/>
                    </a:lnTo>
                    <a:lnTo>
                      <a:pt x="24" y="60"/>
                    </a:lnTo>
                    <a:lnTo>
                      <a:pt x="25" y="58"/>
                    </a:lnTo>
                    <a:lnTo>
                      <a:pt x="24" y="56"/>
                    </a:lnTo>
                    <a:lnTo>
                      <a:pt x="24" y="55"/>
                    </a:lnTo>
                    <a:lnTo>
                      <a:pt x="25" y="56"/>
                    </a:lnTo>
                    <a:lnTo>
                      <a:pt x="27" y="56"/>
                    </a:lnTo>
                    <a:lnTo>
                      <a:pt x="27" y="58"/>
                    </a:lnTo>
                    <a:lnTo>
                      <a:pt x="27" y="56"/>
                    </a:lnTo>
                    <a:lnTo>
                      <a:pt x="29" y="56"/>
                    </a:lnTo>
                    <a:lnTo>
                      <a:pt x="27" y="53"/>
                    </a:lnTo>
                    <a:lnTo>
                      <a:pt x="29" y="53"/>
                    </a:lnTo>
                    <a:lnTo>
                      <a:pt x="29" y="51"/>
                    </a:lnTo>
                    <a:lnTo>
                      <a:pt x="31" y="53"/>
                    </a:lnTo>
                    <a:lnTo>
                      <a:pt x="31" y="51"/>
                    </a:lnTo>
                    <a:lnTo>
                      <a:pt x="31" y="50"/>
                    </a:lnTo>
                    <a:lnTo>
                      <a:pt x="32" y="50"/>
                    </a:lnTo>
                    <a:lnTo>
                      <a:pt x="32" y="48"/>
                    </a:lnTo>
                    <a:lnTo>
                      <a:pt x="34" y="48"/>
                    </a:lnTo>
                    <a:lnTo>
                      <a:pt x="36" y="50"/>
                    </a:lnTo>
                    <a:lnTo>
                      <a:pt x="36" y="48"/>
                    </a:lnTo>
                    <a:lnTo>
                      <a:pt x="36" y="50"/>
                    </a:lnTo>
                    <a:lnTo>
                      <a:pt x="37" y="50"/>
                    </a:lnTo>
                    <a:lnTo>
                      <a:pt x="39" y="48"/>
                    </a:lnTo>
                    <a:lnTo>
                      <a:pt x="41" y="50"/>
                    </a:lnTo>
                    <a:lnTo>
                      <a:pt x="41" y="51"/>
                    </a:lnTo>
                    <a:lnTo>
                      <a:pt x="42" y="53"/>
                    </a:lnTo>
                    <a:lnTo>
                      <a:pt x="42" y="51"/>
                    </a:lnTo>
                    <a:lnTo>
                      <a:pt x="44" y="51"/>
                    </a:lnTo>
                    <a:lnTo>
                      <a:pt x="46" y="51"/>
                    </a:lnTo>
                    <a:lnTo>
                      <a:pt x="46" y="50"/>
                    </a:lnTo>
                    <a:lnTo>
                      <a:pt x="49" y="51"/>
                    </a:lnTo>
                    <a:lnTo>
                      <a:pt x="51" y="50"/>
                    </a:lnTo>
                    <a:lnTo>
                      <a:pt x="54" y="50"/>
                    </a:lnTo>
                    <a:lnTo>
                      <a:pt x="56" y="50"/>
                    </a:lnTo>
                    <a:lnTo>
                      <a:pt x="63" y="50"/>
                    </a:lnTo>
                    <a:lnTo>
                      <a:pt x="71" y="41"/>
                    </a:lnTo>
                    <a:lnTo>
                      <a:pt x="76" y="38"/>
                    </a:lnTo>
                    <a:lnTo>
                      <a:pt x="76" y="36"/>
                    </a:lnTo>
                    <a:lnTo>
                      <a:pt x="78" y="33"/>
                    </a:lnTo>
                    <a:lnTo>
                      <a:pt x="80" y="33"/>
                    </a:lnTo>
                    <a:lnTo>
                      <a:pt x="80" y="31"/>
                    </a:lnTo>
                    <a:lnTo>
                      <a:pt x="80" y="29"/>
                    </a:lnTo>
                    <a:lnTo>
                      <a:pt x="82" y="28"/>
                    </a:lnTo>
                    <a:lnTo>
                      <a:pt x="82" y="26"/>
                    </a:lnTo>
                    <a:lnTo>
                      <a:pt x="82" y="24"/>
                    </a:lnTo>
                    <a:lnTo>
                      <a:pt x="83" y="24"/>
                    </a:lnTo>
                    <a:lnTo>
                      <a:pt x="83" y="22"/>
                    </a:lnTo>
                    <a:lnTo>
                      <a:pt x="85" y="22"/>
                    </a:lnTo>
                    <a:lnTo>
                      <a:pt x="82" y="16"/>
                    </a:lnTo>
                    <a:lnTo>
                      <a:pt x="82" y="14"/>
                    </a:lnTo>
                    <a:lnTo>
                      <a:pt x="80" y="12"/>
                    </a:lnTo>
                    <a:lnTo>
                      <a:pt x="82" y="12"/>
                    </a:lnTo>
                    <a:lnTo>
                      <a:pt x="80" y="11"/>
                    </a:lnTo>
                    <a:lnTo>
                      <a:pt x="82" y="11"/>
                    </a:lnTo>
                    <a:lnTo>
                      <a:pt x="80" y="9"/>
                    </a:lnTo>
                    <a:lnTo>
                      <a:pt x="83" y="9"/>
                    </a:lnTo>
                    <a:lnTo>
                      <a:pt x="85" y="9"/>
                    </a:lnTo>
                    <a:lnTo>
                      <a:pt x="85" y="7"/>
                    </a:lnTo>
                    <a:lnTo>
                      <a:pt x="87" y="9"/>
                    </a:lnTo>
                    <a:lnTo>
                      <a:pt x="88" y="7"/>
                    </a:lnTo>
                    <a:lnTo>
                      <a:pt x="90" y="7"/>
                    </a:lnTo>
                    <a:lnTo>
                      <a:pt x="92" y="5"/>
                    </a:lnTo>
                    <a:lnTo>
                      <a:pt x="95" y="5"/>
                    </a:lnTo>
                    <a:lnTo>
                      <a:pt x="95" y="7"/>
                    </a:lnTo>
                    <a:lnTo>
                      <a:pt x="99" y="4"/>
                    </a:lnTo>
                    <a:lnTo>
                      <a:pt x="100" y="4"/>
                    </a:lnTo>
                    <a:lnTo>
                      <a:pt x="100" y="2"/>
                    </a:lnTo>
                    <a:lnTo>
                      <a:pt x="104" y="2"/>
                    </a:lnTo>
                    <a:lnTo>
                      <a:pt x="104" y="0"/>
                    </a:lnTo>
                    <a:lnTo>
                      <a:pt x="105" y="2"/>
                    </a:lnTo>
                    <a:lnTo>
                      <a:pt x="110" y="7"/>
                    </a:lnTo>
                    <a:lnTo>
                      <a:pt x="112" y="7"/>
                    </a:lnTo>
                    <a:lnTo>
                      <a:pt x="116" y="12"/>
                    </a:lnTo>
                    <a:lnTo>
                      <a:pt x="119" y="14"/>
                    </a:lnTo>
                    <a:lnTo>
                      <a:pt x="126" y="21"/>
                    </a:lnTo>
                    <a:lnTo>
                      <a:pt x="124" y="22"/>
                    </a:lnTo>
                    <a:lnTo>
                      <a:pt x="127" y="28"/>
                    </a:lnTo>
                    <a:lnTo>
                      <a:pt x="134" y="28"/>
                    </a:lnTo>
                    <a:lnTo>
                      <a:pt x="136" y="29"/>
                    </a:lnTo>
                    <a:lnTo>
                      <a:pt x="138" y="31"/>
                    </a:lnTo>
                    <a:lnTo>
                      <a:pt x="139" y="33"/>
                    </a:lnTo>
                    <a:lnTo>
                      <a:pt x="141" y="33"/>
                    </a:lnTo>
                    <a:lnTo>
                      <a:pt x="139" y="36"/>
                    </a:lnTo>
                    <a:lnTo>
                      <a:pt x="143" y="36"/>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16" name="Freeform 13">
                <a:extLst>
                  <a:ext uri="{FF2B5EF4-FFF2-40B4-BE49-F238E27FC236}">
                    <a16:creationId xmlns:a16="http://schemas.microsoft.com/office/drawing/2014/main" id="{5D1DE9ED-6459-41DF-8F74-CB6637B9A4A1}"/>
                  </a:ext>
                </a:extLst>
              </p:cNvPr>
              <p:cNvSpPr>
                <a:spLocks/>
              </p:cNvSpPr>
              <p:nvPr/>
            </p:nvSpPr>
            <p:spPr bwMode="gray">
              <a:xfrm>
                <a:off x="6183313" y="4884738"/>
                <a:ext cx="754062" cy="731838"/>
              </a:xfrm>
              <a:custGeom>
                <a:avLst/>
                <a:gdLst>
                  <a:gd name="T0" fmla="*/ 284 w 475"/>
                  <a:gd name="T1" fmla="*/ 34 h 461"/>
                  <a:gd name="T2" fmla="*/ 303 w 475"/>
                  <a:gd name="T3" fmla="*/ 60 h 461"/>
                  <a:gd name="T4" fmla="*/ 323 w 475"/>
                  <a:gd name="T5" fmla="*/ 92 h 461"/>
                  <a:gd name="T6" fmla="*/ 345 w 475"/>
                  <a:gd name="T7" fmla="*/ 111 h 461"/>
                  <a:gd name="T8" fmla="*/ 369 w 475"/>
                  <a:gd name="T9" fmla="*/ 138 h 461"/>
                  <a:gd name="T10" fmla="*/ 391 w 475"/>
                  <a:gd name="T11" fmla="*/ 140 h 461"/>
                  <a:gd name="T12" fmla="*/ 391 w 475"/>
                  <a:gd name="T13" fmla="*/ 160 h 461"/>
                  <a:gd name="T14" fmla="*/ 403 w 475"/>
                  <a:gd name="T15" fmla="*/ 184 h 461"/>
                  <a:gd name="T16" fmla="*/ 420 w 475"/>
                  <a:gd name="T17" fmla="*/ 192 h 461"/>
                  <a:gd name="T18" fmla="*/ 458 w 475"/>
                  <a:gd name="T19" fmla="*/ 206 h 461"/>
                  <a:gd name="T20" fmla="*/ 475 w 475"/>
                  <a:gd name="T21" fmla="*/ 223 h 461"/>
                  <a:gd name="T22" fmla="*/ 449 w 475"/>
                  <a:gd name="T23" fmla="*/ 237 h 461"/>
                  <a:gd name="T24" fmla="*/ 422 w 475"/>
                  <a:gd name="T25" fmla="*/ 244 h 461"/>
                  <a:gd name="T26" fmla="*/ 403 w 475"/>
                  <a:gd name="T27" fmla="*/ 262 h 461"/>
                  <a:gd name="T28" fmla="*/ 390 w 475"/>
                  <a:gd name="T29" fmla="*/ 274 h 461"/>
                  <a:gd name="T30" fmla="*/ 374 w 475"/>
                  <a:gd name="T31" fmla="*/ 284 h 461"/>
                  <a:gd name="T32" fmla="*/ 366 w 475"/>
                  <a:gd name="T33" fmla="*/ 291 h 461"/>
                  <a:gd name="T34" fmla="*/ 357 w 475"/>
                  <a:gd name="T35" fmla="*/ 298 h 461"/>
                  <a:gd name="T36" fmla="*/ 352 w 475"/>
                  <a:gd name="T37" fmla="*/ 313 h 461"/>
                  <a:gd name="T38" fmla="*/ 339 w 475"/>
                  <a:gd name="T39" fmla="*/ 332 h 461"/>
                  <a:gd name="T40" fmla="*/ 296 w 475"/>
                  <a:gd name="T41" fmla="*/ 352 h 461"/>
                  <a:gd name="T42" fmla="*/ 282 w 475"/>
                  <a:gd name="T43" fmla="*/ 398 h 461"/>
                  <a:gd name="T44" fmla="*/ 248 w 475"/>
                  <a:gd name="T45" fmla="*/ 407 h 461"/>
                  <a:gd name="T46" fmla="*/ 220 w 475"/>
                  <a:gd name="T47" fmla="*/ 402 h 461"/>
                  <a:gd name="T48" fmla="*/ 206 w 475"/>
                  <a:gd name="T49" fmla="*/ 397 h 461"/>
                  <a:gd name="T50" fmla="*/ 194 w 475"/>
                  <a:gd name="T51" fmla="*/ 393 h 461"/>
                  <a:gd name="T52" fmla="*/ 184 w 475"/>
                  <a:gd name="T53" fmla="*/ 385 h 461"/>
                  <a:gd name="T54" fmla="*/ 174 w 475"/>
                  <a:gd name="T55" fmla="*/ 381 h 461"/>
                  <a:gd name="T56" fmla="*/ 155 w 475"/>
                  <a:gd name="T57" fmla="*/ 381 h 461"/>
                  <a:gd name="T58" fmla="*/ 148 w 475"/>
                  <a:gd name="T59" fmla="*/ 390 h 461"/>
                  <a:gd name="T60" fmla="*/ 143 w 475"/>
                  <a:gd name="T61" fmla="*/ 400 h 461"/>
                  <a:gd name="T62" fmla="*/ 138 w 475"/>
                  <a:gd name="T63" fmla="*/ 414 h 461"/>
                  <a:gd name="T64" fmla="*/ 131 w 475"/>
                  <a:gd name="T65" fmla="*/ 426 h 461"/>
                  <a:gd name="T66" fmla="*/ 118 w 475"/>
                  <a:gd name="T67" fmla="*/ 432 h 461"/>
                  <a:gd name="T68" fmla="*/ 104 w 475"/>
                  <a:gd name="T69" fmla="*/ 448 h 461"/>
                  <a:gd name="T70" fmla="*/ 78 w 475"/>
                  <a:gd name="T71" fmla="*/ 460 h 461"/>
                  <a:gd name="T72" fmla="*/ 50 w 475"/>
                  <a:gd name="T73" fmla="*/ 456 h 461"/>
                  <a:gd name="T74" fmla="*/ 36 w 475"/>
                  <a:gd name="T75" fmla="*/ 458 h 461"/>
                  <a:gd name="T76" fmla="*/ 31 w 475"/>
                  <a:gd name="T77" fmla="*/ 443 h 461"/>
                  <a:gd name="T78" fmla="*/ 43 w 475"/>
                  <a:gd name="T79" fmla="*/ 419 h 461"/>
                  <a:gd name="T80" fmla="*/ 38 w 475"/>
                  <a:gd name="T81" fmla="*/ 405 h 461"/>
                  <a:gd name="T82" fmla="*/ 33 w 475"/>
                  <a:gd name="T83" fmla="*/ 390 h 461"/>
                  <a:gd name="T84" fmla="*/ 27 w 475"/>
                  <a:gd name="T85" fmla="*/ 381 h 461"/>
                  <a:gd name="T86" fmla="*/ 21 w 475"/>
                  <a:gd name="T87" fmla="*/ 369 h 461"/>
                  <a:gd name="T88" fmla="*/ 5 w 475"/>
                  <a:gd name="T89" fmla="*/ 358 h 461"/>
                  <a:gd name="T90" fmla="*/ 0 w 475"/>
                  <a:gd name="T91" fmla="*/ 279 h 461"/>
                  <a:gd name="T92" fmla="*/ 51 w 475"/>
                  <a:gd name="T93" fmla="*/ 213 h 461"/>
                  <a:gd name="T94" fmla="*/ 51 w 475"/>
                  <a:gd name="T95" fmla="*/ 73 h 461"/>
                  <a:gd name="T96" fmla="*/ 140 w 475"/>
                  <a:gd name="T97" fmla="*/ 14 h 461"/>
                  <a:gd name="T98" fmla="*/ 174 w 475"/>
                  <a:gd name="T99" fmla="*/ 19 h 461"/>
                  <a:gd name="T100" fmla="*/ 180 w 475"/>
                  <a:gd name="T101" fmla="*/ 34 h 461"/>
                  <a:gd name="T102" fmla="*/ 199 w 475"/>
                  <a:gd name="T103" fmla="*/ 24 h 461"/>
                  <a:gd name="T104" fmla="*/ 211 w 475"/>
                  <a:gd name="T105" fmla="*/ 14 h 461"/>
                  <a:gd name="T106" fmla="*/ 228 w 475"/>
                  <a:gd name="T107" fmla="*/ 10 h 461"/>
                  <a:gd name="T108" fmla="*/ 238 w 475"/>
                  <a:gd name="T109" fmla="*/ 7 h 461"/>
                  <a:gd name="T110" fmla="*/ 252 w 475"/>
                  <a:gd name="T111" fmla="*/ 0 h 461"/>
                  <a:gd name="T112" fmla="*/ 267 w 475"/>
                  <a:gd name="T113"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5" h="461">
                    <a:moveTo>
                      <a:pt x="267" y="0"/>
                    </a:moveTo>
                    <a:lnTo>
                      <a:pt x="265" y="5"/>
                    </a:lnTo>
                    <a:lnTo>
                      <a:pt x="267" y="9"/>
                    </a:lnTo>
                    <a:lnTo>
                      <a:pt x="269" y="12"/>
                    </a:lnTo>
                    <a:lnTo>
                      <a:pt x="271" y="14"/>
                    </a:lnTo>
                    <a:lnTo>
                      <a:pt x="272" y="16"/>
                    </a:lnTo>
                    <a:lnTo>
                      <a:pt x="276" y="19"/>
                    </a:lnTo>
                    <a:lnTo>
                      <a:pt x="281" y="31"/>
                    </a:lnTo>
                    <a:lnTo>
                      <a:pt x="284" y="34"/>
                    </a:lnTo>
                    <a:lnTo>
                      <a:pt x="286" y="36"/>
                    </a:lnTo>
                    <a:lnTo>
                      <a:pt x="289" y="39"/>
                    </a:lnTo>
                    <a:lnTo>
                      <a:pt x="293" y="43"/>
                    </a:lnTo>
                    <a:lnTo>
                      <a:pt x="294" y="46"/>
                    </a:lnTo>
                    <a:lnTo>
                      <a:pt x="294" y="48"/>
                    </a:lnTo>
                    <a:lnTo>
                      <a:pt x="294" y="50"/>
                    </a:lnTo>
                    <a:lnTo>
                      <a:pt x="296" y="53"/>
                    </a:lnTo>
                    <a:lnTo>
                      <a:pt x="301" y="56"/>
                    </a:lnTo>
                    <a:lnTo>
                      <a:pt x="303" y="60"/>
                    </a:lnTo>
                    <a:lnTo>
                      <a:pt x="305" y="63"/>
                    </a:lnTo>
                    <a:lnTo>
                      <a:pt x="303" y="65"/>
                    </a:lnTo>
                    <a:lnTo>
                      <a:pt x="303" y="67"/>
                    </a:lnTo>
                    <a:lnTo>
                      <a:pt x="308" y="75"/>
                    </a:lnTo>
                    <a:lnTo>
                      <a:pt x="311" y="84"/>
                    </a:lnTo>
                    <a:lnTo>
                      <a:pt x="313" y="89"/>
                    </a:lnTo>
                    <a:lnTo>
                      <a:pt x="316" y="90"/>
                    </a:lnTo>
                    <a:lnTo>
                      <a:pt x="320" y="90"/>
                    </a:lnTo>
                    <a:lnTo>
                      <a:pt x="323" y="92"/>
                    </a:lnTo>
                    <a:lnTo>
                      <a:pt x="322" y="96"/>
                    </a:lnTo>
                    <a:lnTo>
                      <a:pt x="325" y="96"/>
                    </a:lnTo>
                    <a:lnTo>
                      <a:pt x="327" y="99"/>
                    </a:lnTo>
                    <a:lnTo>
                      <a:pt x="333" y="101"/>
                    </a:lnTo>
                    <a:lnTo>
                      <a:pt x="335" y="106"/>
                    </a:lnTo>
                    <a:lnTo>
                      <a:pt x="340" y="106"/>
                    </a:lnTo>
                    <a:lnTo>
                      <a:pt x="342" y="109"/>
                    </a:lnTo>
                    <a:lnTo>
                      <a:pt x="344" y="109"/>
                    </a:lnTo>
                    <a:lnTo>
                      <a:pt x="345" y="111"/>
                    </a:lnTo>
                    <a:lnTo>
                      <a:pt x="350" y="111"/>
                    </a:lnTo>
                    <a:lnTo>
                      <a:pt x="352" y="113"/>
                    </a:lnTo>
                    <a:lnTo>
                      <a:pt x="357" y="113"/>
                    </a:lnTo>
                    <a:lnTo>
                      <a:pt x="359" y="114"/>
                    </a:lnTo>
                    <a:lnTo>
                      <a:pt x="361" y="116"/>
                    </a:lnTo>
                    <a:lnTo>
                      <a:pt x="366" y="116"/>
                    </a:lnTo>
                    <a:lnTo>
                      <a:pt x="367" y="118"/>
                    </a:lnTo>
                    <a:lnTo>
                      <a:pt x="371" y="128"/>
                    </a:lnTo>
                    <a:lnTo>
                      <a:pt x="369" y="138"/>
                    </a:lnTo>
                    <a:lnTo>
                      <a:pt x="374" y="136"/>
                    </a:lnTo>
                    <a:lnTo>
                      <a:pt x="378" y="136"/>
                    </a:lnTo>
                    <a:lnTo>
                      <a:pt x="379" y="136"/>
                    </a:lnTo>
                    <a:lnTo>
                      <a:pt x="384" y="136"/>
                    </a:lnTo>
                    <a:lnTo>
                      <a:pt x="386" y="136"/>
                    </a:lnTo>
                    <a:lnTo>
                      <a:pt x="388" y="138"/>
                    </a:lnTo>
                    <a:lnTo>
                      <a:pt x="390" y="136"/>
                    </a:lnTo>
                    <a:lnTo>
                      <a:pt x="391" y="138"/>
                    </a:lnTo>
                    <a:lnTo>
                      <a:pt x="391" y="140"/>
                    </a:lnTo>
                    <a:lnTo>
                      <a:pt x="391" y="143"/>
                    </a:lnTo>
                    <a:lnTo>
                      <a:pt x="391" y="145"/>
                    </a:lnTo>
                    <a:lnTo>
                      <a:pt x="393" y="148"/>
                    </a:lnTo>
                    <a:lnTo>
                      <a:pt x="393" y="150"/>
                    </a:lnTo>
                    <a:lnTo>
                      <a:pt x="391" y="155"/>
                    </a:lnTo>
                    <a:lnTo>
                      <a:pt x="390" y="155"/>
                    </a:lnTo>
                    <a:lnTo>
                      <a:pt x="391" y="158"/>
                    </a:lnTo>
                    <a:lnTo>
                      <a:pt x="390" y="160"/>
                    </a:lnTo>
                    <a:lnTo>
                      <a:pt x="391" y="160"/>
                    </a:lnTo>
                    <a:lnTo>
                      <a:pt x="390" y="164"/>
                    </a:lnTo>
                    <a:lnTo>
                      <a:pt x="391" y="165"/>
                    </a:lnTo>
                    <a:lnTo>
                      <a:pt x="390" y="165"/>
                    </a:lnTo>
                    <a:lnTo>
                      <a:pt x="390" y="167"/>
                    </a:lnTo>
                    <a:lnTo>
                      <a:pt x="393" y="170"/>
                    </a:lnTo>
                    <a:lnTo>
                      <a:pt x="396" y="172"/>
                    </a:lnTo>
                    <a:lnTo>
                      <a:pt x="401" y="179"/>
                    </a:lnTo>
                    <a:lnTo>
                      <a:pt x="401" y="181"/>
                    </a:lnTo>
                    <a:lnTo>
                      <a:pt x="403" y="184"/>
                    </a:lnTo>
                    <a:lnTo>
                      <a:pt x="405" y="186"/>
                    </a:lnTo>
                    <a:lnTo>
                      <a:pt x="403" y="187"/>
                    </a:lnTo>
                    <a:lnTo>
                      <a:pt x="405" y="187"/>
                    </a:lnTo>
                    <a:lnTo>
                      <a:pt x="405" y="189"/>
                    </a:lnTo>
                    <a:lnTo>
                      <a:pt x="407" y="189"/>
                    </a:lnTo>
                    <a:lnTo>
                      <a:pt x="405" y="189"/>
                    </a:lnTo>
                    <a:lnTo>
                      <a:pt x="407" y="192"/>
                    </a:lnTo>
                    <a:lnTo>
                      <a:pt x="415" y="192"/>
                    </a:lnTo>
                    <a:lnTo>
                      <a:pt x="420" y="192"/>
                    </a:lnTo>
                    <a:lnTo>
                      <a:pt x="424" y="192"/>
                    </a:lnTo>
                    <a:lnTo>
                      <a:pt x="432" y="196"/>
                    </a:lnTo>
                    <a:lnTo>
                      <a:pt x="435" y="194"/>
                    </a:lnTo>
                    <a:lnTo>
                      <a:pt x="449" y="201"/>
                    </a:lnTo>
                    <a:lnTo>
                      <a:pt x="454" y="203"/>
                    </a:lnTo>
                    <a:lnTo>
                      <a:pt x="456" y="201"/>
                    </a:lnTo>
                    <a:lnTo>
                      <a:pt x="458" y="203"/>
                    </a:lnTo>
                    <a:lnTo>
                      <a:pt x="459" y="204"/>
                    </a:lnTo>
                    <a:lnTo>
                      <a:pt x="458" y="206"/>
                    </a:lnTo>
                    <a:lnTo>
                      <a:pt x="458" y="210"/>
                    </a:lnTo>
                    <a:lnTo>
                      <a:pt x="458" y="211"/>
                    </a:lnTo>
                    <a:lnTo>
                      <a:pt x="459" y="215"/>
                    </a:lnTo>
                    <a:lnTo>
                      <a:pt x="463" y="216"/>
                    </a:lnTo>
                    <a:lnTo>
                      <a:pt x="464" y="216"/>
                    </a:lnTo>
                    <a:lnTo>
                      <a:pt x="469" y="216"/>
                    </a:lnTo>
                    <a:lnTo>
                      <a:pt x="469" y="218"/>
                    </a:lnTo>
                    <a:lnTo>
                      <a:pt x="471" y="220"/>
                    </a:lnTo>
                    <a:lnTo>
                      <a:pt x="475" y="223"/>
                    </a:lnTo>
                    <a:lnTo>
                      <a:pt x="473" y="223"/>
                    </a:lnTo>
                    <a:lnTo>
                      <a:pt x="469" y="223"/>
                    </a:lnTo>
                    <a:lnTo>
                      <a:pt x="468" y="223"/>
                    </a:lnTo>
                    <a:lnTo>
                      <a:pt x="464" y="225"/>
                    </a:lnTo>
                    <a:lnTo>
                      <a:pt x="458" y="225"/>
                    </a:lnTo>
                    <a:lnTo>
                      <a:pt x="454" y="228"/>
                    </a:lnTo>
                    <a:lnTo>
                      <a:pt x="454" y="233"/>
                    </a:lnTo>
                    <a:lnTo>
                      <a:pt x="452" y="237"/>
                    </a:lnTo>
                    <a:lnTo>
                      <a:pt x="449" y="237"/>
                    </a:lnTo>
                    <a:lnTo>
                      <a:pt x="447" y="237"/>
                    </a:lnTo>
                    <a:lnTo>
                      <a:pt x="447" y="238"/>
                    </a:lnTo>
                    <a:lnTo>
                      <a:pt x="444" y="238"/>
                    </a:lnTo>
                    <a:lnTo>
                      <a:pt x="439" y="242"/>
                    </a:lnTo>
                    <a:lnTo>
                      <a:pt x="434" y="242"/>
                    </a:lnTo>
                    <a:lnTo>
                      <a:pt x="432" y="244"/>
                    </a:lnTo>
                    <a:lnTo>
                      <a:pt x="430" y="242"/>
                    </a:lnTo>
                    <a:lnTo>
                      <a:pt x="424" y="242"/>
                    </a:lnTo>
                    <a:lnTo>
                      <a:pt x="422" y="244"/>
                    </a:lnTo>
                    <a:lnTo>
                      <a:pt x="420" y="245"/>
                    </a:lnTo>
                    <a:lnTo>
                      <a:pt x="418" y="247"/>
                    </a:lnTo>
                    <a:lnTo>
                      <a:pt x="417" y="247"/>
                    </a:lnTo>
                    <a:lnTo>
                      <a:pt x="415" y="249"/>
                    </a:lnTo>
                    <a:lnTo>
                      <a:pt x="413" y="252"/>
                    </a:lnTo>
                    <a:lnTo>
                      <a:pt x="410" y="255"/>
                    </a:lnTo>
                    <a:lnTo>
                      <a:pt x="408" y="255"/>
                    </a:lnTo>
                    <a:lnTo>
                      <a:pt x="408" y="259"/>
                    </a:lnTo>
                    <a:lnTo>
                      <a:pt x="403" y="262"/>
                    </a:lnTo>
                    <a:lnTo>
                      <a:pt x="403" y="267"/>
                    </a:lnTo>
                    <a:lnTo>
                      <a:pt x="400" y="269"/>
                    </a:lnTo>
                    <a:lnTo>
                      <a:pt x="396" y="269"/>
                    </a:lnTo>
                    <a:lnTo>
                      <a:pt x="396" y="271"/>
                    </a:lnTo>
                    <a:lnTo>
                      <a:pt x="395" y="271"/>
                    </a:lnTo>
                    <a:lnTo>
                      <a:pt x="395" y="272"/>
                    </a:lnTo>
                    <a:lnTo>
                      <a:pt x="393" y="276"/>
                    </a:lnTo>
                    <a:lnTo>
                      <a:pt x="391" y="276"/>
                    </a:lnTo>
                    <a:lnTo>
                      <a:pt x="390" y="274"/>
                    </a:lnTo>
                    <a:lnTo>
                      <a:pt x="388" y="276"/>
                    </a:lnTo>
                    <a:lnTo>
                      <a:pt x="386" y="276"/>
                    </a:lnTo>
                    <a:lnTo>
                      <a:pt x="384" y="278"/>
                    </a:lnTo>
                    <a:lnTo>
                      <a:pt x="384" y="281"/>
                    </a:lnTo>
                    <a:lnTo>
                      <a:pt x="381" y="284"/>
                    </a:lnTo>
                    <a:lnTo>
                      <a:pt x="378" y="284"/>
                    </a:lnTo>
                    <a:lnTo>
                      <a:pt x="376" y="286"/>
                    </a:lnTo>
                    <a:lnTo>
                      <a:pt x="376" y="284"/>
                    </a:lnTo>
                    <a:lnTo>
                      <a:pt x="374" y="284"/>
                    </a:lnTo>
                    <a:lnTo>
                      <a:pt x="374" y="286"/>
                    </a:lnTo>
                    <a:lnTo>
                      <a:pt x="373" y="286"/>
                    </a:lnTo>
                    <a:lnTo>
                      <a:pt x="373" y="284"/>
                    </a:lnTo>
                    <a:lnTo>
                      <a:pt x="371" y="288"/>
                    </a:lnTo>
                    <a:lnTo>
                      <a:pt x="367" y="288"/>
                    </a:lnTo>
                    <a:lnTo>
                      <a:pt x="367" y="289"/>
                    </a:lnTo>
                    <a:lnTo>
                      <a:pt x="366" y="289"/>
                    </a:lnTo>
                    <a:lnTo>
                      <a:pt x="364" y="289"/>
                    </a:lnTo>
                    <a:lnTo>
                      <a:pt x="366" y="291"/>
                    </a:lnTo>
                    <a:lnTo>
                      <a:pt x="364" y="291"/>
                    </a:lnTo>
                    <a:lnTo>
                      <a:pt x="362" y="291"/>
                    </a:lnTo>
                    <a:lnTo>
                      <a:pt x="362" y="293"/>
                    </a:lnTo>
                    <a:lnTo>
                      <a:pt x="361" y="293"/>
                    </a:lnTo>
                    <a:lnTo>
                      <a:pt x="361" y="295"/>
                    </a:lnTo>
                    <a:lnTo>
                      <a:pt x="357" y="295"/>
                    </a:lnTo>
                    <a:lnTo>
                      <a:pt x="359" y="296"/>
                    </a:lnTo>
                    <a:lnTo>
                      <a:pt x="359" y="298"/>
                    </a:lnTo>
                    <a:lnTo>
                      <a:pt x="357" y="298"/>
                    </a:lnTo>
                    <a:lnTo>
                      <a:pt x="356" y="296"/>
                    </a:lnTo>
                    <a:lnTo>
                      <a:pt x="356" y="298"/>
                    </a:lnTo>
                    <a:lnTo>
                      <a:pt x="356" y="300"/>
                    </a:lnTo>
                    <a:lnTo>
                      <a:pt x="354" y="300"/>
                    </a:lnTo>
                    <a:lnTo>
                      <a:pt x="352" y="305"/>
                    </a:lnTo>
                    <a:lnTo>
                      <a:pt x="352" y="306"/>
                    </a:lnTo>
                    <a:lnTo>
                      <a:pt x="352" y="308"/>
                    </a:lnTo>
                    <a:lnTo>
                      <a:pt x="352" y="312"/>
                    </a:lnTo>
                    <a:lnTo>
                      <a:pt x="352" y="313"/>
                    </a:lnTo>
                    <a:lnTo>
                      <a:pt x="350" y="313"/>
                    </a:lnTo>
                    <a:lnTo>
                      <a:pt x="349" y="320"/>
                    </a:lnTo>
                    <a:lnTo>
                      <a:pt x="349" y="323"/>
                    </a:lnTo>
                    <a:lnTo>
                      <a:pt x="349" y="325"/>
                    </a:lnTo>
                    <a:lnTo>
                      <a:pt x="349" y="327"/>
                    </a:lnTo>
                    <a:lnTo>
                      <a:pt x="347" y="329"/>
                    </a:lnTo>
                    <a:lnTo>
                      <a:pt x="344" y="330"/>
                    </a:lnTo>
                    <a:lnTo>
                      <a:pt x="342" y="330"/>
                    </a:lnTo>
                    <a:lnTo>
                      <a:pt x="339" y="332"/>
                    </a:lnTo>
                    <a:lnTo>
                      <a:pt x="339" y="334"/>
                    </a:lnTo>
                    <a:lnTo>
                      <a:pt x="333" y="335"/>
                    </a:lnTo>
                    <a:lnTo>
                      <a:pt x="333" y="337"/>
                    </a:lnTo>
                    <a:lnTo>
                      <a:pt x="330" y="339"/>
                    </a:lnTo>
                    <a:lnTo>
                      <a:pt x="328" y="344"/>
                    </a:lnTo>
                    <a:lnTo>
                      <a:pt x="325" y="347"/>
                    </a:lnTo>
                    <a:lnTo>
                      <a:pt x="305" y="351"/>
                    </a:lnTo>
                    <a:lnTo>
                      <a:pt x="303" y="352"/>
                    </a:lnTo>
                    <a:lnTo>
                      <a:pt x="296" y="352"/>
                    </a:lnTo>
                    <a:lnTo>
                      <a:pt x="296" y="354"/>
                    </a:lnTo>
                    <a:lnTo>
                      <a:pt x="298" y="356"/>
                    </a:lnTo>
                    <a:lnTo>
                      <a:pt x="299" y="359"/>
                    </a:lnTo>
                    <a:lnTo>
                      <a:pt x="298" y="361"/>
                    </a:lnTo>
                    <a:lnTo>
                      <a:pt x="291" y="378"/>
                    </a:lnTo>
                    <a:lnTo>
                      <a:pt x="289" y="380"/>
                    </a:lnTo>
                    <a:lnTo>
                      <a:pt x="288" y="386"/>
                    </a:lnTo>
                    <a:lnTo>
                      <a:pt x="286" y="393"/>
                    </a:lnTo>
                    <a:lnTo>
                      <a:pt x="282" y="398"/>
                    </a:lnTo>
                    <a:lnTo>
                      <a:pt x="279" y="400"/>
                    </a:lnTo>
                    <a:lnTo>
                      <a:pt x="271" y="405"/>
                    </a:lnTo>
                    <a:lnTo>
                      <a:pt x="260" y="403"/>
                    </a:lnTo>
                    <a:lnTo>
                      <a:pt x="259" y="403"/>
                    </a:lnTo>
                    <a:lnTo>
                      <a:pt x="255" y="402"/>
                    </a:lnTo>
                    <a:lnTo>
                      <a:pt x="254" y="402"/>
                    </a:lnTo>
                    <a:lnTo>
                      <a:pt x="252" y="403"/>
                    </a:lnTo>
                    <a:lnTo>
                      <a:pt x="250" y="405"/>
                    </a:lnTo>
                    <a:lnTo>
                      <a:pt x="248" y="407"/>
                    </a:lnTo>
                    <a:lnTo>
                      <a:pt x="245" y="407"/>
                    </a:lnTo>
                    <a:lnTo>
                      <a:pt x="243" y="407"/>
                    </a:lnTo>
                    <a:lnTo>
                      <a:pt x="240" y="407"/>
                    </a:lnTo>
                    <a:lnTo>
                      <a:pt x="238" y="407"/>
                    </a:lnTo>
                    <a:lnTo>
                      <a:pt x="226" y="403"/>
                    </a:lnTo>
                    <a:lnTo>
                      <a:pt x="225" y="403"/>
                    </a:lnTo>
                    <a:lnTo>
                      <a:pt x="223" y="403"/>
                    </a:lnTo>
                    <a:lnTo>
                      <a:pt x="221" y="403"/>
                    </a:lnTo>
                    <a:lnTo>
                      <a:pt x="220" y="402"/>
                    </a:lnTo>
                    <a:lnTo>
                      <a:pt x="218" y="402"/>
                    </a:lnTo>
                    <a:lnTo>
                      <a:pt x="218" y="400"/>
                    </a:lnTo>
                    <a:lnTo>
                      <a:pt x="216" y="402"/>
                    </a:lnTo>
                    <a:lnTo>
                      <a:pt x="214" y="398"/>
                    </a:lnTo>
                    <a:lnTo>
                      <a:pt x="213" y="397"/>
                    </a:lnTo>
                    <a:lnTo>
                      <a:pt x="211" y="397"/>
                    </a:lnTo>
                    <a:lnTo>
                      <a:pt x="209" y="397"/>
                    </a:lnTo>
                    <a:lnTo>
                      <a:pt x="208" y="398"/>
                    </a:lnTo>
                    <a:lnTo>
                      <a:pt x="206" y="397"/>
                    </a:lnTo>
                    <a:lnTo>
                      <a:pt x="206" y="398"/>
                    </a:lnTo>
                    <a:lnTo>
                      <a:pt x="204" y="398"/>
                    </a:lnTo>
                    <a:lnTo>
                      <a:pt x="204" y="397"/>
                    </a:lnTo>
                    <a:lnTo>
                      <a:pt x="203" y="397"/>
                    </a:lnTo>
                    <a:lnTo>
                      <a:pt x="201" y="398"/>
                    </a:lnTo>
                    <a:lnTo>
                      <a:pt x="199" y="397"/>
                    </a:lnTo>
                    <a:lnTo>
                      <a:pt x="197" y="395"/>
                    </a:lnTo>
                    <a:lnTo>
                      <a:pt x="196" y="395"/>
                    </a:lnTo>
                    <a:lnTo>
                      <a:pt x="194" y="393"/>
                    </a:lnTo>
                    <a:lnTo>
                      <a:pt x="194" y="392"/>
                    </a:lnTo>
                    <a:lnTo>
                      <a:pt x="191" y="392"/>
                    </a:lnTo>
                    <a:lnTo>
                      <a:pt x="191" y="390"/>
                    </a:lnTo>
                    <a:lnTo>
                      <a:pt x="189" y="388"/>
                    </a:lnTo>
                    <a:lnTo>
                      <a:pt x="187" y="388"/>
                    </a:lnTo>
                    <a:lnTo>
                      <a:pt x="186" y="388"/>
                    </a:lnTo>
                    <a:lnTo>
                      <a:pt x="186" y="386"/>
                    </a:lnTo>
                    <a:lnTo>
                      <a:pt x="184" y="386"/>
                    </a:lnTo>
                    <a:lnTo>
                      <a:pt x="184" y="385"/>
                    </a:lnTo>
                    <a:lnTo>
                      <a:pt x="182" y="385"/>
                    </a:lnTo>
                    <a:lnTo>
                      <a:pt x="180" y="385"/>
                    </a:lnTo>
                    <a:lnTo>
                      <a:pt x="180" y="383"/>
                    </a:lnTo>
                    <a:lnTo>
                      <a:pt x="179" y="383"/>
                    </a:lnTo>
                    <a:lnTo>
                      <a:pt x="177" y="383"/>
                    </a:lnTo>
                    <a:lnTo>
                      <a:pt x="177" y="381"/>
                    </a:lnTo>
                    <a:lnTo>
                      <a:pt x="175" y="381"/>
                    </a:lnTo>
                    <a:lnTo>
                      <a:pt x="175" y="380"/>
                    </a:lnTo>
                    <a:lnTo>
                      <a:pt x="174" y="381"/>
                    </a:lnTo>
                    <a:lnTo>
                      <a:pt x="172" y="381"/>
                    </a:lnTo>
                    <a:lnTo>
                      <a:pt x="170" y="380"/>
                    </a:lnTo>
                    <a:lnTo>
                      <a:pt x="169" y="380"/>
                    </a:lnTo>
                    <a:lnTo>
                      <a:pt x="167" y="380"/>
                    </a:lnTo>
                    <a:lnTo>
                      <a:pt x="163" y="380"/>
                    </a:lnTo>
                    <a:lnTo>
                      <a:pt x="160" y="381"/>
                    </a:lnTo>
                    <a:lnTo>
                      <a:pt x="158" y="381"/>
                    </a:lnTo>
                    <a:lnTo>
                      <a:pt x="157" y="383"/>
                    </a:lnTo>
                    <a:lnTo>
                      <a:pt x="155" y="381"/>
                    </a:lnTo>
                    <a:lnTo>
                      <a:pt x="155" y="380"/>
                    </a:lnTo>
                    <a:lnTo>
                      <a:pt x="153" y="381"/>
                    </a:lnTo>
                    <a:lnTo>
                      <a:pt x="153" y="380"/>
                    </a:lnTo>
                    <a:lnTo>
                      <a:pt x="153" y="383"/>
                    </a:lnTo>
                    <a:lnTo>
                      <a:pt x="152" y="383"/>
                    </a:lnTo>
                    <a:lnTo>
                      <a:pt x="152" y="385"/>
                    </a:lnTo>
                    <a:lnTo>
                      <a:pt x="148" y="386"/>
                    </a:lnTo>
                    <a:lnTo>
                      <a:pt x="146" y="390"/>
                    </a:lnTo>
                    <a:lnTo>
                      <a:pt x="148" y="390"/>
                    </a:lnTo>
                    <a:lnTo>
                      <a:pt x="146" y="390"/>
                    </a:lnTo>
                    <a:lnTo>
                      <a:pt x="145" y="390"/>
                    </a:lnTo>
                    <a:lnTo>
                      <a:pt x="145" y="392"/>
                    </a:lnTo>
                    <a:lnTo>
                      <a:pt x="145" y="393"/>
                    </a:lnTo>
                    <a:lnTo>
                      <a:pt x="143" y="395"/>
                    </a:lnTo>
                    <a:lnTo>
                      <a:pt x="145" y="397"/>
                    </a:lnTo>
                    <a:lnTo>
                      <a:pt x="143" y="397"/>
                    </a:lnTo>
                    <a:lnTo>
                      <a:pt x="145" y="398"/>
                    </a:lnTo>
                    <a:lnTo>
                      <a:pt x="143" y="400"/>
                    </a:lnTo>
                    <a:lnTo>
                      <a:pt x="143" y="402"/>
                    </a:lnTo>
                    <a:lnTo>
                      <a:pt x="141" y="402"/>
                    </a:lnTo>
                    <a:lnTo>
                      <a:pt x="140" y="405"/>
                    </a:lnTo>
                    <a:lnTo>
                      <a:pt x="141" y="407"/>
                    </a:lnTo>
                    <a:lnTo>
                      <a:pt x="140" y="409"/>
                    </a:lnTo>
                    <a:lnTo>
                      <a:pt x="140" y="410"/>
                    </a:lnTo>
                    <a:lnTo>
                      <a:pt x="138" y="410"/>
                    </a:lnTo>
                    <a:lnTo>
                      <a:pt x="140" y="412"/>
                    </a:lnTo>
                    <a:lnTo>
                      <a:pt x="138" y="414"/>
                    </a:lnTo>
                    <a:lnTo>
                      <a:pt x="138" y="417"/>
                    </a:lnTo>
                    <a:lnTo>
                      <a:pt x="136" y="417"/>
                    </a:lnTo>
                    <a:lnTo>
                      <a:pt x="136" y="420"/>
                    </a:lnTo>
                    <a:lnTo>
                      <a:pt x="135" y="420"/>
                    </a:lnTo>
                    <a:lnTo>
                      <a:pt x="135" y="422"/>
                    </a:lnTo>
                    <a:lnTo>
                      <a:pt x="133" y="422"/>
                    </a:lnTo>
                    <a:lnTo>
                      <a:pt x="133" y="424"/>
                    </a:lnTo>
                    <a:lnTo>
                      <a:pt x="131" y="424"/>
                    </a:lnTo>
                    <a:lnTo>
                      <a:pt x="131" y="426"/>
                    </a:lnTo>
                    <a:lnTo>
                      <a:pt x="129" y="427"/>
                    </a:lnTo>
                    <a:lnTo>
                      <a:pt x="126" y="426"/>
                    </a:lnTo>
                    <a:lnTo>
                      <a:pt x="124" y="427"/>
                    </a:lnTo>
                    <a:lnTo>
                      <a:pt x="123" y="427"/>
                    </a:lnTo>
                    <a:lnTo>
                      <a:pt x="123" y="429"/>
                    </a:lnTo>
                    <a:lnTo>
                      <a:pt x="123" y="431"/>
                    </a:lnTo>
                    <a:lnTo>
                      <a:pt x="121" y="431"/>
                    </a:lnTo>
                    <a:lnTo>
                      <a:pt x="121" y="432"/>
                    </a:lnTo>
                    <a:lnTo>
                      <a:pt x="118" y="432"/>
                    </a:lnTo>
                    <a:lnTo>
                      <a:pt x="118" y="434"/>
                    </a:lnTo>
                    <a:lnTo>
                      <a:pt x="114" y="434"/>
                    </a:lnTo>
                    <a:lnTo>
                      <a:pt x="111" y="436"/>
                    </a:lnTo>
                    <a:lnTo>
                      <a:pt x="112" y="437"/>
                    </a:lnTo>
                    <a:lnTo>
                      <a:pt x="111" y="439"/>
                    </a:lnTo>
                    <a:lnTo>
                      <a:pt x="111" y="441"/>
                    </a:lnTo>
                    <a:lnTo>
                      <a:pt x="111" y="443"/>
                    </a:lnTo>
                    <a:lnTo>
                      <a:pt x="106" y="446"/>
                    </a:lnTo>
                    <a:lnTo>
                      <a:pt x="104" y="448"/>
                    </a:lnTo>
                    <a:lnTo>
                      <a:pt x="99" y="449"/>
                    </a:lnTo>
                    <a:lnTo>
                      <a:pt x="94" y="449"/>
                    </a:lnTo>
                    <a:lnTo>
                      <a:pt x="90" y="451"/>
                    </a:lnTo>
                    <a:lnTo>
                      <a:pt x="92" y="454"/>
                    </a:lnTo>
                    <a:lnTo>
                      <a:pt x="90" y="456"/>
                    </a:lnTo>
                    <a:lnTo>
                      <a:pt x="87" y="460"/>
                    </a:lnTo>
                    <a:lnTo>
                      <a:pt x="84" y="460"/>
                    </a:lnTo>
                    <a:lnTo>
                      <a:pt x="80" y="458"/>
                    </a:lnTo>
                    <a:lnTo>
                      <a:pt x="78" y="460"/>
                    </a:lnTo>
                    <a:lnTo>
                      <a:pt x="72" y="458"/>
                    </a:lnTo>
                    <a:lnTo>
                      <a:pt x="68" y="458"/>
                    </a:lnTo>
                    <a:lnTo>
                      <a:pt x="67" y="460"/>
                    </a:lnTo>
                    <a:lnTo>
                      <a:pt x="65" y="458"/>
                    </a:lnTo>
                    <a:lnTo>
                      <a:pt x="63" y="460"/>
                    </a:lnTo>
                    <a:lnTo>
                      <a:pt x="58" y="460"/>
                    </a:lnTo>
                    <a:lnTo>
                      <a:pt x="55" y="460"/>
                    </a:lnTo>
                    <a:lnTo>
                      <a:pt x="51" y="460"/>
                    </a:lnTo>
                    <a:lnTo>
                      <a:pt x="50" y="456"/>
                    </a:lnTo>
                    <a:lnTo>
                      <a:pt x="48" y="458"/>
                    </a:lnTo>
                    <a:lnTo>
                      <a:pt x="46" y="456"/>
                    </a:lnTo>
                    <a:lnTo>
                      <a:pt x="43" y="458"/>
                    </a:lnTo>
                    <a:lnTo>
                      <a:pt x="43" y="460"/>
                    </a:lnTo>
                    <a:lnTo>
                      <a:pt x="41" y="460"/>
                    </a:lnTo>
                    <a:lnTo>
                      <a:pt x="39" y="460"/>
                    </a:lnTo>
                    <a:lnTo>
                      <a:pt x="38" y="460"/>
                    </a:lnTo>
                    <a:lnTo>
                      <a:pt x="36" y="461"/>
                    </a:lnTo>
                    <a:lnTo>
                      <a:pt x="36" y="458"/>
                    </a:lnTo>
                    <a:lnTo>
                      <a:pt x="33" y="458"/>
                    </a:lnTo>
                    <a:lnTo>
                      <a:pt x="34" y="458"/>
                    </a:lnTo>
                    <a:lnTo>
                      <a:pt x="33" y="456"/>
                    </a:lnTo>
                    <a:lnTo>
                      <a:pt x="33" y="454"/>
                    </a:lnTo>
                    <a:lnTo>
                      <a:pt x="33" y="451"/>
                    </a:lnTo>
                    <a:lnTo>
                      <a:pt x="33" y="449"/>
                    </a:lnTo>
                    <a:lnTo>
                      <a:pt x="33" y="446"/>
                    </a:lnTo>
                    <a:lnTo>
                      <a:pt x="31" y="444"/>
                    </a:lnTo>
                    <a:lnTo>
                      <a:pt x="31" y="443"/>
                    </a:lnTo>
                    <a:lnTo>
                      <a:pt x="33" y="439"/>
                    </a:lnTo>
                    <a:lnTo>
                      <a:pt x="36" y="436"/>
                    </a:lnTo>
                    <a:lnTo>
                      <a:pt x="38" y="432"/>
                    </a:lnTo>
                    <a:lnTo>
                      <a:pt x="41" y="431"/>
                    </a:lnTo>
                    <a:lnTo>
                      <a:pt x="43" y="426"/>
                    </a:lnTo>
                    <a:lnTo>
                      <a:pt x="44" y="422"/>
                    </a:lnTo>
                    <a:lnTo>
                      <a:pt x="43" y="422"/>
                    </a:lnTo>
                    <a:lnTo>
                      <a:pt x="43" y="420"/>
                    </a:lnTo>
                    <a:lnTo>
                      <a:pt x="43" y="419"/>
                    </a:lnTo>
                    <a:lnTo>
                      <a:pt x="41" y="417"/>
                    </a:lnTo>
                    <a:lnTo>
                      <a:pt x="43" y="414"/>
                    </a:lnTo>
                    <a:lnTo>
                      <a:pt x="41" y="412"/>
                    </a:lnTo>
                    <a:lnTo>
                      <a:pt x="41" y="410"/>
                    </a:lnTo>
                    <a:lnTo>
                      <a:pt x="41" y="409"/>
                    </a:lnTo>
                    <a:lnTo>
                      <a:pt x="41" y="407"/>
                    </a:lnTo>
                    <a:lnTo>
                      <a:pt x="38" y="407"/>
                    </a:lnTo>
                    <a:lnTo>
                      <a:pt x="39" y="405"/>
                    </a:lnTo>
                    <a:lnTo>
                      <a:pt x="38" y="405"/>
                    </a:lnTo>
                    <a:lnTo>
                      <a:pt x="38" y="402"/>
                    </a:lnTo>
                    <a:lnTo>
                      <a:pt x="34" y="400"/>
                    </a:lnTo>
                    <a:lnTo>
                      <a:pt x="36" y="398"/>
                    </a:lnTo>
                    <a:lnTo>
                      <a:pt x="34" y="398"/>
                    </a:lnTo>
                    <a:lnTo>
                      <a:pt x="34" y="397"/>
                    </a:lnTo>
                    <a:lnTo>
                      <a:pt x="36" y="395"/>
                    </a:lnTo>
                    <a:lnTo>
                      <a:pt x="34" y="393"/>
                    </a:lnTo>
                    <a:lnTo>
                      <a:pt x="33" y="392"/>
                    </a:lnTo>
                    <a:lnTo>
                      <a:pt x="33" y="390"/>
                    </a:lnTo>
                    <a:lnTo>
                      <a:pt x="34" y="390"/>
                    </a:lnTo>
                    <a:lnTo>
                      <a:pt x="34" y="388"/>
                    </a:lnTo>
                    <a:lnTo>
                      <a:pt x="33" y="388"/>
                    </a:lnTo>
                    <a:lnTo>
                      <a:pt x="33" y="386"/>
                    </a:lnTo>
                    <a:lnTo>
                      <a:pt x="31" y="386"/>
                    </a:lnTo>
                    <a:lnTo>
                      <a:pt x="31" y="385"/>
                    </a:lnTo>
                    <a:lnTo>
                      <a:pt x="29" y="385"/>
                    </a:lnTo>
                    <a:lnTo>
                      <a:pt x="27" y="383"/>
                    </a:lnTo>
                    <a:lnTo>
                      <a:pt x="27" y="381"/>
                    </a:lnTo>
                    <a:lnTo>
                      <a:pt x="27" y="380"/>
                    </a:lnTo>
                    <a:lnTo>
                      <a:pt x="26" y="380"/>
                    </a:lnTo>
                    <a:lnTo>
                      <a:pt x="26" y="378"/>
                    </a:lnTo>
                    <a:lnTo>
                      <a:pt x="26" y="376"/>
                    </a:lnTo>
                    <a:lnTo>
                      <a:pt x="24" y="376"/>
                    </a:lnTo>
                    <a:lnTo>
                      <a:pt x="22" y="376"/>
                    </a:lnTo>
                    <a:lnTo>
                      <a:pt x="24" y="373"/>
                    </a:lnTo>
                    <a:lnTo>
                      <a:pt x="22" y="373"/>
                    </a:lnTo>
                    <a:lnTo>
                      <a:pt x="21" y="369"/>
                    </a:lnTo>
                    <a:lnTo>
                      <a:pt x="19" y="368"/>
                    </a:lnTo>
                    <a:lnTo>
                      <a:pt x="21" y="368"/>
                    </a:lnTo>
                    <a:lnTo>
                      <a:pt x="16" y="364"/>
                    </a:lnTo>
                    <a:lnTo>
                      <a:pt x="14" y="361"/>
                    </a:lnTo>
                    <a:lnTo>
                      <a:pt x="12" y="361"/>
                    </a:lnTo>
                    <a:lnTo>
                      <a:pt x="10" y="361"/>
                    </a:lnTo>
                    <a:lnTo>
                      <a:pt x="9" y="359"/>
                    </a:lnTo>
                    <a:lnTo>
                      <a:pt x="7" y="359"/>
                    </a:lnTo>
                    <a:lnTo>
                      <a:pt x="5" y="358"/>
                    </a:lnTo>
                    <a:lnTo>
                      <a:pt x="2" y="356"/>
                    </a:lnTo>
                    <a:lnTo>
                      <a:pt x="0" y="354"/>
                    </a:lnTo>
                    <a:lnTo>
                      <a:pt x="0" y="352"/>
                    </a:lnTo>
                    <a:lnTo>
                      <a:pt x="0" y="347"/>
                    </a:lnTo>
                    <a:lnTo>
                      <a:pt x="0" y="320"/>
                    </a:lnTo>
                    <a:lnTo>
                      <a:pt x="0" y="308"/>
                    </a:lnTo>
                    <a:lnTo>
                      <a:pt x="0" y="306"/>
                    </a:lnTo>
                    <a:lnTo>
                      <a:pt x="0" y="293"/>
                    </a:lnTo>
                    <a:lnTo>
                      <a:pt x="0" y="279"/>
                    </a:lnTo>
                    <a:lnTo>
                      <a:pt x="0" y="276"/>
                    </a:lnTo>
                    <a:lnTo>
                      <a:pt x="0" y="262"/>
                    </a:lnTo>
                    <a:lnTo>
                      <a:pt x="0" y="255"/>
                    </a:lnTo>
                    <a:lnTo>
                      <a:pt x="0" y="233"/>
                    </a:lnTo>
                    <a:lnTo>
                      <a:pt x="0" y="221"/>
                    </a:lnTo>
                    <a:lnTo>
                      <a:pt x="0" y="213"/>
                    </a:lnTo>
                    <a:lnTo>
                      <a:pt x="14" y="213"/>
                    </a:lnTo>
                    <a:lnTo>
                      <a:pt x="36" y="213"/>
                    </a:lnTo>
                    <a:lnTo>
                      <a:pt x="51" y="213"/>
                    </a:lnTo>
                    <a:lnTo>
                      <a:pt x="51" y="192"/>
                    </a:lnTo>
                    <a:lnTo>
                      <a:pt x="51" y="162"/>
                    </a:lnTo>
                    <a:lnTo>
                      <a:pt x="51" y="158"/>
                    </a:lnTo>
                    <a:lnTo>
                      <a:pt x="51" y="133"/>
                    </a:lnTo>
                    <a:lnTo>
                      <a:pt x="51" y="131"/>
                    </a:lnTo>
                    <a:lnTo>
                      <a:pt x="51" y="121"/>
                    </a:lnTo>
                    <a:lnTo>
                      <a:pt x="51" y="113"/>
                    </a:lnTo>
                    <a:lnTo>
                      <a:pt x="51" y="96"/>
                    </a:lnTo>
                    <a:lnTo>
                      <a:pt x="51" y="73"/>
                    </a:lnTo>
                    <a:lnTo>
                      <a:pt x="51" y="70"/>
                    </a:lnTo>
                    <a:lnTo>
                      <a:pt x="51" y="53"/>
                    </a:lnTo>
                    <a:lnTo>
                      <a:pt x="51" y="36"/>
                    </a:lnTo>
                    <a:lnTo>
                      <a:pt x="51" y="27"/>
                    </a:lnTo>
                    <a:lnTo>
                      <a:pt x="75" y="27"/>
                    </a:lnTo>
                    <a:lnTo>
                      <a:pt x="92" y="24"/>
                    </a:lnTo>
                    <a:lnTo>
                      <a:pt x="114" y="19"/>
                    </a:lnTo>
                    <a:lnTo>
                      <a:pt x="128" y="17"/>
                    </a:lnTo>
                    <a:lnTo>
                      <a:pt x="140" y="14"/>
                    </a:lnTo>
                    <a:lnTo>
                      <a:pt x="157" y="10"/>
                    </a:lnTo>
                    <a:lnTo>
                      <a:pt x="167" y="10"/>
                    </a:lnTo>
                    <a:lnTo>
                      <a:pt x="169" y="12"/>
                    </a:lnTo>
                    <a:lnTo>
                      <a:pt x="170" y="14"/>
                    </a:lnTo>
                    <a:lnTo>
                      <a:pt x="169" y="14"/>
                    </a:lnTo>
                    <a:lnTo>
                      <a:pt x="169" y="16"/>
                    </a:lnTo>
                    <a:lnTo>
                      <a:pt x="172" y="17"/>
                    </a:lnTo>
                    <a:lnTo>
                      <a:pt x="172" y="19"/>
                    </a:lnTo>
                    <a:lnTo>
                      <a:pt x="174" y="19"/>
                    </a:lnTo>
                    <a:lnTo>
                      <a:pt x="172" y="21"/>
                    </a:lnTo>
                    <a:lnTo>
                      <a:pt x="175" y="21"/>
                    </a:lnTo>
                    <a:lnTo>
                      <a:pt x="175" y="22"/>
                    </a:lnTo>
                    <a:lnTo>
                      <a:pt x="177" y="22"/>
                    </a:lnTo>
                    <a:lnTo>
                      <a:pt x="179" y="24"/>
                    </a:lnTo>
                    <a:lnTo>
                      <a:pt x="180" y="29"/>
                    </a:lnTo>
                    <a:lnTo>
                      <a:pt x="180" y="33"/>
                    </a:lnTo>
                    <a:lnTo>
                      <a:pt x="182" y="34"/>
                    </a:lnTo>
                    <a:lnTo>
                      <a:pt x="180" y="34"/>
                    </a:lnTo>
                    <a:lnTo>
                      <a:pt x="184" y="36"/>
                    </a:lnTo>
                    <a:lnTo>
                      <a:pt x="186" y="34"/>
                    </a:lnTo>
                    <a:lnTo>
                      <a:pt x="187" y="33"/>
                    </a:lnTo>
                    <a:lnTo>
                      <a:pt x="189" y="33"/>
                    </a:lnTo>
                    <a:lnTo>
                      <a:pt x="192" y="31"/>
                    </a:lnTo>
                    <a:lnTo>
                      <a:pt x="194" y="27"/>
                    </a:lnTo>
                    <a:lnTo>
                      <a:pt x="196" y="27"/>
                    </a:lnTo>
                    <a:lnTo>
                      <a:pt x="197" y="24"/>
                    </a:lnTo>
                    <a:lnTo>
                      <a:pt x="199" y="24"/>
                    </a:lnTo>
                    <a:lnTo>
                      <a:pt x="199" y="22"/>
                    </a:lnTo>
                    <a:lnTo>
                      <a:pt x="199" y="21"/>
                    </a:lnTo>
                    <a:lnTo>
                      <a:pt x="201" y="21"/>
                    </a:lnTo>
                    <a:lnTo>
                      <a:pt x="203" y="21"/>
                    </a:lnTo>
                    <a:lnTo>
                      <a:pt x="204" y="17"/>
                    </a:lnTo>
                    <a:lnTo>
                      <a:pt x="206" y="17"/>
                    </a:lnTo>
                    <a:lnTo>
                      <a:pt x="206" y="16"/>
                    </a:lnTo>
                    <a:lnTo>
                      <a:pt x="209" y="16"/>
                    </a:lnTo>
                    <a:lnTo>
                      <a:pt x="211" y="14"/>
                    </a:lnTo>
                    <a:lnTo>
                      <a:pt x="211" y="12"/>
                    </a:lnTo>
                    <a:lnTo>
                      <a:pt x="213" y="12"/>
                    </a:lnTo>
                    <a:lnTo>
                      <a:pt x="216" y="12"/>
                    </a:lnTo>
                    <a:lnTo>
                      <a:pt x="218" y="12"/>
                    </a:lnTo>
                    <a:lnTo>
                      <a:pt x="221" y="9"/>
                    </a:lnTo>
                    <a:lnTo>
                      <a:pt x="225" y="9"/>
                    </a:lnTo>
                    <a:lnTo>
                      <a:pt x="226" y="9"/>
                    </a:lnTo>
                    <a:lnTo>
                      <a:pt x="226" y="10"/>
                    </a:lnTo>
                    <a:lnTo>
                      <a:pt x="228" y="10"/>
                    </a:lnTo>
                    <a:lnTo>
                      <a:pt x="228" y="12"/>
                    </a:lnTo>
                    <a:lnTo>
                      <a:pt x="228" y="14"/>
                    </a:lnTo>
                    <a:lnTo>
                      <a:pt x="230" y="14"/>
                    </a:lnTo>
                    <a:lnTo>
                      <a:pt x="231" y="14"/>
                    </a:lnTo>
                    <a:lnTo>
                      <a:pt x="233" y="12"/>
                    </a:lnTo>
                    <a:lnTo>
                      <a:pt x="235" y="10"/>
                    </a:lnTo>
                    <a:lnTo>
                      <a:pt x="237" y="9"/>
                    </a:lnTo>
                    <a:lnTo>
                      <a:pt x="237" y="7"/>
                    </a:lnTo>
                    <a:lnTo>
                      <a:pt x="238" y="7"/>
                    </a:lnTo>
                    <a:lnTo>
                      <a:pt x="240" y="5"/>
                    </a:lnTo>
                    <a:lnTo>
                      <a:pt x="242" y="5"/>
                    </a:lnTo>
                    <a:lnTo>
                      <a:pt x="242" y="4"/>
                    </a:lnTo>
                    <a:lnTo>
                      <a:pt x="243" y="4"/>
                    </a:lnTo>
                    <a:lnTo>
                      <a:pt x="245" y="4"/>
                    </a:lnTo>
                    <a:lnTo>
                      <a:pt x="247" y="4"/>
                    </a:lnTo>
                    <a:lnTo>
                      <a:pt x="248" y="0"/>
                    </a:lnTo>
                    <a:lnTo>
                      <a:pt x="250" y="2"/>
                    </a:lnTo>
                    <a:lnTo>
                      <a:pt x="252" y="0"/>
                    </a:lnTo>
                    <a:lnTo>
                      <a:pt x="254" y="0"/>
                    </a:lnTo>
                    <a:lnTo>
                      <a:pt x="252" y="0"/>
                    </a:lnTo>
                    <a:lnTo>
                      <a:pt x="254" y="2"/>
                    </a:lnTo>
                    <a:lnTo>
                      <a:pt x="255" y="2"/>
                    </a:lnTo>
                    <a:lnTo>
                      <a:pt x="257" y="0"/>
                    </a:lnTo>
                    <a:lnTo>
                      <a:pt x="257" y="2"/>
                    </a:lnTo>
                    <a:lnTo>
                      <a:pt x="260" y="2"/>
                    </a:lnTo>
                    <a:lnTo>
                      <a:pt x="262" y="0"/>
                    </a:lnTo>
                    <a:lnTo>
                      <a:pt x="267" y="0"/>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17" name="Freeform 14">
                <a:extLst>
                  <a:ext uri="{FF2B5EF4-FFF2-40B4-BE49-F238E27FC236}">
                    <a16:creationId xmlns:a16="http://schemas.microsoft.com/office/drawing/2014/main" id="{FE92BB6A-B904-41DA-A120-73ADE1E09BDA}"/>
                  </a:ext>
                </a:extLst>
              </p:cNvPr>
              <p:cNvSpPr>
                <a:spLocks/>
              </p:cNvSpPr>
              <p:nvPr/>
            </p:nvSpPr>
            <p:spPr bwMode="gray">
              <a:xfrm>
                <a:off x="4132263" y="2241550"/>
                <a:ext cx="638175" cy="455613"/>
              </a:xfrm>
              <a:custGeom>
                <a:avLst/>
                <a:gdLst>
                  <a:gd name="T0" fmla="*/ 289 w 402"/>
                  <a:gd name="T1" fmla="*/ 31 h 287"/>
                  <a:gd name="T2" fmla="*/ 298 w 402"/>
                  <a:gd name="T3" fmla="*/ 48 h 287"/>
                  <a:gd name="T4" fmla="*/ 310 w 402"/>
                  <a:gd name="T5" fmla="*/ 65 h 287"/>
                  <a:gd name="T6" fmla="*/ 322 w 402"/>
                  <a:gd name="T7" fmla="*/ 73 h 287"/>
                  <a:gd name="T8" fmla="*/ 344 w 402"/>
                  <a:gd name="T9" fmla="*/ 85 h 287"/>
                  <a:gd name="T10" fmla="*/ 330 w 402"/>
                  <a:gd name="T11" fmla="*/ 87 h 287"/>
                  <a:gd name="T12" fmla="*/ 378 w 402"/>
                  <a:gd name="T13" fmla="*/ 121 h 287"/>
                  <a:gd name="T14" fmla="*/ 391 w 402"/>
                  <a:gd name="T15" fmla="*/ 124 h 287"/>
                  <a:gd name="T16" fmla="*/ 385 w 402"/>
                  <a:gd name="T17" fmla="*/ 138 h 287"/>
                  <a:gd name="T18" fmla="*/ 396 w 402"/>
                  <a:gd name="T19" fmla="*/ 170 h 287"/>
                  <a:gd name="T20" fmla="*/ 369 w 402"/>
                  <a:gd name="T21" fmla="*/ 185 h 287"/>
                  <a:gd name="T22" fmla="*/ 361 w 402"/>
                  <a:gd name="T23" fmla="*/ 184 h 287"/>
                  <a:gd name="T24" fmla="*/ 352 w 402"/>
                  <a:gd name="T25" fmla="*/ 182 h 287"/>
                  <a:gd name="T26" fmla="*/ 347 w 402"/>
                  <a:gd name="T27" fmla="*/ 187 h 287"/>
                  <a:gd name="T28" fmla="*/ 344 w 402"/>
                  <a:gd name="T29" fmla="*/ 190 h 287"/>
                  <a:gd name="T30" fmla="*/ 339 w 402"/>
                  <a:gd name="T31" fmla="*/ 194 h 287"/>
                  <a:gd name="T32" fmla="*/ 337 w 402"/>
                  <a:gd name="T33" fmla="*/ 204 h 287"/>
                  <a:gd name="T34" fmla="*/ 313 w 402"/>
                  <a:gd name="T35" fmla="*/ 206 h 287"/>
                  <a:gd name="T36" fmla="*/ 266 w 402"/>
                  <a:gd name="T37" fmla="*/ 197 h 287"/>
                  <a:gd name="T38" fmla="*/ 257 w 402"/>
                  <a:gd name="T39" fmla="*/ 204 h 287"/>
                  <a:gd name="T40" fmla="*/ 249 w 402"/>
                  <a:gd name="T41" fmla="*/ 209 h 287"/>
                  <a:gd name="T42" fmla="*/ 237 w 402"/>
                  <a:gd name="T43" fmla="*/ 206 h 287"/>
                  <a:gd name="T44" fmla="*/ 208 w 402"/>
                  <a:gd name="T45" fmla="*/ 206 h 287"/>
                  <a:gd name="T46" fmla="*/ 165 w 402"/>
                  <a:gd name="T47" fmla="*/ 206 h 287"/>
                  <a:gd name="T48" fmla="*/ 131 w 402"/>
                  <a:gd name="T49" fmla="*/ 221 h 287"/>
                  <a:gd name="T50" fmla="*/ 136 w 402"/>
                  <a:gd name="T51" fmla="*/ 238 h 287"/>
                  <a:gd name="T52" fmla="*/ 140 w 402"/>
                  <a:gd name="T53" fmla="*/ 264 h 287"/>
                  <a:gd name="T54" fmla="*/ 140 w 402"/>
                  <a:gd name="T55" fmla="*/ 279 h 287"/>
                  <a:gd name="T56" fmla="*/ 123 w 402"/>
                  <a:gd name="T57" fmla="*/ 269 h 287"/>
                  <a:gd name="T58" fmla="*/ 113 w 402"/>
                  <a:gd name="T59" fmla="*/ 264 h 287"/>
                  <a:gd name="T60" fmla="*/ 96 w 402"/>
                  <a:gd name="T61" fmla="*/ 258 h 287"/>
                  <a:gd name="T62" fmla="*/ 79 w 402"/>
                  <a:gd name="T63" fmla="*/ 265 h 287"/>
                  <a:gd name="T64" fmla="*/ 63 w 402"/>
                  <a:gd name="T65" fmla="*/ 270 h 287"/>
                  <a:gd name="T66" fmla="*/ 58 w 402"/>
                  <a:gd name="T67" fmla="*/ 277 h 287"/>
                  <a:gd name="T68" fmla="*/ 48 w 402"/>
                  <a:gd name="T69" fmla="*/ 272 h 287"/>
                  <a:gd name="T70" fmla="*/ 38 w 402"/>
                  <a:gd name="T71" fmla="*/ 270 h 287"/>
                  <a:gd name="T72" fmla="*/ 31 w 402"/>
                  <a:gd name="T73" fmla="*/ 262 h 287"/>
                  <a:gd name="T74" fmla="*/ 29 w 402"/>
                  <a:gd name="T75" fmla="*/ 255 h 287"/>
                  <a:gd name="T76" fmla="*/ 22 w 402"/>
                  <a:gd name="T77" fmla="*/ 250 h 287"/>
                  <a:gd name="T78" fmla="*/ 22 w 402"/>
                  <a:gd name="T79" fmla="*/ 245 h 287"/>
                  <a:gd name="T80" fmla="*/ 19 w 402"/>
                  <a:gd name="T81" fmla="*/ 241 h 287"/>
                  <a:gd name="T82" fmla="*/ 11 w 402"/>
                  <a:gd name="T83" fmla="*/ 241 h 287"/>
                  <a:gd name="T84" fmla="*/ 0 w 402"/>
                  <a:gd name="T85" fmla="*/ 235 h 287"/>
                  <a:gd name="T86" fmla="*/ 4 w 402"/>
                  <a:gd name="T87" fmla="*/ 211 h 287"/>
                  <a:gd name="T88" fmla="*/ 14 w 402"/>
                  <a:gd name="T89" fmla="*/ 187 h 287"/>
                  <a:gd name="T90" fmla="*/ 12 w 402"/>
                  <a:gd name="T91" fmla="*/ 172 h 287"/>
                  <a:gd name="T92" fmla="*/ 7 w 402"/>
                  <a:gd name="T93" fmla="*/ 163 h 287"/>
                  <a:gd name="T94" fmla="*/ 33 w 402"/>
                  <a:gd name="T95" fmla="*/ 155 h 287"/>
                  <a:gd name="T96" fmla="*/ 50 w 402"/>
                  <a:gd name="T97" fmla="*/ 148 h 287"/>
                  <a:gd name="T98" fmla="*/ 56 w 402"/>
                  <a:gd name="T99" fmla="*/ 131 h 287"/>
                  <a:gd name="T100" fmla="*/ 56 w 402"/>
                  <a:gd name="T101" fmla="*/ 119 h 287"/>
                  <a:gd name="T102" fmla="*/ 67 w 402"/>
                  <a:gd name="T103" fmla="*/ 107 h 287"/>
                  <a:gd name="T104" fmla="*/ 65 w 402"/>
                  <a:gd name="T105" fmla="*/ 93 h 287"/>
                  <a:gd name="T106" fmla="*/ 79 w 402"/>
                  <a:gd name="T107" fmla="*/ 83 h 287"/>
                  <a:gd name="T108" fmla="*/ 82 w 402"/>
                  <a:gd name="T109" fmla="*/ 85 h 287"/>
                  <a:gd name="T110" fmla="*/ 101 w 402"/>
                  <a:gd name="T111" fmla="*/ 95 h 287"/>
                  <a:gd name="T112" fmla="*/ 114 w 402"/>
                  <a:gd name="T113" fmla="*/ 76 h 287"/>
                  <a:gd name="T114" fmla="*/ 128 w 402"/>
                  <a:gd name="T115" fmla="*/ 71 h 287"/>
                  <a:gd name="T116" fmla="*/ 135 w 402"/>
                  <a:gd name="T117" fmla="*/ 54 h 287"/>
                  <a:gd name="T118" fmla="*/ 179 w 402"/>
                  <a:gd name="T119" fmla="*/ 31 h 287"/>
                  <a:gd name="T120" fmla="*/ 230 w 402"/>
                  <a:gd name="T121" fmla="*/ 10 h 287"/>
                  <a:gd name="T122" fmla="*/ 291 w 402"/>
                  <a:gd name="T123"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 h="287">
                    <a:moveTo>
                      <a:pt x="291" y="3"/>
                    </a:moveTo>
                    <a:lnTo>
                      <a:pt x="291" y="8"/>
                    </a:lnTo>
                    <a:lnTo>
                      <a:pt x="291" y="10"/>
                    </a:lnTo>
                    <a:lnTo>
                      <a:pt x="289" y="12"/>
                    </a:lnTo>
                    <a:lnTo>
                      <a:pt x="291" y="15"/>
                    </a:lnTo>
                    <a:lnTo>
                      <a:pt x="288" y="27"/>
                    </a:lnTo>
                    <a:lnTo>
                      <a:pt x="289" y="31"/>
                    </a:lnTo>
                    <a:lnTo>
                      <a:pt x="294" y="36"/>
                    </a:lnTo>
                    <a:lnTo>
                      <a:pt x="296" y="36"/>
                    </a:lnTo>
                    <a:lnTo>
                      <a:pt x="300" y="39"/>
                    </a:lnTo>
                    <a:lnTo>
                      <a:pt x="300" y="41"/>
                    </a:lnTo>
                    <a:lnTo>
                      <a:pt x="300" y="42"/>
                    </a:lnTo>
                    <a:lnTo>
                      <a:pt x="300" y="44"/>
                    </a:lnTo>
                    <a:lnTo>
                      <a:pt x="298" y="48"/>
                    </a:lnTo>
                    <a:lnTo>
                      <a:pt x="300" y="49"/>
                    </a:lnTo>
                    <a:lnTo>
                      <a:pt x="300" y="51"/>
                    </a:lnTo>
                    <a:lnTo>
                      <a:pt x="301" y="53"/>
                    </a:lnTo>
                    <a:lnTo>
                      <a:pt x="301" y="54"/>
                    </a:lnTo>
                    <a:lnTo>
                      <a:pt x="303" y="56"/>
                    </a:lnTo>
                    <a:lnTo>
                      <a:pt x="305" y="59"/>
                    </a:lnTo>
                    <a:lnTo>
                      <a:pt x="310" y="65"/>
                    </a:lnTo>
                    <a:lnTo>
                      <a:pt x="311" y="66"/>
                    </a:lnTo>
                    <a:lnTo>
                      <a:pt x="311" y="70"/>
                    </a:lnTo>
                    <a:lnTo>
                      <a:pt x="313" y="70"/>
                    </a:lnTo>
                    <a:lnTo>
                      <a:pt x="318" y="70"/>
                    </a:lnTo>
                    <a:lnTo>
                      <a:pt x="320" y="71"/>
                    </a:lnTo>
                    <a:lnTo>
                      <a:pt x="320" y="73"/>
                    </a:lnTo>
                    <a:lnTo>
                      <a:pt x="322" y="73"/>
                    </a:lnTo>
                    <a:lnTo>
                      <a:pt x="325" y="73"/>
                    </a:lnTo>
                    <a:lnTo>
                      <a:pt x="330" y="75"/>
                    </a:lnTo>
                    <a:lnTo>
                      <a:pt x="332" y="78"/>
                    </a:lnTo>
                    <a:lnTo>
                      <a:pt x="332" y="80"/>
                    </a:lnTo>
                    <a:lnTo>
                      <a:pt x="335" y="82"/>
                    </a:lnTo>
                    <a:lnTo>
                      <a:pt x="337" y="83"/>
                    </a:lnTo>
                    <a:lnTo>
                      <a:pt x="344" y="85"/>
                    </a:lnTo>
                    <a:lnTo>
                      <a:pt x="345" y="87"/>
                    </a:lnTo>
                    <a:lnTo>
                      <a:pt x="342" y="87"/>
                    </a:lnTo>
                    <a:lnTo>
                      <a:pt x="342" y="85"/>
                    </a:lnTo>
                    <a:lnTo>
                      <a:pt x="340" y="88"/>
                    </a:lnTo>
                    <a:lnTo>
                      <a:pt x="337" y="88"/>
                    </a:lnTo>
                    <a:lnTo>
                      <a:pt x="334" y="87"/>
                    </a:lnTo>
                    <a:lnTo>
                      <a:pt x="330" y="87"/>
                    </a:lnTo>
                    <a:lnTo>
                      <a:pt x="330" y="105"/>
                    </a:lnTo>
                    <a:lnTo>
                      <a:pt x="337" y="105"/>
                    </a:lnTo>
                    <a:lnTo>
                      <a:pt x="347" y="114"/>
                    </a:lnTo>
                    <a:lnTo>
                      <a:pt x="359" y="122"/>
                    </a:lnTo>
                    <a:lnTo>
                      <a:pt x="359" y="124"/>
                    </a:lnTo>
                    <a:lnTo>
                      <a:pt x="374" y="124"/>
                    </a:lnTo>
                    <a:lnTo>
                      <a:pt x="378" y="121"/>
                    </a:lnTo>
                    <a:lnTo>
                      <a:pt x="379" y="121"/>
                    </a:lnTo>
                    <a:lnTo>
                      <a:pt x="379" y="117"/>
                    </a:lnTo>
                    <a:lnTo>
                      <a:pt x="381" y="119"/>
                    </a:lnTo>
                    <a:lnTo>
                      <a:pt x="386" y="119"/>
                    </a:lnTo>
                    <a:lnTo>
                      <a:pt x="390" y="121"/>
                    </a:lnTo>
                    <a:lnTo>
                      <a:pt x="390" y="122"/>
                    </a:lnTo>
                    <a:lnTo>
                      <a:pt x="391" y="124"/>
                    </a:lnTo>
                    <a:lnTo>
                      <a:pt x="393" y="126"/>
                    </a:lnTo>
                    <a:lnTo>
                      <a:pt x="393" y="129"/>
                    </a:lnTo>
                    <a:lnTo>
                      <a:pt x="395" y="131"/>
                    </a:lnTo>
                    <a:lnTo>
                      <a:pt x="395" y="134"/>
                    </a:lnTo>
                    <a:lnTo>
                      <a:pt x="390" y="134"/>
                    </a:lnTo>
                    <a:lnTo>
                      <a:pt x="386" y="136"/>
                    </a:lnTo>
                    <a:lnTo>
                      <a:pt x="385" y="138"/>
                    </a:lnTo>
                    <a:lnTo>
                      <a:pt x="402" y="160"/>
                    </a:lnTo>
                    <a:lnTo>
                      <a:pt x="402" y="162"/>
                    </a:lnTo>
                    <a:lnTo>
                      <a:pt x="400" y="163"/>
                    </a:lnTo>
                    <a:lnTo>
                      <a:pt x="400" y="165"/>
                    </a:lnTo>
                    <a:lnTo>
                      <a:pt x="400" y="167"/>
                    </a:lnTo>
                    <a:lnTo>
                      <a:pt x="398" y="167"/>
                    </a:lnTo>
                    <a:lnTo>
                      <a:pt x="396" y="170"/>
                    </a:lnTo>
                    <a:lnTo>
                      <a:pt x="396" y="172"/>
                    </a:lnTo>
                    <a:lnTo>
                      <a:pt x="391" y="175"/>
                    </a:lnTo>
                    <a:lnTo>
                      <a:pt x="383" y="184"/>
                    </a:lnTo>
                    <a:lnTo>
                      <a:pt x="376" y="184"/>
                    </a:lnTo>
                    <a:lnTo>
                      <a:pt x="374" y="184"/>
                    </a:lnTo>
                    <a:lnTo>
                      <a:pt x="371" y="184"/>
                    </a:lnTo>
                    <a:lnTo>
                      <a:pt x="369" y="185"/>
                    </a:lnTo>
                    <a:lnTo>
                      <a:pt x="366" y="184"/>
                    </a:lnTo>
                    <a:lnTo>
                      <a:pt x="366" y="185"/>
                    </a:lnTo>
                    <a:lnTo>
                      <a:pt x="364" y="185"/>
                    </a:lnTo>
                    <a:lnTo>
                      <a:pt x="362" y="185"/>
                    </a:lnTo>
                    <a:lnTo>
                      <a:pt x="362" y="187"/>
                    </a:lnTo>
                    <a:lnTo>
                      <a:pt x="361" y="185"/>
                    </a:lnTo>
                    <a:lnTo>
                      <a:pt x="361" y="184"/>
                    </a:lnTo>
                    <a:lnTo>
                      <a:pt x="359" y="182"/>
                    </a:lnTo>
                    <a:lnTo>
                      <a:pt x="357" y="184"/>
                    </a:lnTo>
                    <a:lnTo>
                      <a:pt x="356" y="184"/>
                    </a:lnTo>
                    <a:lnTo>
                      <a:pt x="356" y="182"/>
                    </a:lnTo>
                    <a:lnTo>
                      <a:pt x="356" y="184"/>
                    </a:lnTo>
                    <a:lnTo>
                      <a:pt x="354" y="182"/>
                    </a:lnTo>
                    <a:lnTo>
                      <a:pt x="352" y="182"/>
                    </a:lnTo>
                    <a:lnTo>
                      <a:pt x="352" y="184"/>
                    </a:lnTo>
                    <a:lnTo>
                      <a:pt x="351" y="184"/>
                    </a:lnTo>
                    <a:lnTo>
                      <a:pt x="351" y="185"/>
                    </a:lnTo>
                    <a:lnTo>
                      <a:pt x="351" y="187"/>
                    </a:lnTo>
                    <a:lnTo>
                      <a:pt x="349" y="185"/>
                    </a:lnTo>
                    <a:lnTo>
                      <a:pt x="349" y="187"/>
                    </a:lnTo>
                    <a:lnTo>
                      <a:pt x="347" y="187"/>
                    </a:lnTo>
                    <a:lnTo>
                      <a:pt x="349" y="190"/>
                    </a:lnTo>
                    <a:lnTo>
                      <a:pt x="347" y="190"/>
                    </a:lnTo>
                    <a:lnTo>
                      <a:pt x="347" y="192"/>
                    </a:lnTo>
                    <a:lnTo>
                      <a:pt x="347" y="190"/>
                    </a:lnTo>
                    <a:lnTo>
                      <a:pt x="345" y="190"/>
                    </a:lnTo>
                    <a:lnTo>
                      <a:pt x="344" y="189"/>
                    </a:lnTo>
                    <a:lnTo>
                      <a:pt x="344" y="190"/>
                    </a:lnTo>
                    <a:lnTo>
                      <a:pt x="345" y="192"/>
                    </a:lnTo>
                    <a:lnTo>
                      <a:pt x="344" y="194"/>
                    </a:lnTo>
                    <a:lnTo>
                      <a:pt x="342" y="192"/>
                    </a:lnTo>
                    <a:lnTo>
                      <a:pt x="339" y="192"/>
                    </a:lnTo>
                    <a:lnTo>
                      <a:pt x="337" y="192"/>
                    </a:lnTo>
                    <a:lnTo>
                      <a:pt x="337" y="194"/>
                    </a:lnTo>
                    <a:lnTo>
                      <a:pt x="339" y="194"/>
                    </a:lnTo>
                    <a:lnTo>
                      <a:pt x="339" y="197"/>
                    </a:lnTo>
                    <a:lnTo>
                      <a:pt x="337" y="197"/>
                    </a:lnTo>
                    <a:lnTo>
                      <a:pt x="335" y="199"/>
                    </a:lnTo>
                    <a:lnTo>
                      <a:pt x="334" y="199"/>
                    </a:lnTo>
                    <a:lnTo>
                      <a:pt x="335" y="201"/>
                    </a:lnTo>
                    <a:lnTo>
                      <a:pt x="335" y="202"/>
                    </a:lnTo>
                    <a:lnTo>
                      <a:pt x="337" y="204"/>
                    </a:lnTo>
                    <a:lnTo>
                      <a:pt x="334" y="202"/>
                    </a:lnTo>
                    <a:lnTo>
                      <a:pt x="332" y="204"/>
                    </a:lnTo>
                    <a:lnTo>
                      <a:pt x="332" y="202"/>
                    </a:lnTo>
                    <a:lnTo>
                      <a:pt x="330" y="201"/>
                    </a:lnTo>
                    <a:lnTo>
                      <a:pt x="328" y="204"/>
                    </a:lnTo>
                    <a:lnTo>
                      <a:pt x="327" y="206"/>
                    </a:lnTo>
                    <a:lnTo>
                      <a:pt x="313" y="206"/>
                    </a:lnTo>
                    <a:lnTo>
                      <a:pt x="305" y="209"/>
                    </a:lnTo>
                    <a:lnTo>
                      <a:pt x="306" y="207"/>
                    </a:lnTo>
                    <a:lnTo>
                      <a:pt x="305" y="207"/>
                    </a:lnTo>
                    <a:lnTo>
                      <a:pt x="305" y="206"/>
                    </a:lnTo>
                    <a:lnTo>
                      <a:pt x="283" y="201"/>
                    </a:lnTo>
                    <a:lnTo>
                      <a:pt x="272" y="199"/>
                    </a:lnTo>
                    <a:lnTo>
                      <a:pt x="266" y="197"/>
                    </a:lnTo>
                    <a:lnTo>
                      <a:pt x="266" y="199"/>
                    </a:lnTo>
                    <a:lnTo>
                      <a:pt x="262" y="201"/>
                    </a:lnTo>
                    <a:lnTo>
                      <a:pt x="262" y="202"/>
                    </a:lnTo>
                    <a:lnTo>
                      <a:pt x="260" y="202"/>
                    </a:lnTo>
                    <a:lnTo>
                      <a:pt x="260" y="199"/>
                    </a:lnTo>
                    <a:lnTo>
                      <a:pt x="259" y="201"/>
                    </a:lnTo>
                    <a:lnTo>
                      <a:pt x="257" y="204"/>
                    </a:lnTo>
                    <a:lnTo>
                      <a:pt x="255" y="204"/>
                    </a:lnTo>
                    <a:lnTo>
                      <a:pt x="254" y="207"/>
                    </a:lnTo>
                    <a:lnTo>
                      <a:pt x="254" y="206"/>
                    </a:lnTo>
                    <a:lnTo>
                      <a:pt x="252" y="207"/>
                    </a:lnTo>
                    <a:lnTo>
                      <a:pt x="252" y="206"/>
                    </a:lnTo>
                    <a:lnTo>
                      <a:pt x="249" y="211"/>
                    </a:lnTo>
                    <a:lnTo>
                      <a:pt x="249" y="209"/>
                    </a:lnTo>
                    <a:lnTo>
                      <a:pt x="247" y="207"/>
                    </a:lnTo>
                    <a:lnTo>
                      <a:pt x="245" y="207"/>
                    </a:lnTo>
                    <a:lnTo>
                      <a:pt x="247" y="207"/>
                    </a:lnTo>
                    <a:lnTo>
                      <a:pt x="245" y="207"/>
                    </a:lnTo>
                    <a:lnTo>
                      <a:pt x="245" y="206"/>
                    </a:lnTo>
                    <a:lnTo>
                      <a:pt x="240" y="206"/>
                    </a:lnTo>
                    <a:lnTo>
                      <a:pt x="237" y="206"/>
                    </a:lnTo>
                    <a:lnTo>
                      <a:pt x="235" y="207"/>
                    </a:lnTo>
                    <a:lnTo>
                      <a:pt x="233" y="207"/>
                    </a:lnTo>
                    <a:lnTo>
                      <a:pt x="233" y="206"/>
                    </a:lnTo>
                    <a:lnTo>
                      <a:pt x="223" y="206"/>
                    </a:lnTo>
                    <a:lnTo>
                      <a:pt x="223" y="207"/>
                    </a:lnTo>
                    <a:lnTo>
                      <a:pt x="209" y="206"/>
                    </a:lnTo>
                    <a:lnTo>
                      <a:pt x="208" y="206"/>
                    </a:lnTo>
                    <a:lnTo>
                      <a:pt x="199" y="206"/>
                    </a:lnTo>
                    <a:lnTo>
                      <a:pt x="199" y="207"/>
                    </a:lnTo>
                    <a:lnTo>
                      <a:pt x="196" y="206"/>
                    </a:lnTo>
                    <a:lnTo>
                      <a:pt x="194" y="207"/>
                    </a:lnTo>
                    <a:lnTo>
                      <a:pt x="191" y="207"/>
                    </a:lnTo>
                    <a:lnTo>
                      <a:pt x="172" y="207"/>
                    </a:lnTo>
                    <a:lnTo>
                      <a:pt x="165" y="206"/>
                    </a:lnTo>
                    <a:lnTo>
                      <a:pt x="153" y="207"/>
                    </a:lnTo>
                    <a:lnTo>
                      <a:pt x="136" y="206"/>
                    </a:lnTo>
                    <a:lnTo>
                      <a:pt x="136" y="207"/>
                    </a:lnTo>
                    <a:lnTo>
                      <a:pt x="136" y="211"/>
                    </a:lnTo>
                    <a:lnTo>
                      <a:pt x="135" y="213"/>
                    </a:lnTo>
                    <a:lnTo>
                      <a:pt x="133" y="218"/>
                    </a:lnTo>
                    <a:lnTo>
                      <a:pt x="131" y="221"/>
                    </a:lnTo>
                    <a:lnTo>
                      <a:pt x="133" y="223"/>
                    </a:lnTo>
                    <a:lnTo>
                      <a:pt x="131" y="224"/>
                    </a:lnTo>
                    <a:lnTo>
                      <a:pt x="131" y="226"/>
                    </a:lnTo>
                    <a:lnTo>
                      <a:pt x="135" y="235"/>
                    </a:lnTo>
                    <a:lnTo>
                      <a:pt x="140" y="235"/>
                    </a:lnTo>
                    <a:lnTo>
                      <a:pt x="140" y="236"/>
                    </a:lnTo>
                    <a:lnTo>
                      <a:pt x="136" y="238"/>
                    </a:lnTo>
                    <a:lnTo>
                      <a:pt x="136" y="241"/>
                    </a:lnTo>
                    <a:lnTo>
                      <a:pt x="140" y="245"/>
                    </a:lnTo>
                    <a:lnTo>
                      <a:pt x="138" y="247"/>
                    </a:lnTo>
                    <a:lnTo>
                      <a:pt x="138" y="253"/>
                    </a:lnTo>
                    <a:lnTo>
                      <a:pt x="140" y="257"/>
                    </a:lnTo>
                    <a:lnTo>
                      <a:pt x="141" y="258"/>
                    </a:lnTo>
                    <a:lnTo>
                      <a:pt x="140" y="264"/>
                    </a:lnTo>
                    <a:lnTo>
                      <a:pt x="141" y="265"/>
                    </a:lnTo>
                    <a:lnTo>
                      <a:pt x="138" y="270"/>
                    </a:lnTo>
                    <a:lnTo>
                      <a:pt x="138" y="272"/>
                    </a:lnTo>
                    <a:lnTo>
                      <a:pt x="140" y="274"/>
                    </a:lnTo>
                    <a:lnTo>
                      <a:pt x="141" y="275"/>
                    </a:lnTo>
                    <a:lnTo>
                      <a:pt x="140" y="277"/>
                    </a:lnTo>
                    <a:lnTo>
                      <a:pt x="140" y="279"/>
                    </a:lnTo>
                    <a:lnTo>
                      <a:pt x="143" y="282"/>
                    </a:lnTo>
                    <a:lnTo>
                      <a:pt x="140" y="287"/>
                    </a:lnTo>
                    <a:lnTo>
                      <a:pt x="136" y="284"/>
                    </a:lnTo>
                    <a:lnTo>
                      <a:pt x="131" y="279"/>
                    </a:lnTo>
                    <a:lnTo>
                      <a:pt x="128" y="270"/>
                    </a:lnTo>
                    <a:lnTo>
                      <a:pt x="124" y="270"/>
                    </a:lnTo>
                    <a:lnTo>
                      <a:pt x="123" y="269"/>
                    </a:lnTo>
                    <a:lnTo>
                      <a:pt x="123" y="267"/>
                    </a:lnTo>
                    <a:lnTo>
                      <a:pt x="121" y="265"/>
                    </a:lnTo>
                    <a:lnTo>
                      <a:pt x="121" y="264"/>
                    </a:lnTo>
                    <a:lnTo>
                      <a:pt x="119" y="265"/>
                    </a:lnTo>
                    <a:lnTo>
                      <a:pt x="118" y="260"/>
                    </a:lnTo>
                    <a:lnTo>
                      <a:pt x="114" y="265"/>
                    </a:lnTo>
                    <a:lnTo>
                      <a:pt x="113" y="264"/>
                    </a:lnTo>
                    <a:lnTo>
                      <a:pt x="113" y="262"/>
                    </a:lnTo>
                    <a:lnTo>
                      <a:pt x="109" y="262"/>
                    </a:lnTo>
                    <a:lnTo>
                      <a:pt x="107" y="260"/>
                    </a:lnTo>
                    <a:lnTo>
                      <a:pt x="106" y="260"/>
                    </a:lnTo>
                    <a:lnTo>
                      <a:pt x="104" y="260"/>
                    </a:lnTo>
                    <a:lnTo>
                      <a:pt x="97" y="260"/>
                    </a:lnTo>
                    <a:lnTo>
                      <a:pt x="96" y="258"/>
                    </a:lnTo>
                    <a:lnTo>
                      <a:pt x="94" y="260"/>
                    </a:lnTo>
                    <a:lnTo>
                      <a:pt x="89" y="260"/>
                    </a:lnTo>
                    <a:lnTo>
                      <a:pt x="87" y="262"/>
                    </a:lnTo>
                    <a:lnTo>
                      <a:pt x="82" y="262"/>
                    </a:lnTo>
                    <a:lnTo>
                      <a:pt x="80" y="264"/>
                    </a:lnTo>
                    <a:lnTo>
                      <a:pt x="79" y="264"/>
                    </a:lnTo>
                    <a:lnTo>
                      <a:pt x="79" y="265"/>
                    </a:lnTo>
                    <a:lnTo>
                      <a:pt x="77" y="265"/>
                    </a:lnTo>
                    <a:lnTo>
                      <a:pt x="75" y="267"/>
                    </a:lnTo>
                    <a:lnTo>
                      <a:pt x="72" y="265"/>
                    </a:lnTo>
                    <a:lnTo>
                      <a:pt x="70" y="265"/>
                    </a:lnTo>
                    <a:lnTo>
                      <a:pt x="68" y="269"/>
                    </a:lnTo>
                    <a:lnTo>
                      <a:pt x="63" y="269"/>
                    </a:lnTo>
                    <a:lnTo>
                      <a:pt x="63" y="270"/>
                    </a:lnTo>
                    <a:lnTo>
                      <a:pt x="65" y="270"/>
                    </a:lnTo>
                    <a:lnTo>
                      <a:pt x="63" y="272"/>
                    </a:lnTo>
                    <a:lnTo>
                      <a:pt x="63" y="275"/>
                    </a:lnTo>
                    <a:lnTo>
                      <a:pt x="62" y="277"/>
                    </a:lnTo>
                    <a:lnTo>
                      <a:pt x="60" y="275"/>
                    </a:lnTo>
                    <a:lnTo>
                      <a:pt x="58" y="275"/>
                    </a:lnTo>
                    <a:lnTo>
                      <a:pt x="58" y="277"/>
                    </a:lnTo>
                    <a:lnTo>
                      <a:pt x="55" y="274"/>
                    </a:lnTo>
                    <a:lnTo>
                      <a:pt x="51" y="275"/>
                    </a:lnTo>
                    <a:lnTo>
                      <a:pt x="51" y="274"/>
                    </a:lnTo>
                    <a:lnTo>
                      <a:pt x="51" y="270"/>
                    </a:lnTo>
                    <a:lnTo>
                      <a:pt x="51" y="269"/>
                    </a:lnTo>
                    <a:lnTo>
                      <a:pt x="50" y="270"/>
                    </a:lnTo>
                    <a:lnTo>
                      <a:pt x="48" y="272"/>
                    </a:lnTo>
                    <a:lnTo>
                      <a:pt x="46" y="270"/>
                    </a:lnTo>
                    <a:lnTo>
                      <a:pt x="46" y="272"/>
                    </a:lnTo>
                    <a:lnTo>
                      <a:pt x="45" y="272"/>
                    </a:lnTo>
                    <a:lnTo>
                      <a:pt x="43" y="274"/>
                    </a:lnTo>
                    <a:lnTo>
                      <a:pt x="39" y="270"/>
                    </a:lnTo>
                    <a:lnTo>
                      <a:pt x="39" y="269"/>
                    </a:lnTo>
                    <a:lnTo>
                      <a:pt x="38" y="270"/>
                    </a:lnTo>
                    <a:lnTo>
                      <a:pt x="36" y="269"/>
                    </a:lnTo>
                    <a:lnTo>
                      <a:pt x="38" y="269"/>
                    </a:lnTo>
                    <a:lnTo>
                      <a:pt x="38" y="265"/>
                    </a:lnTo>
                    <a:lnTo>
                      <a:pt x="36" y="265"/>
                    </a:lnTo>
                    <a:lnTo>
                      <a:pt x="36" y="264"/>
                    </a:lnTo>
                    <a:lnTo>
                      <a:pt x="33" y="264"/>
                    </a:lnTo>
                    <a:lnTo>
                      <a:pt x="31" y="262"/>
                    </a:lnTo>
                    <a:lnTo>
                      <a:pt x="31" y="264"/>
                    </a:lnTo>
                    <a:lnTo>
                      <a:pt x="28" y="262"/>
                    </a:lnTo>
                    <a:lnTo>
                      <a:pt x="29" y="260"/>
                    </a:lnTo>
                    <a:lnTo>
                      <a:pt x="29" y="258"/>
                    </a:lnTo>
                    <a:lnTo>
                      <a:pt x="28" y="257"/>
                    </a:lnTo>
                    <a:lnTo>
                      <a:pt x="29" y="257"/>
                    </a:lnTo>
                    <a:lnTo>
                      <a:pt x="29" y="255"/>
                    </a:lnTo>
                    <a:lnTo>
                      <a:pt x="28" y="255"/>
                    </a:lnTo>
                    <a:lnTo>
                      <a:pt x="26" y="253"/>
                    </a:lnTo>
                    <a:lnTo>
                      <a:pt x="28" y="252"/>
                    </a:lnTo>
                    <a:lnTo>
                      <a:pt x="24" y="253"/>
                    </a:lnTo>
                    <a:lnTo>
                      <a:pt x="24" y="252"/>
                    </a:lnTo>
                    <a:lnTo>
                      <a:pt x="22" y="252"/>
                    </a:lnTo>
                    <a:lnTo>
                      <a:pt x="22" y="250"/>
                    </a:lnTo>
                    <a:lnTo>
                      <a:pt x="24" y="252"/>
                    </a:lnTo>
                    <a:lnTo>
                      <a:pt x="24" y="250"/>
                    </a:lnTo>
                    <a:lnTo>
                      <a:pt x="22" y="250"/>
                    </a:lnTo>
                    <a:lnTo>
                      <a:pt x="24" y="248"/>
                    </a:lnTo>
                    <a:lnTo>
                      <a:pt x="21" y="248"/>
                    </a:lnTo>
                    <a:lnTo>
                      <a:pt x="22" y="247"/>
                    </a:lnTo>
                    <a:lnTo>
                      <a:pt x="22" y="245"/>
                    </a:lnTo>
                    <a:lnTo>
                      <a:pt x="21" y="247"/>
                    </a:lnTo>
                    <a:lnTo>
                      <a:pt x="21" y="245"/>
                    </a:lnTo>
                    <a:lnTo>
                      <a:pt x="21" y="243"/>
                    </a:lnTo>
                    <a:lnTo>
                      <a:pt x="22" y="243"/>
                    </a:lnTo>
                    <a:lnTo>
                      <a:pt x="21" y="243"/>
                    </a:lnTo>
                    <a:lnTo>
                      <a:pt x="21" y="241"/>
                    </a:lnTo>
                    <a:lnTo>
                      <a:pt x="19" y="241"/>
                    </a:lnTo>
                    <a:lnTo>
                      <a:pt x="17" y="241"/>
                    </a:lnTo>
                    <a:lnTo>
                      <a:pt x="17" y="240"/>
                    </a:lnTo>
                    <a:lnTo>
                      <a:pt x="16" y="241"/>
                    </a:lnTo>
                    <a:lnTo>
                      <a:pt x="12" y="241"/>
                    </a:lnTo>
                    <a:lnTo>
                      <a:pt x="12" y="240"/>
                    </a:lnTo>
                    <a:lnTo>
                      <a:pt x="12" y="241"/>
                    </a:lnTo>
                    <a:lnTo>
                      <a:pt x="11" y="241"/>
                    </a:lnTo>
                    <a:lnTo>
                      <a:pt x="9" y="241"/>
                    </a:lnTo>
                    <a:lnTo>
                      <a:pt x="9" y="243"/>
                    </a:lnTo>
                    <a:lnTo>
                      <a:pt x="7" y="241"/>
                    </a:lnTo>
                    <a:lnTo>
                      <a:pt x="4" y="240"/>
                    </a:lnTo>
                    <a:lnTo>
                      <a:pt x="4" y="238"/>
                    </a:lnTo>
                    <a:lnTo>
                      <a:pt x="2" y="238"/>
                    </a:lnTo>
                    <a:lnTo>
                      <a:pt x="0" y="235"/>
                    </a:lnTo>
                    <a:lnTo>
                      <a:pt x="4" y="228"/>
                    </a:lnTo>
                    <a:lnTo>
                      <a:pt x="4" y="226"/>
                    </a:lnTo>
                    <a:lnTo>
                      <a:pt x="2" y="224"/>
                    </a:lnTo>
                    <a:lnTo>
                      <a:pt x="2" y="218"/>
                    </a:lnTo>
                    <a:lnTo>
                      <a:pt x="4" y="218"/>
                    </a:lnTo>
                    <a:lnTo>
                      <a:pt x="5" y="214"/>
                    </a:lnTo>
                    <a:lnTo>
                      <a:pt x="4" y="211"/>
                    </a:lnTo>
                    <a:lnTo>
                      <a:pt x="2" y="207"/>
                    </a:lnTo>
                    <a:lnTo>
                      <a:pt x="2" y="202"/>
                    </a:lnTo>
                    <a:lnTo>
                      <a:pt x="7" y="201"/>
                    </a:lnTo>
                    <a:lnTo>
                      <a:pt x="11" y="199"/>
                    </a:lnTo>
                    <a:lnTo>
                      <a:pt x="11" y="196"/>
                    </a:lnTo>
                    <a:lnTo>
                      <a:pt x="14" y="194"/>
                    </a:lnTo>
                    <a:lnTo>
                      <a:pt x="14" y="187"/>
                    </a:lnTo>
                    <a:lnTo>
                      <a:pt x="17" y="184"/>
                    </a:lnTo>
                    <a:lnTo>
                      <a:pt x="16" y="182"/>
                    </a:lnTo>
                    <a:lnTo>
                      <a:pt x="16" y="179"/>
                    </a:lnTo>
                    <a:lnTo>
                      <a:pt x="16" y="177"/>
                    </a:lnTo>
                    <a:lnTo>
                      <a:pt x="14" y="175"/>
                    </a:lnTo>
                    <a:lnTo>
                      <a:pt x="12" y="175"/>
                    </a:lnTo>
                    <a:lnTo>
                      <a:pt x="12" y="172"/>
                    </a:lnTo>
                    <a:lnTo>
                      <a:pt x="14" y="167"/>
                    </a:lnTo>
                    <a:lnTo>
                      <a:pt x="12" y="168"/>
                    </a:lnTo>
                    <a:lnTo>
                      <a:pt x="11" y="165"/>
                    </a:lnTo>
                    <a:lnTo>
                      <a:pt x="9" y="165"/>
                    </a:lnTo>
                    <a:lnTo>
                      <a:pt x="9" y="167"/>
                    </a:lnTo>
                    <a:lnTo>
                      <a:pt x="5" y="165"/>
                    </a:lnTo>
                    <a:lnTo>
                      <a:pt x="7" y="163"/>
                    </a:lnTo>
                    <a:lnTo>
                      <a:pt x="9" y="165"/>
                    </a:lnTo>
                    <a:lnTo>
                      <a:pt x="11" y="163"/>
                    </a:lnTo>
                    <a:lnTo>
                      <a:pt x="12" y="163"/>
                    </a:lnTo>
                    <a:lnTo>
                      <a:pt x="14" y="163"/>
                    </a:lnTo>
                    <a:lnTo>
                      <a:pt x="17" y="160"/>
                    </a:lnTo>
                    <a:lnTo>
                      <a:pt x="22" y="156"/>
                    </a:lnTo>
                    <a:lnTo>
                      <a:pt x="33" y="155"/>
                    </a:lnTo>
                    <a:lnTo>
                      <a:pt x="34" y="155"/>
                    </a:lnTo>
                    <a:lnTo>
                      <a:pt x="39" y="155"/>
                    </a:lnTo>
                    <a:lnTo>
                      <a:pt x="41" y="153"/>
                    </a:lnTo>
                    <a:lnTo>
                      <a:pt x="45" y="153"/>
                    </a:lnTo>
                    <a:lnTo>
                      <a:pt x="46" y="150"/>
                    </a:lnTo>
                    <a:lnTo>
                      <a:pt x="46" y="148"/>
                    </a:lnTo>
                    <a:lnTo>
                      <a:pt x="50" y="148"/>
                    </a:lnTo>
                    <a:lnTo>
                      <a:pt x="48" y="145"/>
                    </a:lnTo>
                    <a:lnTo>
                      <a:pt x="53" y="141"/>
                    </a:lnTo>
                    <a:lnTo>
                      <a:pt x="53" y="139"/>
                    </a:lnTo>
                    <a:lnTo>
                      <a:pt x="55" y="139"/>
                    </a:lnTo>
                    <a:lnTo>
                      <a:pt x="56" y="139"/>
                    </a:lnTo>
                    <a:lnTo>
                      <a:pt x="55" y="134"/>
                    </a:lnTo>
                    <a:lnTo>
                      <a:pt x="56" y="131"/>
                    </a:lnTo>
                    <a:lnTo>
                      <a:pt x="58" y="129"/>
                    </a:lnTo>
                    <a:lnTo>
                      <a:pt x="56" y="128"/>
                    </a:lnTo>
                    <a:lnTo>
                      <a:pt x="56" y="124"/>
                    </a:lnTo>
                    <a:lnTo>
                      <a:pt x="55" y="124"/>
                    </a:lnTo>
                    <a:lnTo>
                      <a:pt x="53" y="122"/>
                    </a:lnTo>
                    <a:lnTo>
                      <a:pt x="53" y="119"/>
                    </a:lnTo>
                    <a:lnTo>
                      <a:pt x="56" y="119"/>
                    </a:lnTo>
                    <a:lnTo>
                      <a:pt x="60" y="117"/>
                    </a:lnTo>
                    <a:lnTo>
                      <a:pt x="62" y="119"/>
                    </a:lnTo>
                    <a:lnTo>
                      <a:pt x="63" y="119"/>
                    </a:lnTo>
                    <a:lnTo>
                      <a:pt x="65" y="119"/>
                    </a:lnTo>
                    <a:lnTo>
                      <a:pt x="67" y="114"/>
                    </a:lnTo>
                    <a:lnTo>
                      <a:pt x="67" y="112"/>
                    </a:lnTo>
                    <a:lnTo>
                      <a:pt x="67" y="107"/>
                    </a:lnTo>
                    <a:lnTo>
                      <a:pt x="63" y="105"/>
                    </a:lnTo>
                    <a:lnTo>
                      <a:pt x="63" y="104"/>
                    </a:lnTo>
                    <a:lnTo>
                      <a:pt x="60" y="99"/>
                    </a:lnTo>
                    <a:lnTo>
                      <a:pt x="60" y="97"/>
                    </a:lnTo>
                    <a:lnTo>
                      <a:pt x="63" y="95"/>
                    </a:lnTo>
                    <a:lnTo>
                      <a:pt x="67" y="95"/>
                    </a:lnTo>
                    <a:lnTo>
                      <a:pt x="65" y="93"/>
                    </a:lnTo>
                    <a:lnTo>
                      <a:pt x="70" y="90"/>
                    </a:lnTo>
                    <a:lnTo>
                      <a:pt x="72" y="88"/>
                    </a:lnTo>
                    <a:lnTo>
                      <a:pt x="72" y="85"/>
                    </a:lnTo>
                    <a:lnTo>
                      <a:pt x="73" y="85"/>
                    </a:lnTo>
                    <a:lnTo>
                      <a:pt x="75" y="85"/>
                    </a:lnTo>
                    <a:lnTo>
                      <a:pt x="77" y="83"/>
                    </a:lnTo>
                    <a:lnTo>
                      <a:pt x="79" y="83"/>
                    </a:lnTo>
                    <a:lnTo>
                      <a:pt x="79" y="82"/>
                    </a:lnTo>
                    <a:lnTo>
                      <a:pt x="79" y="80"/>
                    </a:lnTo>
                    <a:lnTo>
                      <a:pt x="80" y="80"/>
                    </a:lnTo>
                    <a:lnTo>
                      <a:pt x="80" y="82"/>
                    </a:lnTo>
                    <a:lnTo>
                      <a:pt x="82" y="82"/>
                    </a:lnTo>
                    <a:lnTo>
                      <a:pt x="79" y="85"/>
                    </a:lnTo>
                    <a:lnTo>
                      <a:pt x="82" y="85"/>
                    </a:lnTo>
                    <a:lnTo>
                      <a:pt x="85" y="87"/>
                    </a:lnTo>
                    <a:lnTo>
                      <a:pt x="87" y="87"/>
                    </a:lnTo>
                    <a:lnTo>
                      <a:pt x="90" y="88"/>
                    </a:lnTo>
                    <a:lnTo>
                      <a:pt x="90" y="90"/>
                    </a:lnTo>
                    <a:lnTo>
                      <a:pt x="94" y="92"/>
                    </a:lnTo>
                    <a:lnTo>
                      <a:pt x="97" y="93"/>
                    </a:lnTo>
                    <a:lnTo>
                      <a:pt x="101" y="95"/>
                    </a:lnTo>
                    <a:lnTo>
                      <a:pt x="101" y="97"/>
                    </a:lnTo>
                    <a:lnTo>
                      <a:pt x="106" y="97"/>
                    </a:lnTo>
                    <a:lnTo>
                      <a:pt x="106" y="95"/>
                    </a:lnTo>
                    <a:lnTo>
                      <a:pt x="106" y="92"/>
                    </a:lnTo>
                    <a:lnTo>
                      <a:pt x="106" y="90"/>
                    </a:lnTo>
                    <a:lnTo>
                      <a:pt x="116" y="90"/>
                    </a:lnTo>
                    <a:lnTo>
                      <a:pt x="114" y="76"/>
                    </a:lnTo>
                    <a:lnTo>
                      <a:pt x="116" y="75"/>
                    </a:lnTo>
                    <a:lnTo>
                      <a:pt x="116" y="70"/>
                    </a:lnTo>
                    <a:lnTo>
                      <a:pt x="116" y="71"/>
                    </a:lnTo>
                    <a:lnTo>
                      <a:pt x="123" y="70"/>
                    </a:lnTo>
                    <a:lnTo>
                      <a:pt x="124" y="71"/>
                    </a:lnTo>
                    <a:lnTo>
                      <a:pt x="126" y="73"/>
                    </a:lnTo>
                    <a:lnTo>
                      <a:pt x="128" y="71"/>
                    </a:lnTo>
                    <a:lnTo>
                      <a:pt x="130" y="71"/>
                    </a:lnTo>
                    <a:lnTo>
                      <a:pt x="131" y="73"/>
                    </a:lnTo>
                    <a:lnTo>
                      <a:pt x="135" y="71"/>
                    </a:lnTo>
                    <a:lnTo>
                      <a:pt x="133" y="68"/>
                    </a:lnTo>
                    <a:lnTo>
                      <a:pt x="133" y="63"/>
                    </a:lnTo>
                    <a:lnTo>
                      <a:pt x="136" y="54"/>
                    </a:lnTo>
                    <a:lnTo>
                      <a:pt x="135" y="54"/>
                    </a:lnTo>
                    <a:lnTo>
                      <a:pt x="136" y="51"/>
                    </a:lnTo>
                    <a:lnTo>
                      <a:pt x="145" y="48"/>
                    </a:lnTo>
                    <a:lnTo>
                      <a:pt x="155" y="39"/>
                    </a:lnTo>
                    <a:lnTo>
                      <a:pt x="164" y="41"/>
                    </a:lnTo>
                    <a:lnTo>
                      <a:pt x="174" y="48"/>
                    </a:lnTo>
                    <a:lnTo>
                      <a:pt x="179" y="44"/>
                    </a:lnTo>
                    <a:lnTo>
                      <a:pt x="179" y="31"/>
                    </a:lnTo>
                    <a:lnTo>
                      <a:pt x="184" y="29"/>
                    </a:lnTo>
                    <a:lnTo>
                      <a:pt x="191" y="31"/>
                    </a:lnTo>
                    <a:lnTo>
                      <a:pt x="196" y="29"/>
                    </a:lnTo>
                    <a:lnTo>
                      <a:pt x="213" y="17"/>
                    </a:lnTo>
                    <a:lnTo>
                      <a:pt x="226" y="15"/>
                    </a:lnTo>
                    <a:lnTo>
                      <a:pt x="230" y="12"/>
                    </a:lnTo>
                    <a:lnTo>
                      <a:pt x="230" y="10"/>
                    </a:lnTo>
                    <a:lnTo>
                      <a:pt x="243" y="0"/>
                    </a:lnTo>
                    <a:lnTo>
                      <a:pt x="257" y="0"/>
                    </a:lnTo>
                    <a:lnTo>
                      <a:pt x="260" y="3"/>
                    </a:lnTo>
                    <a:lnTo>
                      <a:pt x="267" y="0"/>
                    </a:lnTo>
                    <a:lnTo>
                      <a:pt x="283" y="5"/>
                    </a:lnTo>
                    <a:lnTo>
                      <a:pt x="288" y="5"/>
                    </a:lnTo>
                    <a:lnTo>
                      <a:pt x="291" y="3"/>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18" name="Freeform 15">
                <a:extLst>
                  <a:ext uri="{FF2B5EF4-FFF2-40B4-BE49-F238E27FC236}">
                    <a16:creationId xmlns:a16="http://schemas.microsoft.com/office/drawing/2014/main" id="{470C3519-6B06-41D5-ACF6-34E24EC970B5}"/>
                  </a:ext>
                </a:extLst>
              </p:cNvPr>
              <p:cNvSpPr>
                <a:spLocks/>
              </p:cNvSpPr>
              <p:nvPr/>
            </p:nvSpPr>
            <p:spPr bwMode="gray">
              <a:xfrm>
                <a:off x="6907213" y="3640138"/>
                <a:ext cx="147636" cy="173038"/>
              </a:xfrm>
              <a:custGeom>
                <a:avLst/>
                <a:gdLst>
                  <a:gd name="T0" fmla="*/ 76 w 93"/>
                  <a:gd name="T1" fmla="*/ 10 h 109"/>
                  <a:gd name="T2" fmla="*/ 75 w 93"/>
                  <a:gd name="T3" fmla="*/ 19 h 109"/>
                  <a:gd name="T4" fmla="*/ 73 w 93"/>
                  <a:gd name="T5" fmla="*/ 22 h 109"/>
                  <a:gd name="T6" fmla="*/ 73 w 93"/>
                  <a:gd name="T7" fmla="*/ 29 h 109"/>
                  <a:gd name="T8" fmla="*/ 80 w 93"/>
                  <a:gd name="T9" fmla="*/ 29 h 109"/>
                  <a:gd name="T10" fmla="*/ 87 w 93"/>
                  <a:gd name="T11" fmla="*/ 32 h 109"/>
                  <a:gd name="T12" fmla="*/ 93 w 93"/>
                  <a:gd name="T13" fmla="*/ 32 h 109"/>
                  <a:gd name="T14" fmla="*/ 93 w 93"/>
                  <a:gd name="T15" fmla="*/ 43 h 109"/>
                  <a:gd name="T16" fmla="*/ 93 w 93"/>
                  <a:gd name="T17" fmla="*/ 48 h 109"/>
                  <a:gd name="T18" fmla="*/ 88 w 93"/>
                  <a:gd name="T19" fmla="*/ 49 h 109"/>
                  <a:gd name="T20" fmla="*/ 85 w 93"/>
                  <a:gd name="T21" fmla="*/ 55 h 109"/>
                  <a:gd name="T22" fmla="*/ 76 w 93"/>
                  <a:gd name="T23" fmla="*/ 61 h 109"/>
                  <a:gd name="T24" fmla="*/ 71 w 93"/>
                  <a:gd name="T25" fmla="*/ 72 h 109"/>
                  <a:gd name="T26" fmla="*/ 68 w 93"/>
                  <a:gd name="T27" fmla="*/ 75 h 109"/>
                  <a:gd name="T28" fmla="*/ 63 w 93"/>
                  <a:gd name="T29" fmla="*/ 82 h 109"/>
                  <a:gd name="T30" fmla="*/ 63 w 93"/>
                  <a:gd name="T31" fmla="*/ 87 h 109"/>
                  <a:gd name="T32" fmla="*/ 59 w 93"/>
                  <a:gd name="T33" fmla="*/ 90 h 109"/>
                  <a:gd name="T34" fmla="*/ 49 w 93"/>
                  <a:gd name="T35" fmla="*/ 100 h 109"/>
                  <a:gd name="T36" fmla="*/ 44 w 93"/>
                  <a:gd name="T37" fmla="*/ 104 h 109"/>
                  <a:gd name="T38" fmla="*/ 39 w 93"/>
                  <a:gd name="T39" fmla="*/ 109 h 109"/>
                  <a:gd name="T40" fmla="*/ 20 w 93"/>
                  <a:gd name="T41" fmla="*/ 94 h 109"/>
                  <a:gd name="T42" fmla="*/ 12 w 93"/>
                  <a:gd name="T43" fmla="*/ 75 h 109"/>
                  <a:gd name="T44" fmla="*/ 15 w 93"/>
                  <a:gd name="T45" fmla="*/ 51 h 109"/>
                  <a:gd name="T46" fmla="*/ 12 w 93"/>
                  <a:gd name="T47" fmla="*/ 44 h 109"/>
                  <a:gd name="T48" fmla="*/ 13 w 93"/>
                  <a:gd name="T49" fmla="*/ 39 h 109"/>
                  <a:gd name="T50" fmla="*/ 10 w 93"/>
                  <a:gd name="T51" fmla="*/ 36 h 109"/>
                  <a:gd name="T52" fmla="*/ 8 w 93"/>
                  <a:gd name="T53" fmla="*/ 32 h 109"/>
                  <a:gd name="T54" fmla="*/ 3 w 93"/>
                  <a:gd name="T55" fmla="*/ 27 h 109"/>
                  <a:gd name="T56" fmla="*/ 0 w 93"/>
                  <a:gd name="T57" fmla="*/ 24 h 109"/>
                  <a:gd name="T58" fmla="*/ 3 w 93"/>
                  <a:gd name="T59" fmla="*/ 15 h 109"/>
                  <a:gd name="T60" fmla="*/ 8 w 93"/>
                  <a:gd name="T61" fmla="*/ 14 h 109"/>
                  <a:gd name="T62" fmla="*/ 17 w 93"/>
                  <a:gd name="T63" fmla="*/ 17 h 109"/>
                  <a:gd name="T64" fmla="*/ 17 w 93"/>
                  <a:gd name="T65" fmla="*/ 22 h 109"/>
                  <a:gd name="T66" fmla="*/ 24 w 93"/>
                  <a:gd name="T67" fmla="*/ 26 h 109"/>
                  <a:gd name="T68" fmla="*/ 30 w 93"/>
                  <a:gd name="T69" fmla="*/ 24 h 109"/>
                  <a:gd name="T70" fmla="*/ 36 w 93"/>
                  <a:gd name="T71" fmla="*/ 26 h 109"/>
                  <a:gd name="T72" fmla="*/ 41 w 93"/>
                  <a:gd name="T73" fmla="*/ 22 h 109"/>
                  <a:gd name="T74" fmla="*/ 47 w 93"/>
                  <a:gd name="T75" fmla="*/ 19 h 109"/>
                  <a:gd name="T76" fmla="*/ 49 w 93"/>
                  <a:gd name="T77" fmla="*/ 7 h 109"/>
                  <a:gd name="T78" fmla="*/ 53 w 93"/>
                  <a:gd name="T79" fmla="*/ 2 h 109"/>
                  <a:gd name="T80" fmla="*/ 61 w 93"/>
                  <a:gd name="T81" fmla="*/ 5 h 109"/>
                  <a:gd name="T82" fmla="*/ 66 w 93"/>
                  <a:gd name="T83" fmla="*/ 3 h 109"/>
                  <a:gd name="T84" fmla="*/ 71 w 93"/>
                  <a:gd name="T85" fmla="*/ 0 h 109"/>
                  <a:gd name="T86" fmla="*/ 75 w 93"/>
                  <a:gd name="T87"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09">
                    <a:moveTo>
                      <a:pt x="78" y="5"/>
                    </a:moveTo>
                    <a:lnTo>
                      <a:pt x="76" y="9"/>
                    </a:lnTo>
                    <a:lnTo>
                      <a:pt x="76" y="10"/>
                    </a:lnTo>
                    <a:lnTo>
                      <a:pt x="76" y="12"/>
                    </a:lnTo>
                    <a:lnTo>
                      <a:pt x="73" y="17"/>
                    </a:lnTo>
                    <a:lnTo>
                      <a:pt x="75" y="19"/>
                    </a:lnTo>
                    <a:lnTo>
                      <a:pt x="78" y="17"/>
                    </a:lnTo>
                    <a:lnTo>
                      <a:pt x="78" y="19"/>
                    </a:lnTo>
                    <a:lnTo>
                      <a:pt x="73" y="22"/>
                    </a:lnTo>
                    <a:lnTo>
                      <a:pt x="73" y="24"/>
                    </a:lnTo>
                    <a:lnTo>
                      <a:pt x="71" y="27"/>
                    </a:lnTo>
                    <a:lnTo>
                      <a:pt x="73" y="29"/>
                    </a:lnTo>
                    <a:lnTo>
                      <a:pt x="73" y="31"/>
                    </a:lnTo>
                    <a:lnTo>
                      <a:pt x="76" y="32"/>
                    </a:lnTo>
                    <a:lnTo>
                      <a:pt x="80" y="29"/>
                    </a:lnTo>
                    <a:lnTo>
                      <a:pt x="83" y="32"/>
                    </a:lnTo>
                    <a:lnTo>
                      <a:pt x="85" y="34"/>
                    </a:lnTo>
                    <a:lnTo>
                      <a:pt x="87" y="32"/>
                    </a:lnTo>
                    <a:lnTo>
                      <a:pt x="88" y="34"/>
                    </a:lnTo>
                    <a:lnTo>
                      <a:pt x="90" y="34"/>
                    </a:lnTo>
                    <a:lnTo>
                      <a:pt x="93" y="32"/>
                    </a:lnTo>
                    <a:lnTo>
                      <a:pt x="92" y="38"/>
                    </a:lnTo>
                    <a:lnTo>
                      <a:pt x="93" y="39"/>
                    </a:lnTo>
                    <a:lnTo>
                      <a:pt x="93" y="43"/>
                    </a:lnTo>
                    <a:lnTo>
                      <a:pt x="93" y="44"/>
                    </a:lnTo>
                    <a:lnTo>
                      <a:pt x="92" y="46"/>
                    </a:lnTo>
                    <a:lnTo>
                      <a:pt x="93" y="48"/>
                    </a:lnTo>
                    <a:lnTo>
                      <a:pt x="90" y="49"/>
                    </a:lnTo>
                    <a:lnTo>
                      <a:pt x="88" y="48"/>
                    </a:lnTo>
                    <a:lnTo>
                      <a:pt x="88" y="49"/>
                    </a:lnTo>
                    <a:lnTo>
                      <a:pt x="85" y="51"/>
                    </a:lnTo>
                    <a:lnTo>
                      <a:pt x="83" y="53"/>
                    </a:lnTo>
                    <a:lnTo>
                      <a:pt x="85" y="55"/>
                    </a:lnTo>
                    <a:lnTo>
                      <a:pt x="85" y="56"/>
                    </a:lnTo>
                    <a:lnTo>
                      <a:pt x="78" y="61"/>
                    </a:lnTo>
                    <a:lnTo>
                      <a:pt x="76" y="61"/>
                    </a:lnTo>
                    <a:lnTo>
                      <a:pt x="73" y="63"/>
                    </a:lnTo>
                    <a:lnTo>
                      <a:pt x="73" y="65"/>
                    </a:lnTo>
                    <a:lnTo>
                      <a:pt x="71" y="72"/>
                    </a:lnTo>
                    <a:lnTo>
                      <a:pt x="71" y="75"/>
                    </a:lnTo>
                    <a:lnTo>
                      <a:pt x="70" y="73"/>
                    </a:lnTo>
                    <a:lnTo>
                      <a:pt x="68" y="75"/>
                    </a:lnTo>
                    <a:lnTo>
                      <a:pt x="66" y="77"/>
                    </a:lnTo>
                    <a:lnTo>
                      <a:pt x="64" y="80"/>
                    </a:lnTo>
                    <a:lnTo>
                      <a:pt x="63" y="82"/>
                    </a:lnTo>
                    <a:lnTo>
                      <a:pt x="61" y="85"/>
                    </a:lnTo>
                    <a:lnTo>
                      <a:pt x="63" y="85"/>
                    </a:lnTo>
                    <a:lnTo>
                      <a:pt x="63" y="87"/>
                    </a:lnTo>
                    <a:lnTo>
                      <a:pt x="61" y="87"/>
                    </a:lnTo>
                    <a:lnTo>
                      <a:pt x="61" y="90"/>
                    </a:lnTo>
                    <a:lnTo>
                      <a:pt x="59" y="90"/>
                    </a:lnTo>
                    <a:lnTo>
                      <a:pt x="54" y="94"/>
                    </a:lnTo>
                    <a:lnTo>
                      <a:pt x="53" y="99"/>
                    </a:lnTo>
                    <a:lnTo>
                      <a:pt x="49" y="100"/>
                    </a:lnTo>
                    <a:lnTo>
                      <a:pt x="49" y="102"/>
                    </a:lnTo>
                    <a:lnTo>
                      <a:pt x="46" y="104"/>
                    </a:lnTo>
                    <a:lnTo>
                      <a:pt x="44" y="104"/>
                    </a:lnTo>
                    <a:lnTo>
                      <a:pt x="41" y="104"/>
                    </a:lnTo>
                    <a:lnTo>
                      <a:pt x="39" y="107"/>
                    </a:lnTo>
                    <a:lnTo>
                      <a:pt x="39" y="109"/>
                    </a:lnTo>
                    <a:lnTo>
                      <a:pt x="34" y="107"/>
                    </a:lnTo>
                    <a:lnTo>
                      <a:pt x="20" y="107"/>
                    </a:lnTo>
                    <a:lnTo>
                      <a:pt x="20" y="94"/>
                    </a:lnTo>
                    <a:lnTo>
                      <a:pt x="19" y="89"/>
                    </a:lnTo>
                    <a:lnTo>
                      <a:pt x="15" y="82"/>
                    </a:lnTo>
                    <a:lnTo>
                      <a:pt x="12" y="75"/>
                    </a:lnTo>
                    <a:lnTo>
                      <a:pt x="12" y="70"/>
                    </a:lnTo>
                    <a:lnTo>
                      <a:pt x="13" y="56"/>
                    </a:lnTo>
                    <a:lnTo>
                      <a:pt x="15" y="51"/>
                    </a:lnTo>
                    <a:lnTo>
                      <a:pt x="12" y="48"/>
                    </a:lnTo>
                    <a:lnTo>
                      <a:pt x="12" y="46"/>
                    </a:lnTo>
                    <a:lnTo>
                      <a:pt x="12" y="44"/>
                    </a:lnTo>
                    <a:lnTo>
                      <a:pt x="12" y="43"/>
                    </a:lnTo>
                    <a:lnTo>
                      <a:pt x="13" y="41"/>
                    </a:lnTo>
                    <a:lnTo>
                      <a:pt x="13" y="39"/>
                    </a:lnTo>
                    <a:lnTo>
                      <a:pt x="13" y="38"/>
                    </a:lnTo>
                    <a:lnTo>
                      <a:pt x="12" y="36"/>
                    </a:lnTo>
                    <a:lnTo>
                      <a:pt x="10" y="36"/>
                    </a:lnTo>
                    <a:lnTo>
                      <a:pt x="10" y="34"/>
                    </a:lnTo>
                    <a:lnTo>
                      <a:pt x="8" y="34"/>
                    </a:lnTo>
                    <a:lnTo>
                      <a:pt x="8" y="32"/>
                    </a:lnTo>
                    <a:lnTo>
                      <a:pt x="5" y="31"/>
                    </a:lnTo>
                    <a:lnTo>
                      <a:pt x="5" y="27"/>
                    </a:lnTo>
                    <a:lnTo>
                      <a:pt x="3" y="27"/>
                    </a:lnTo>
                    <a:lnTo>
                      <a:pt x="3" y="26"/>
                    </a:lnTo>
                    <a:lnTo>
                      <a:pt x="0" y="26"/>
                    </a:lnTo>
                    <a:lnTo>
                      <a:pt x="0" y="24"/>
                    </a:lnTo>
                    <a:lnTo>
                      <a:pt x="2" y="22"/>
                    </a:lnTo>
                    <a:lnTo>
                      <a:pt x="3" y="22"/>
                    </a:lnTo>
                    <a:lnTo>
                      <a:pt x="3" y="15"/>
                    </a:lnTo>
                    <a:lnTo>
                      <a:pt x="5" y="14"/>
                    </a:lnTo>
                    <a:lnTo>
                      <a:pt x="7" y="15"/>
                    </a:lnTo>
                    <a:lnTo>
                      <a:pt x="8" y="14"/>
                    </a:lnTo>
                    <a:lnTo>
                      <a:pt x="8" y="15"/>
                    </a:lnTo>
                    <a:lnTo>
                      <a:pt x="13" y="15"/>
                    </a:lnTo>
                    <a:lnTo>
                      <a:pt x="17" y="17"/>
                    </a:lnTo>
                    <a:lnTo>
                      <a:pt x="17" y="19"/>
                    </a:lnTo>
                    <a:lnTo>
                      <a:pt x="19" y="22"/>
                    </a:lnTo>
                    <a:lnTo>
                      <a:pt x="17" y="22"/>
                    </a:lnTo>
                    <a:lnTo>
                      <a:pt x="19" y="26"/>
                    </a:lnTo>
                    <a:lnTo>
                      <a:pt x="22" y="24"/>
                    </a:lnTo>
                    <a:lnTo>
                      <a:pt x="24" y="26"/>
                    </a:lnTo>
                    <a:lnTo>
                      <a:pt x="25" y="24"/>
                    </a:lnTo>
                    <a:lnTo>
                      <a:pt x="27" y="26"/>
                    </a:lnTo>
                    <a:lnTo>
                      <a:pt x="30" y="24"/>
                    </a:lnTo>
                    <a:lnTo>
                      <a:pt x="32" y="26"/>
                    </a:lnTo>
                    <a:lnTo>
                      <a:pt x="34" y="24"/>
                    </a:lnTo>
                    <a:lnTo>
                      <a:pt x="36" y="26"/>
                    </a:lnTo>
                    <a:lnTo>
                      <a:pt x="39" y="26"/>
                    </a:lnTo>
                    <a:lnTo>
                      <a:pt x="39" y="22"/>
                    </a:lnTo>
                    <a:lnTo>
                      <a:pt x="41" y="22"/>
                    </a:lnTo>
                    <a:lnTo>
                      <a:pt x="42" y="24"/>
                    </a:lnTo>
                    <a:lnTo>
                      <a:pt x="46" y="22"/>
                    </a:lnTo>
                    <a:lnTo>
                      <a:pt x="47" y="19"/>
                    </a:lnTo>
                    <a:lnTo>
                      <a:pt x="47" y="17"/>
                    </a:lnTo>
                    <a:lnTo>
                      <a:pt x="47" y="12"/>
                    </a:lnTo>
                    <a:lnTo>
                      <a:pt x="49" y="7"/>
                    </a:lnTo>
                    <a:lnTo>
                      <a:pt x="47" y="3"/>
                    </a:lnTo>
                    <a:lnTo>
                      <a:pt x="49" y="0"/>
                    </a:lnTo>
                    <a:lnTo>
                      <a:pt x="53" y="2"/>
                    </a:lnTo>
                    <a:lnTo>
                      <a:pt x="54" y="3"/>
                    </a:lnTo>
                    <a:lnTo>
                      <a:pt x="58" y="7"/>
                    </a:lnTo>
                    <a:lnTo>
                      <a:pt x="61" y="5"/>
                    </a:lnTo>
                    <a:lnTo>
                      <a:pt x="63" y="2"/>
                    </a:lnTo>
                    <a:lnTo>
                      <a:pt x="64" y="3"/>
                    </a:lnTo>
                    <a:lnTo>
                      <a:pt x="66" y="3"/>
                    </a:lnTo>
                    <a:lnTo>
                      <a:pt x="70" y="2"/>
                    </a:lnTo>
                    <a:lnTo>
                      <a:pt x="70" y="0"/>
                    </a:lnTo>
                    <a:lnTo>
                      <a:pt x="71" y="0"/>
                    </a:lnTo>
                    <a:lnTo>
                      <a:pt x="73" y="0"/>
                    </a:lnTo>
                    <a:lnTo>
                      <a:pt x="75" y="0"/>
                    </a:lnTo>
                    <a:lnTo>
                      <a:pt x="75" y="2"/>
                    </a:lnTo>
                    <a:lnTo>
                      <a:pt x="78" y="5"/>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200" b="1" kern="1200" dirty="0">
                    <a:latin typeface="Arial" charset="0"/>
                    <a:ea typeface="+mn-ea"/>
                    <a:cs typeface="+mn-cs"/>
                  </a:rPr>
                  <a:t>10</a:t>
                </a:r>
              </a:p>
            </p:txBody>
          </p:sp>
          <p:sp>
            <p:nvSpPr>
              <p:cNvPr id="220" name="Freeform 16">
                <a:extLst>
                  <a:ext uri="{FF2B5EF4-FFF2-40B4-BE49-F238E27FC236}">
                    <a16:creationId xmlns:a16="http://schemas.microsoft.com/office/drawing/2014/main" id="{F99F3285-52F7-4025-9B85-7028E310916E}"/>
                  </a:ext>
                </a:extLst>
              </p:cNvPr>
              <p:cNvSpPr>
                <a:spLocks noEditPoints="1"/>
              </p:cNvSpPr>
              <p:nvPr/>
            </p:nvSpPr>
            <p:spPr bwMode="gray">
              <a:xfrm>
                <a:off x="5268913" y="2400300"/>
                <a:ext cx="609600" cy="920750"/>
              </a:xfrm>
              <a:custGeom>
                <a:avLst/>
                <a:gdLst>
                  <a:gd name="T0" fmla="*/ 306 w 384"/>
                  <a:gd name="T1" fmla="*/ 19 h 580"/>
                  <a:gd name="T2" fmla="*/ 318 w 384"/>
                  <a:gd name="T3" fmla="*/ 48 h 580"/>
                  <a:gd name="T4" fmla="*/ 326 w 384"/>
                  <a:gd name="T5" fmla="*/ 63 h 580"/>
                  <a:gd name="T6" fmla="*/ 328 w 384"/>
                  <a:gd name="T7" fmla="*/ 80 h 580"/>
                  <a:gd name="T8" fmla="*/ 326 w 384"/>
                  <a:gd name="T9" fmla="*/ 104 h 580"/>
                  <a:gd name="T10" fmla="*/ 343 w 384"/>
                  <a:gd name="T11" fmla="*/ 145 h 580"/>
                  <a:gd name="T12" fmla="*/ 299 w 384"/>
                  <a:gd name="T13" fmla="*/ 155 h 580"/>
                  <a:gd name="T14" fmla="*/ 275 w 384"/>
                  <a:gd name="T15" fmla="*/ 179 h 580"/>
                  <a:gd name="T16" fmla="*/ 306 w 384"/>
                  <a:gd name="T17" fmla="*/ 211 h 580"/>
                  <a:gd name="T18" fmla="*/ 343 w 384"/>
                  <a:gd name="T19" fmla="*/ 254 h 580"/>
                  <a:gd name="T20" fmla="*/ 345 w 384"/>
                  <a:gd name="T21" fmla="*/ 288 h 580"/>
                  <a:gd name="T22" fmla="*/ 314 w 384"/>
                  <a:gd name="T23" fmla="*/ 339 h 580"/>
                  <a:gd name="T24" fmla="*/ 303 w 384"/>
                  <a:gd name="T25" fmla="*/ 381 h 580"/>
                  <a:gd name="T26" fmla="*/ 308 w 384"/>
                  <a:gd name="T27" fmla="*/ 414 h 580"/>
                  <a:gd name="T28" fmla="*/ 328 w 384"/>
                  <a:gd name="T29" fmla="*/ 444 h 580"/>
                  <a:gd name="T30" fmla="*/ 364 w 384"/>
                  <a:gd name="T31" fmla="*/ 507 h 580"/>
                  <a:gd name="T32" fmla="*/ 379 w 384"/>
                  <a:gd name="T33" fmla="*/ 533 h 580"/>
                  <a:gd name="T34" fmla="*/ 377 w 384"/>
                  <a:gd name="T35" fmla="*/ 558 h 580"/>
                  <a:gd name="T36" fmla="*/ 376 w 384"/>
                  <a:gd name="T37" fmla="*/ 579 h 580"/>
                  <a:gd name="T38" fmla="*/ 352 w 384"/>
                  <a:gd name="T39" fmla="*/ 565 h 580"/>
                  <a:gd name="T40" fmla="*/ 328 w 384"/>
                  <a:gd name="T41" fmla="*/ 563 h 580"/>
                  <a:gd name="T42" fmla="*/ 314 w 384"/>
                  <a:gd name="T43" fmla="*/ 560 h 580"/>
                  <a:gd name="T44" fmla="*/ 301 w 384"/>
                  <a:gd name="T45" fmla="*/ 551 h 580"/>
                  <a:gd name="T46" fmla="*/ 235 w 384"/>
                  <a:gd name="T47" fmla="*/ 548 h 580"/>
                  <a:gd name="T48" fmla="*/ 206 w 384"/>
                  <a:gd name="T49" fmla="*/ 550 h 580"/>
                  <a:gd name="T50" fmla="*/ 163 w 384"/>
                  <a:gd name="T51" fmla="*/ 548 h 580"/>
                  <a:gd name="T52" fmla="*/ 80 w 384"/>
                  <a:gd name="T53" fmla="*/ 553 h 580"/>
                  <a:gd name="T54" fmla="*/ 65 w 384"/>
                  <a:gd name="T55" fmla="*/ 521 h 580"/>
                  <a:gd name="T56" fmla="*/ 53 w 384"/>
                  <a:gd name="T57" fmla="*/ 480 h 580"/>
                  <a:gd name="T58" fmla="*/ 56 w 384"/>
                  <a:gd name="T59" fmla="*/ 473 h 580"/>
                  <a:gd name="T60" fmla="*/ 58 w 384"/>
                  <a:gd name="T61" fmla="*/ 466 h 580"/>
                  <a:gd name="T62" fmla="*/ 56 w 384"/>
                  <a:gd name="T63" fmla="*/ 461 h 580"/>
                  <a:gd name="T64" fmla="*/ 49 w 384"/>
                  <a:gd name="T65" fmla="*/ 461 h 580"/>
                  <a:gd name="T66" fmla="*/ 39 w 384"/>
                  <a:gd name="T67" fmla="*/ 460 h 580"/>
                  <a:gd name="T68" fmla="*/ 19 w 384"/>
                  <a:gd name="T69" fmla="*/ 451 h 580"/>
                  <a:gd name="T70" fmla="*/ 14 w 384"/>
                  <a:gd name="T71" fmla="*/ 431 h 580"/>
                  <a:gd name="T72" fmla="*/ 7 w 384"/>
                  <a:gd name="T73" fmla="*/ 422 h 580"/>
                  <a:gd name="T74" fmla="*/ 5 w 384"/>
                  <a:gd name="T75" fmla="*/ 427 h 580"/>
                  <a:gd name="T76" fmla="*/ 3 w 384"/>
                  <a:gd name="T77" fmla="*/ 410 h 580"/>
                  <a:gd name="T78" fmla="*/ 14 w 384"/>
                  <a:gd name="T79" fmla="*/ 371 h 580"/>
                  <a:gd name="T80" fmla="*/ 43 w 384"/>
                  <a:gd name="T81" fmla="*/ 337 h 580"/>
                  <a:gd name="T82" fmla="*/ 78 w 384"/>
                  <a:gd name="T83" fmla="*/ 306 h 580"/>
                  <a:gd name="T84" fmla="*/ 105 w 384"/>
                  <a:gd name="T85" fmla="*/ 306 h 580"/>
                  <a:gd name="T86" fmla="*/ 122 w 384"/>
                  <a:gd name="T87" fmla="*/ 323 h 580"/>
                  <a:gd name="T88" fmla="*/ 150 w 384"/>
                  <a:gd name="T89" fmla="*/ 327 h 580"/>
                  <a:gd name="T90" fmla="*/ 163 w 384"/>
                  <a:gd name="T91" fmla="*/ 306 h 580"/>
                  <a:gd name="T92" fmla="*/ 182 w 384"/>
                  <a:gd name="T93" fmla="*/ 261 h 580"/>
                  <a:gd name="T94" fmla="*/ 204 w 384"/>
                  <a:gd name="T95" fmla="*/ 225 h 580"/>
                  <a:gd name="T96" fmla="*/ 216 w 384"/>
                  <a:gd name="T97" fmla="*/ 187 h 580"/>
                  <a:gd name="T98" fmla="*/ 235 w 384"/>
                  <a:gd name="T99" fmla="*/ 162 h 580"/>
                  <a:gd name="T100" fmla="*/ 248 w 384"/>
                  <a:gd name="T101" fmla="*/ 128 h 580"/>
                  <a:gd name="T102" fmla="*/ 279 w 384"/>
                  <a:gd name="T103" fmla="*/ 94 h 580"/>
                  <a:gd name="T104" fmla="*/ 304 w 384"/>
                  <a:gd name="T105" fmla="*/ 58 h 580"/>
                  <a:gd name="T106" fmla="*/ 299 w 384"/>
                  <a:gd name="T107" fmla="*/ 41 h 580"/>
                  <a:gd name="T108" fmla="*/ 282 w 384"/>
                  <a:gd name="T109" fmla="*/ 34 h 580"/>
                  <a:gd name="T110" fmla="*/ 41 w 384"/>
                  <a:gd name="T111" fmla="*/ 466 h 580"/>
                  <a:gd name="T112" fmla="*/ 43 w 384"/>
                  <a:gd name="T113" fmla="*/ 461 h 580"/>
                  <a:gd name="T114" fmla="*/ 10 w 384"/>
                  <a:gd name="T115" fmla="*/ 429 h 580"/>
                  <a:gd name="T116" fmla="*/ 46 w 384"/>
                  <a:gd name="T117" fmla="*/ 463 h 580"/>
                  <a:gd name="T118" fmla="*/ 41 w 384"/>
                  <a:gd name="T119" fmla="*/ 456 h 580"/>
                  <a:gd name="T120" fmla="*/ 41 w 384"/>
                  <a:gd name="T121" fmla="*/ 460 h 580"/>
                  <a:gd name="T122" fmla="*/ 43 w 384"/>
                  <a:gd name="T123" fmla="*/ 460 h 580"/>
                  <a:gd name="T124" fmla="*/ 54 w 384"/>
                  <a:gd name="T125" fmla="*/ 48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4" h="580">
                    <a:moveTo>
                      <a:pt x="277" y="0"/>
                    </a:moveTo>
                    <a:lnTo>
                      <a:pt x="296" y="0"/>
                    </a:lnTo>
                    <a:lnTo>
                      <a:pt x="301" y="7"/>
                    </a:lnTo>
                    <a:lnTo>
                      <a:pt x="301" y="9"/>
                    </a:lnTo>
                    <a:lnTo>
                      <a:pt x="301" y="10"/>
                    </a:lnTo>
                    <a:lnTo>
                      <a:pt x="301" y="12"/>
                    </a:lnTo>
                    <a:lnTo>
                      <a:pt x="301" y="14"/>
                    </a:lnTo>
                    <a:lnTo>
                      <a:pt x="301" y="16"/>
                    </a:lnTo>
                    <a:lnTo>
                      <a:pt x="303" y="16"/>
                    </a:lnTo>
                    <a:lnTo>
                      <a:pt x="303" y="17"/>
                    </a:lnTo>
                    <a:lnTo>
                      <a:pt x="304" y="16"/>
                    </a:lnTo>
                    <a:lnTo>
                      <a:pt x="304" y="17"/>
                    </a:lnTo>
                    <a:lnTo>
                      <a:pt x="306" y="19"/>
                    </a:lnTo>
                    <a:lnTo>
                      <a:pt x="309" y="19"/>
                    </a:lnTo>
                    <a:lnTo>
                      <a:pt x="308" y="21"/>
                    </a:lnTo>
                    <a:lnTo>
                      <a:pt x="309" y="22"/>
                    </a:lnTo>
                    <a:lnTo>
                      <a:pt x="311" y="21"/>
                    </a:lnTo>
                    <a:lnTo>
                      <a:pt x="311" y="22"/>
                    </a:lnTo>
                    <a:lnTo>
                      <a:pt x="314" y="24"/>
                    </a:lnTo>
                    <a:lnTo>
                      <a:pt x="316" y="31"/>
                    </a:lnTo>
                    <a:lnTo>
                      <a:pt x="316" y="33"/>
                    </a:lnTo>
                    <a:lnTo>
                      <a:pt x="318" y="33"/>
                    </a:lnTo>
                    <a:lnTo>
                      <a:pt x="320" y="36"/>
                    </a:lnTo>
                    <a:lnTo>
                      <a:pt x="318" y="45"/>
                    </a:lnTo>
                    <a:lnTo>
                      <a:pt x="320" y="46"/>
                    </a:lnTo>
                    <a:lnTo>
                      <a:pt x="318" y="48"/>
                    </a:lnTo>
                    <a:lnTo>
                      <a:pt x="321" y="51"/>
                    </a:lnTo>
                    <a:lnTo>
                      <a:pt x="323" y="50"/>
                    </a:lnTo>
                    <a:lnTo>
                      <a:pt x="325" y="50"/>
                    </a:lnTo>
                    <a:lnTo>
                      <a:pt x="325" y="51"/>
                    </a:lnTo>
                    <a:lnTo>
                      <a:pt x="326" y="53"/>
                    </a:lnTo>
                    <a:lnTo>
                      <a:pt x="325" y="53"/>
                    </a:lnTo>
                    <a:lnTo>
                      <a:pt x="326" y="55"/>
                    </a:lnTo>
                    <a:lnTo>
                      <a:pt x="328" y="56"/>
                    </a:lnTo>
                    <a:lnTo>
                      <a:pt x="326" y="56"/>
                    </a:lnTo>
                    <a:lnTo>
                      <a:pt x="326" y="58"/>
                    </a:lnTo>
                    <a:lnTo>
                      <a:pt x="325" y="60"/>
                    </a:lnTo>
                    <a:lnTo>
                      <a:pt x="326" y="62"/>
                    </a:lnTo>
                    <a:lnTo>
                      <a:pt x="326" y="63"/>
                    </a:lnTo>
                    <a:lnTo>
                      <a:pt x="328" y="63"/>
                    </a:lnTo>
                    <a:lnTo>
                      <a:pt x="328" y="65"/>
                    </a:lnTo>
                    <a:lnTo>
                      <a:pt x="330" y="67"/>
                    </a:lnTo>
                    <a:lnTo>
                      <a:pt x="328" y="67"/>
                    </a:lnTo>
                    <a:lnTo>
                      <a:pt x="328" y="68"/>
                    </a:lnTo>
                    <a:lnTo>
                      <a:pt x="326" y="70"/>
                    </a:lnTo>
                    <a:lnTo>
                      <a:pt x="328" y="72"/>
                    </a:lnTo>
                    <a:lnTo>
                      <a:pt x="328" y="73"/>
                    </a:lnTo>
                    <a:lnTo>
                      <a:pt x="328" y="75"/>
                    </a:lnTo>
                    <a:lnTo>
                      <a:pt x="328" y="77"/>
                    </a:lnTo>
                    <a:lnTo>
                      <a:pt x="331" y="77"/>
                    </a:lnTo>
                    <a:lnTo>
                      <a:pt x="330" y="80"/>
                    </a:lnTo>
                    <a:lnTo>
                      <a:pt x="328" y="80"/>
                    </a:lnTo>
                    <a:lnTo>
                      <a:pt x="326" y="84"/>
                    </a:lnTo>
                    <a:lnTo>
                      <a:pt x="326" y="85"/>
                    </a:lnTo>
                    <a:lnTo>
                      <a:pt x="326" y="87"/>
                    </a:lnTo>
                    <a:lnTo>
                      <a:pt x="326" y="89"/>
                    </a:lnTo>
                    <a:lnTo>
                      <a:pt x="326" y="90"/>
                    </a:lnTo>
                    <a:lnTo>
                      <a:pt x="326" y="92"/>
                    </a:lnTo>
                    <a:lnTo>
                      <a:pt x="326" y="94"/>
                    </a:lnTo>
                    <a:lnTo>
                      <a:pt x="326" y="96"/>
                    </a:lnTo>
                    <a:lnTo>
                      <a:pt x="328" y="97"/>
                    </a:lnTo>
                    <a:lnTo>
                      <a:pt x="328" y="101"/>
                    </a:lnTo>
                    <a:lnTo>
                      <a:pt x="330" y="102"/>
                    </a:lnTo>
                    <a:lnTo>
                      <a:pt x="328" y="104"/>
                    </a:lnTo>
                    <a:lnTo>
                      <a:pt x="326" y="104"/>
                    </a:lnTo>
                    <a:lnTo>
                      <a:pt x="326" y="106"/>
                    </a:lnTo>
                    <a:lnTo>
                      <a:pt x="328" y="109"/>
                    </a:lnTo>
                    <a:lnTo>
                      <a:pt x="328" y="113"/>
                    </a:lnTo>
                    <a:lnTo>
                      <a:pt x="326" y="116"/>
                    </a:lnTo>
                    <a:lnTo>
                      <a:pt x="330" y="121"/>
                    </a:lnTo>
                    <a:lnTo>
                      <a:pt x="331" y="124"/>
                    </a:lnTo>
                    <a:lnTo>
                      <a:pt x="331" y="130"/>
                    </a:lnTo>
                    <a:lnTo>
                      <a:pt x="335" y="133"/>
                    </a:lnTo>
                    <a:lnTo>
                      <a:pt x="337" y="135"/>
                    </a:lnTo>
                    <a:lnTo>
                      <a:pt x="337" y="136"/>
                    </a:lnTo>
                    <a:lnTo>
                      <a:pt x="338" y="141"/>
                    </a:lnTo>
                    <a:lnTo>
                      <a:pt x="342" y="141"/>
                    </a:lnTo>
                    <a:lnTo>
                      <a:pt x="343" y="145"/>
                    </a:lnTo>
                    <a:lnTo>
                      <a:pt x="348" y="152"/>
                    </a:lnTo>
                    <a:lnTo>
                      <a:pt x="359" y="157"/>
                    </a:lnTo>
                    <a:lnTo>
                      <a:pt x="354" y="158"/>
                    </a:lnTo>
                    <a:lnTo>
                      <a:pt x="345" y="160"/>
                    </a:lnTo>
                    <a:lnTo>
                      <a:pt x="335" y="157"/>
                    </a:lnTo>
                    <a:lnTo>
                      <a:pt x="333" y="158"/>
                    </a:lnTo>
                    <a:lnTo>
                      <a:pt x="330" y="157"/>
                    </a:lnTo>
                    <a:lnTo>
                      <a:pt x="328" y="158"/>
                    </a:lnTo>
                    <a:lnTo>
                      <a:pt x="323" y="157"/>
                    </a:lnTo>
                    <a:lnTo>
                      <a:pt x="314" y="160"/>
                    </a:lnTo>
                    <a:lnTo>
                      <a:pt x="311" y="160"/>
                    </a:lnTo>
                    <a:lnTo>
                      <a:pt x="308" y="158"/>
                    </a:lnTo>
                    <a:lnTo>
                      <a:pt x="299" y="155"/>
                    </a:lnTo>
                    <a:lnTo>
                      <a:pt x="286" y="157"/>
                    </a:lnTo>
                    <a:lnTo>
                      <a:pt x="284" y="157"/>
                    </a:lnTo>
                    <a:lnTo>
                      <a:pt x="282" y="162"/>
                    </a:lnTo>
                    <a:lnTo>
                      <a:pt x="280" y="164"/>
                    </a:lnTo>
                    <a:lnTo>
                      <a:pt x="279" y="165"/>
                    </a:lnTo>
                    <a:lnTo>
                      <a:pt x="277" y="165"/>
                    </a:lnTo>
                    <a:lnTo>
                      <a:pt x="275" y="169"/>
                    </a:lnTo>
                    <a:lnTo>
                      <a:pt x="274" y="172"/>
                    </a:lnTo>
                    <a:lnTo>
                      <a:pt x="274" y="175"/>
                    </a:lnTo>
                    <a:lnTo>
                      <a:pt x="275" y="177"/>
                    </a:lnTo>
                    <a:lnTo>
                      <a:pt x="275" y="175"/>
                    </a:lnTo>
                    <a:lnTo>
                      <a:pt x="277" y="177"/>
                    </a:lnTo>
                    <a:lnTo>
                      <a:pt x="275" y="179"/>
                    </a:lnTo>
                    <a:lnTo>
                      <a:pt x="279" y="181"/>
                    </a:lnTo>
                    <a:lnTo>
                      <a:pt x="282" y="182"/>
                    </a:lnTo>
                    <a:lnTo>
                      <a:pt x="284" y="187"/>
                    </a:lnTo>
                    <a:lnTo>
                      <a:pt x="287" y="189"/>
                    </a:lnTo>
                    <a:lnTo>
                      <a:pt x="289" y="189"/>
                    </a:lnTo>
                    <a:lnTo>
                      <a:pt x="289" y="191"/>
                    </a:lnTo>
                    <a:lnTo>
                      <a:pt x="292" y="193"/>
                    </a:lnTo>
                    <a:lnTo>
                      <a:pt x="292" y="198"/>
                    </a:lnTo>
                    <a:lnTo>
                      <a:pt x="294" y="201"/>
                    </a:lnTo>
                    <a:lnTo>
                      <a:pt x="297" y="203"/>
                    </a:lnTo>
                    <a:lnTo>
                      <a:pt x="297" y="204"/>
                    </a:lnTo>
                    <a:lnTo>
                      <a:pt x="303" y="208"/>
                    </a:lnTo>
                    <a:lnTo>
                      <a:pt x="306" y="211"/>
                    </a:lnTo>
                    <a:lnTo>
                      <a:pt x="308" y="213"/>
                    </a:lnTo>
                    <a:lnTo>
                      <a:pt x="311" y="216"/>
                    </a:lnTo>
                    <a:lnTo>
                      <a:pt x="314" y="218"/>
                    </a:lnTo>
                    <a:lnTo>
                      <a:pt x="318" y="216"/>
                    </a:lnTo>
                    <a:lnTo>
                      <a:pt x="320" y="218"/>
                    </a:lnTo>
                    <a:lnTo>
                      <a:pt x="320" y="220"/>
                    </a:lnTo>
                    <a:lnTo>
                      <a:pt x="323" y="221"/>
                    </a:lnTo>
                    <a:lnTo>
                      <a:pt x="323" y="223"/>
                    </a:lnTo>
                    <a:lnTo>
                      <a:pt x="325" y="225"/>
                    </a:lnTo>
                    <a:lnTo>
                      <a:pt x="330" y="223"/>
                    </a:lnTo>
                    <a:lnTo>
                      <a:pt x="333" y="227"/>
                    </a:lnTo>
                    <a:lnTo>
                      <a:pt x="338" y="244"/>
                    </a:lnTo>
                    <a:lnTo>
                      <a:pt x="343" y="254"/>
                    </a:lnTo>
                    <a:lnTo>
                      <a:pt x="342" y="255"/>
                    </a:lnTo>
                    <a:lnTo>
                      <a:pt x="345" y="259"/>
                    </a:lnTo>
                    <a:lnTo>
                      <a:pt x="345" y="262"/>
                    </a:lnTo>
                    <a:lnTo>
                      <a:pt x="348" y="267"/>
                    </a:lnTo>
                    <a:lnTo>
                      <a:pt x="348" y="269"/>
                    </a:lnTo>
                    <a:lnTo>
                      <a:pt x="350" y="269"/>
                    </a:lnTo>
                    <a:lnTo>
                      <a:pt x="352" y="271"/>
                    </a:lnTo>
                    <a:lnTo>
                      <a:pt x="354" y="271"/>
                    </a:lnTo>
                    <a:lnTo>
                      <a:pt x="354" y="274"/>
                    </a:lnTo>
                    <a:lnTo>
                      <a:pt x="352" y="278"/>
                    </a:lnTo>
                    <a:lnTo>
                      <a:pt x="352" y="279"/>
                    </a:lnTo>
                    <a:lnTo>
                      <a:pt x="348" y="283"/>
                    </a:lnTo>
                    <a:lnTo>
                      <a:pt x="345" y="288"/>
                    </a:lnTo>
                    <a:lnTo>
                      <a:pt x="335" y="296"/>
                    </a:lnTo>
                    <a:lnTo>
                      <a:pt x="335" y="298"/>
                    </a:lnTo>
                    <a:lnTo>
                      <a:pt x="333" y="300"/>
                    </a:lnTo>
                    <a:lnTo>
                      <a:pt x="335" y="303"/>
                    </a:lnTo>
                    <a:lnTo>
                      <a:pt x="333" y="305"/>
                    </a:lnTo>
                    <a:lnTo>
                      <a:pt x="331" y="305"/>
                    </a:lnTo>
                    <a:lnTo>
                      <a:pt x="331" y="306"/>
                    </a:lnTo>
                    <a:lnTo>
                      <a:pt x="330" y="312"/>
                    </a:lnTo>
                    <a:lnTo>
                      <a:pt x="326" y="320"/>
                    </a:lnTo>
                    <a:lnTo>
                      <a:pt x="326" y="322"/>
                    </a:lnTo>
                    <a:lnTo>
                      <a:pt x="323" y="322"/>
                    </a:lnTo>
                    <a:lnTo>
                      <a:pt x="321" y="323"/>
                    </a:lnTo>
                    <a:lnTo>
                      <a:pt x="314" y="339"/>
                    </a:lnTo>
                    <a:lnTo>
                      <a:pt x="314" y="342"/>
                    </a:lnTo>
                    <a:lnTo>
                      <a:pt x="311" y="346"/>
                    </a:lnTo>
                    <a:lnTo>
                      <a:pt x="308" y="347"/>
                    </a:lnTo>
                    <a:lnTo>
                      <a:pt x="301" y="349"/>
                    </a:lnTo>
                    <a:lnTo>
                      <a:pt x="296" y="356"/>
                    </a:lnTo>
                    <a:lnTo>
                      <a:pt x="294" y="356"/>
                    </a:lnTo>
                    <a:lnTo>
                      <a:pt x="294" y="358"/>
                    </a:lnTo>
                    <a:lnTo>
                      <a:pt x="297" y="364"/>
                    </a:lnTo>
                    <a:lnTo>
                      <a:pt x="301" y="364"/>
                    </a:lnTo>
                    <a:lnTo>
                      <a:pt x="303" y="363"/>
                    </a:lnTo>
                    <a:lnTo>
                      <a:pt x="304" y="364"/>
                    </a:lnTo>
                    <a:lnTo>
                      <a:pt x="304" y="375"/>
                    </a:lnTo>
                    <a:lnTo>
                      <a:pt x="303" y="381"/>
                    </a:lnTo>
                    <a:lnTo>
                      <a:pt x="304" y="385"/>
                    </a:lnTo>
                    <a:lnTo>
                      <a:pt x="303" y="386"/>
                    </a:lnTo>
                    <a:lnTo>
                      <a:pt x="303" y="390"/>
                    </a:lnTo>
                    <a:lnTo>
                      <a:pt x="301" y="395"/>
                    </a:lnTo>
                    <a:lnTo>
                      <a:pt x="299" y="397"/>
                    </a:lnTo>
                    <a:lnTo>
                      <a:pt x="301" y="398"/>
                    </a:lnTo>
                    <a:lnTo>
                      <a:pt x="306" y="400"/>
                    </a:lnTo>
                    <a:lnTo>
                      <a:pt x="308" y="402"/>
                    </a:lnTo>
                    <a:lnTo>
                      <a:pt x="308" y="405"/>
                    </a:lnTo>
                    <a:lnTo>
                      <a:pt x="308" y="409"/>
                    </a:lnTo>
                    <a:lnTo>
                      <a:pt x="308" y="410"/>
                    </a:lnTo>
                    <a:lnTo>
                      <a:pt x="308" y="412"/>
                    </a:lnTo>
                    <a:lnTo>
                      <a:pt x="308" y="414"/>
                    </a:lnTo>
                    <a:lnTo>
                      <a:pt x="309" y="417"/>
                    </a:lnTo>
                    <a:lnTo>
                      <a:pt x="308" y="419"/>
                    </a:lnTo>
                    <a:lnTo>
                      <a:pt x="309" y="420"/>
                    </a:lnTo>
                    <a:lnTo>
                      <a:pt x="308" y="422"/>
                    </a:lnTo>
                    <a:lnTo>
                      <a:pt x="309" y="424"/>
                    </a:lnTo>
                    <a:lnTo>
                      <a:pt x="309" y="431"/>
                    </a:lnTo>
                    <a:lnTo>
                      <a:pt x="314" y="434"/>
                    </a:lnTo>
                    <a:lnTo>
                      <a:pt x="316" y="434"/>
                    </a:lnTo>
                    <a:lnTo>
                      <a:pt x="318" y="437"/>
                    </a:lnTo>
                    <a:lnTo>
                      <a:pt x="321" y="439"/>
                    </a:lnTo>
                    <a:lnTo>
                      <a:pt x="325" y="439"/>
                    </a:lnTo>
                    <a:lnTo>
                      <a:pt x="325" y="443"/>
                    </a:lnTo>
                    <a:lnTo>
                      <a:pt x="328" y="444"/>
                    </a:lnTo>
                    <a:lnTo>
                      <a:pt x="328" y="451"/>
                    </a:lnTo>
                    <a:lnTo>
                      <a:pt x="328" y="454"/>
                    </a:lnTo>
                    <a:lnTo>
                      <a:pt x="330" y="456"/>
                    </a:lnTo>
                    <a:lnTo>
                      <a:pt x="330" y="458"/>
                    </a:lnTo>
                    <a:lnTo>
                      <a:pt x="331" y="458"/>
                    </a:lnTo>
                    <a:lnTo>
                      <a:pt x="333" y="458"/>
                    </a:lnTo>
                    <a:lnTo>
                      <a:pt x="326" y="460"/>
                    </a:lnTo>
                    <a:lnTo>
                      <a:pt x="326" y="461"/>
                    </a:lnTo>
                    <a:lnTo>
                      <a:pt x="328" y="461"/>
                    </a:lnTo>
                    <a:lnTo>
                      <a:pt x="328" y="463"/>
                    </a:lnTo>
                    <a:lnTo>
                      <a:pt x="337" y="475"/>
                    </a:lnTo>
                    <a:lnTo>
                      <a:pt x="348" y="488"/>
                    </a:lnTo>
                    <a:lnTo>
                      <a:pt x="364" y="507"/>
                    </a:lnTo>
                    <a:lnTo>
                      <a:pt x="365" y="506"/>
                    </a:lnTo>
                    <a:lnTo>
                      <a:pt x="369" y="506"/>
                    </a:lnTo>
                    <a:lnTo>
                      <a:pt x="372" y="512"/>
                    </a:lnTo>
                    <a:lnTo>
                      <a:pt x="374" y="512"/>
                    </a:lnTo>
                    <a:lnTo>
                      <a:pt x="376" y="512"/>
                    </a:lnTo>
                    <a:lnTo>
                      <a:pt x="377" y="516"/>
                    </a:lnTo>
                    <a:lnTo>
                      <a:pt x="379" y="519"/>
                    </a:lnTo>
                    <a:lnTo>
                      <a:pt x="377" y="521"/>
                    </a:lnTo>
                    <a:lnTo>
                      <a:pt x="376" y="523"/>
                    </a:lnTo>
                    <a:lnTo>
                      <a:pt x="377" y="526"/>
                    </a:lnTo>
                    <a:lnTo>
                      <a:pt x="379" y="526"/>
                    </a:lnTo>
                    <a:lnTo>
                      <a:pt x="377" y="529"/>
                    </a:lnTo>
                    <a:lnTo>
                      <a:pt x="379" y="533"/>
                    </a:lnTo>
                    <a:lnTo>
                      <a:pt x="377" y="534"/>
                    </a:lnTo>
                    <a:lnTo>
                      <a:pt x="379" y="538"/>
                    </a:lnTo>
                    <a:lnTo>
                      <a:pt x="377" y="540"/>
                    </a:lnTo>
                    <a:lnTo>
                      <a:pt x="381" y="545"/>
                    </a:lnTo>
                    <a:lnTo>
                      <a:pt x="382" y="548"/>
                    </a:lnTo>
                    <a:lnTo>
                      <a:pt x="382" y="550"/>
                    </a:lnTo>
                    <a:lnTo>
                      <a:pt x="384" y="551"/>
                    </a:lnTo>
                    <a:lnTo>
                      <a:pt x="381" y="553"/>
                    </a:lnTo>
                    <a:lnTo>
                      <a:pt x="381" y="551"/>
                    </a:lnTo>
                    <a:lnTo>
                      <a:pt x="379" y="551"/>
                    </a:lnTo>
                    <a:lnTo>
                      <a:pt x="377" y="553"/>
                    </a:lnTo>
                    <a:lnTo>
                      <a:pt x="379" y="558"/>
                    </a:lnTo>
                    <a:lnTo>
                      <a:pt x="377" y="558"/>
                    </a:lnTo>
                    <a:lnTo>
                      <a:pt x="377" y="560"/>
                    </a:lnTo>
                    <a:lnTo>
                      <a:pt x="377" y="562"/>
                    </a:lnTo>
                    <a:lnTo>
                      <a:pt x="376" y="563"/>
                    </a:lnTo>
                    <a:lnTo>
                      <a:pt x="377" y="565"/>
                    </a:lnTo>
                    <a:lnTo>
                      <a:pt x="379" y="568"/>
                    </a:lnTo>
                    <a:lnTo>
                      <a:pt x="381" y="572"/>
                    </a:lnTo>
                    <a:lnTo>
                      <a:pt x="381" y="575"/>
                    </a:lnTo>
                    <a:lnTo>
                      <a:pt x="381" y="577"/>
                    </a:lnTo>
                    <a:lnTo>
                      <a:pt x="381" y="579"/>
                    </a:lnTo>
                    <a:lnTo>
                      <a:pt x="381" y="577"/>
                    </a:lnTo>
                    <a:lnTo>
                      <a:pt x="379" y="577"/>
                    </a:lnTo>
                    <a:lnTo>
                      <a:pt x="377" y="580"/>
                    </a:lnTo>
                    <a:lnTo>
                      <a:pt x="376" y="579"/>
                    </a:lnTo>
                    <a:lnTo>
                      <a:pt x="374" y="577"/>
                    </a:lnTo>
                    <a:lnTo>
                      <a:pt x="376" y="574"/>
                    </a:lnTo>
                    <a:lnTo>
                      <a:pt x="372" y="574"/>
                    </a:lnTo>
                    <a:lnTo>
                      <a:pt x="369" y="574"/>
                    </a:lnTo>
                    <a:lnTo>
                      <a:pt x="369" y="572"/>
                    </a:lnTo>
                    <a:lnTo>
                      <a:pt x="369" y="574"/>
                    </a:lnTo>
                    <a:lnTo>
                      <a:pt x="367" y="570"/>
                    </a:lnTo>
                    <a:lnTo>
                      <a:pt x="364" y="570"/>
                    </a:lnTo>
                    <a:lnTo>
                      <a:pt x="362" y="567"/>
                    </a:lnTo>
                    <a:lnTo>
                      <a:pt x="360" y="567"/>
                    </a:lnTo>
                    <a:lnTo>
                      <a:pt x="359" y="565"/>
                    </a:lnTo>
                    <a:lnTo>
                      <a:pt x="357" y="565"/>
                    </a:lnTo>
                    <a:lnTo>
                      <a:pt x="352" y="565"/>
                    </a:lnTo>
                    <a:lnTo>
                      <a:pt x="350" y="563"/>
                    </a:lnTo>
                    <a:lnTo>
                      <a:pt x="350" y="565"/>
                    </a:lnTo>
                    <a:lnTo>
                      <a:pt x="348" y="563"/>
                    </a:lnTo>
                    <a:lnTo>
                      <a:pt x="342" y="567"/>
                    </a:lnTo>
                    <a:lnTo>
                      <a:pt x="340" y="565"/>
                    </a:lnTo>
                    <a:lnTo>
                      <a:pt x="338" y="565"/>
                    </a:lnTo>
                    <a:lnTo>
                      <a:pt x="338" y="563"/>
                    </a:lnTo>
                    <a:lnTo>
                      <a:pt x="337" y="562"/>
                    </a:lnTo>
                    <a:lnTo>
                      <a:pt x="333" y="560"/>
                    </a:lnTo>
                    <a:lnTo>
                      <a:pt x="331" y="562"/>
                    </a:lnTo>
                    <a:lnTo>
                      <a:pt x="331" y="560"/>
                    </a:lnTo>
                    <a:lnTo>
                      <a:pt x="330" y="562"/>
                    </a:lnTo>
                    <a:lnTo>
                      <a:pt x="328" y="563"/>
                    </a:lnTo>
                    <a:lnTo>
                      <a:pt x="326" y="563"/>
                    </a:lnTo>
                    <a:lnTo>
                      <a:pt x="326" y="562"/>
                    </a:lnTo>
                    <a:lnTo>
                      <a:pt x="325" y="563"/>
                    </a:lnTo>
                    <a:lnTo>
                      <a:pt x="323" y="560"/>
                    </a:lnTo>
                    <a:lnTo>
                      <a:pt x="321" y="562"/>
                    </a:lnTo>
                    <a:lnTo>
                      <a:pt x="320" y="562"/>
                    </a:lnTo>
                    <a:lnTo>
                      <a:pt x="318" y="562"/>
                    </a:lnTo>
                    <a:lnTo>
                      <a:pt x="320" y="558"/>
                    </a:lnTo>
                    <a:lnTo>
                      <a:pt x="318" y="558"/>
                    </a:lnTo>
                    <a:lnTo>
                      <a:pt x="316" y="557"/>
                    </a:lnTo>
                    <a:lnTo>
                      <a:pt x="316" y="558"/>
                    </a:lnTo>
                    <a:lnTo>
                      <a:pt x="314" y="558"/>
                    </a:lnTo>
                    <a:lnTo>
                      <a:pt x="314" y="560"/>
                    </a:lnTo>
                    <a:lnTo>
                      <a:pt x="313" y="558"/>
                    </a:lnTo>
                    <a:lnTo>
                      <a:pt x="311" y="558"/>
                    </a:lnTo>
                    <a:lnTo>
                      <a:pt x="311" y="557"/>
                    </a:lnTo>
                    <a:lnTo>
                      <a:pt x="311" y="558"/>
                    </a:lnTo>
                    <a:lnTo>
                      <a:pt x="311" y="557"/>
                    </a:lnTo>
                    <a:lnTo>
                      <a:pt x="309" y="557"/>
                    </a:lnTo>
                    <a:lnTo>
                      <a:pt x="308" y="557"/>
                    </a:lnTo>
                    <a:lnTo>
                      <a:pt x="308" y="555"/>
                    </a:lnTo>
                    <a:lnTo>
                      <a:pt x="306" y="555"/>
                    </a:lnTo>
                    <a:lnTo>
                      <a:pt x="304" y="555"/>
                    </a:lnTo>
                    <a:lnTo>
                      <a:pt x="304" y="551"/>
                    </a:lnTo>
                    <a:lnTo>
                      <a:pt x="303" y="551"/>
                    </a:lnTo>
                    <a:lnTo>
                      <a:pt x="301" y="551"/>
                    </a:lnTo>
                    <a:lnTo>
                      <a:pt x="297" y="553"/>
                    </a:lnTo>
                    <a:lnTo>
                      <a:pt x="294" y="555"/>
                    </a:lnTo>
                    <a:lnTo>
                      <a:pt x="292" y="553"/>
                    </a:lnTo>
                    <a:lnTo>
                      <a:pt x="289" y="553"/>
                    </a:lnTo>
                    <a:lnTo>
                      <a:pt x="286" y="553"/>
                    </a:lnTo>
                    <a:lnTo>
                      <a:pt x="272" y="553"/>
                    </a:lnTo>
                    <a:lnTo>
                      <a:pt x="262" y="553"/>
                    </a:lnTo>
                    <a:lnTo>
                      <a:pt x="260" y="553"/>
                    </a:lnTo>
                    <a:lnTo>
                      <a:pt x="238" y="553"/>
                    </a:lnTo>
                    <a:lnTo>
                      <a:pt x="236" y="553"/>
                    </a:lnTo>
                    <a:lnTo>
                      <a:pt x="238" y="551"/>
                    </a:lnTo>
                    <a:lnTo>
                      <a:pt x="236" y="550"/>
                    </a:lnTo>
                    <a:lnTo>
                      <a:pt x="235" y="548"/>
                    </a:lnTo>
                    <a:lnTo>
                      <a:pt x="233" y="550"/>
                    </a:lnTo>
                    <a:lnTo>
                      <a:pt x="231" y="550"/>
                    </a:lnTo>
                    <a:lnTo>
                      <a:pt x="231" y="548"/>
                    </a:lnTo>
                    <a:lnTo>
                      <a:pt x="229" y="548"/>
                    </a:lnTo>
                    <a:lnTo>
                      <a:pt x="226" y="550"/>
                    </a:lnTo>
                    <a:lnTo>
                      <a:pt x="224" y="550"/>
                    </a:lnTo>
                    <a:lnTo>
                      <a:pt x="221" y="550"/>
                    </a:lnTo>
                    <a:lnTo>
                      <a:pt x="218" y="550"/>
                    </a:lnTo>
                    <a:lnTo>
                      <a:pt x="216" y="550"/>
                    </a:lnTo>
                    <a:lnTo>
                      <a:pt x="214" y="551"/>
                    </a:lnTo>
                    <a:lnTo>
                      <a:pt x="212" y="550"/>
                    </a:lnTo>
                    <a:lnTo>
                      <a:pt x="209" y="551"/>
                    </a:lnTo>
                    <a:lnTo>
                      <a:pt x="206" y="550"/>
                    </a:lnTo>
                    <a:lnTo>
                      <a:pt x="202" y="550"/>
                    </a:lnTo>
                    <a:lnTo>
                      <a:pt x="201" y="548"/>
                    </a:lnTo>
                    <a:lnTo>
                      <a:pt x="199" y="550"/>
                    </a:lnTo>
                    <a:lnTo>
                      <a:pt x="194" y="550"/>
                    </a:lnTo>
                    <a:lnTo>
                      <a:pt x="187" y="548"/>
                    </a:lnTo>
                    <a:lnTo>
                      <a:pt x="185" y="550"/>
                    </a:lnTo>
                    <a:lnTo>
                      <a:pt x="184" y="550"/>
                    </a:lnTo>
                    <a:lnTo>
                      <a:pt x="182" y="548"/>
                    </a:lnTo>
                    <a:lnTo>
                      <a:pt x="178" y="548"/>
                    </a:lnTo>
                    <a:lnTo>
                      <a:pt x="177" y="548"/>
                    </a:lnTo>
                    <a:lnTo>
                      <a:pt x="170" y="548"/>
                    </a:lnTo>
                    <a:lnTo>
                      <a:pt x="165" y="548"/>
                    </a:lnTo>
                    <a:lnTo>
                      <a:pt x="163" y="548"/>
                    </a:lnTo>
                    <a:lnTo>
                      <a:pt x="160" y="548"/>
                    </a:lnTo>
                    <a:lnTo>
                      <a:pt x="158" y="548"/>
                    </a:lnTo>
                    <a:lnTo>
                      <a:pt x="155" y="546"/>
                    </a:lnTo>
                    <a:lnTo>
                      <a:pt x="151" y="548"/>
                    </a:lnTo>
                    <a:lnTo>
                      <a:pt x="151" y="546"/>
                    </a:lnTo>
                    <a:lnTo>
                      <a:pt x="148" y="548"/>
                    </a:lnTo>
                    <a:lnTo>
                      <a:pt x="139" y="548"/>
                    </a:lnTo>
                    <a:lnTo>
                      <a:pt x="139" y="550"/>
                    </a:lnTo>
                    <a:lnTo>
                      <a:pt x="139" y="551"/>
                    </a:lnTo>
                    <a:lnTo>
                      <a:pt x="139" y="553"/>
                    </a:lnTo>
                    <a:lnTo>
                      <a:pt x="129" y="553"/>
                    </a:lnTo>
                    <a:lnTo>
                      <a:pt x="90" y="553"/>
                    </a:lnTo>
                    <a:lnTo>
                      <a:pt x="80" y="553"/>
                    </a:lnTo>
                    <a:lnTo>
                      <a:pt x="80" y="555"/>
                    </a:lnTo>
                    <a:lnTo>
                      <a:pt x="78" y="553"/>
                    </a:lnTo>
                    <a:lnTo>
                      <a:pt x="76" y="555"/>
                    </a:lnTo>
                    <a:lnTo>
                      <a:pt x="73" y="553"/>
                    </a:lnTo>
                    <a:lnTo>
                      <a:pt x="71" y="553"/>
                    </a:lnTo>
                    <a:lnTo>
                      <a:pt x="66" y="551"/>
                    </a:lnTo>
                    <a:lnTo>
                      <a:pt x="65" y="551"/>
                    </a:lnTo>
                    <a:lnTo>
                      <a:pt x="65" y="550"/>
                    </a:lnTo>
                    <a:lnTo>
                      <a:pt x="63" y="550"/>
                    </a:lnTo>
                    <a:lnTo>
                      <a:pt x="61" y="545"/>
                    </a:lnTo>
                    <a:lnTo>
                      <a:pt x="61" y="533"/>
                    </a:lnTo>
                    <a:lnTo>
                      <a:pt x="63" y="526"/>
                    </a:lnTo>
                    <a:lnTo>
                      <a:pt x="65" y="521"/>
                    </a:lnTo>
                    <a:lnTo>
                      <a:pt x="65" y="519"/>
                    </a:lnTo>
                    <a:lnTo>
                      <a:pt x="66" y="514"/>
                    </a:lnTo>
                    <a:lnTo>
                      <a:pt x="66" y="512"/>
                    </a:lnTo>
                    <a:lnTo>
                      <a:pt x="68" y="511"/>
                    </a:lnTo>
                    <a:lnTo>
                      <a:pt x="70" y="507"/>
                    </a:lnTo>
                    <a:lnTo>
                      <a:pt x="65" y="495"/>
                    </a:lnTo>
                    <a:lnTo>
                      <a:pt x="58" y="488"/>
                    </a:lnTo>
                    <a:lnTo>
                      <a:pt x="53" y="483"/>
                    </a:lnTo>
                    <a:lnTo>
                      <a:pt x="56" y="483"/>
                    </a:lnTo>
                    <a:lnTo>
                      <a:pt x="58" y="482"/>
                    </a:lnTo>
                    <a:lnTo>
                      <a:pt x="58" y="480"/>
                    </a:lnTo>
                    <a:lnTo>
                      <a:pt x="53" y="482"/>
                    </a:lnTo>
                    <a:lnTo>
                      <a:pt x="53" y="480"/>
                    </a:lnTo>
                    <a:lnTo>
                      <a:pt x="48" y="470"/>
                    </a:lnTo>
                    <a:lnTo>
                      <a:pt x="49" y="471"/>
                    </a:lnTo>
                    <a:lnTo>
                      <a:pt x="49" y="473"/>
                    </a:lnTo>
                    <a:lnTo>
                      <a:pt x="51" y="475"/>
                    </a:lnTo>
                    <a:lnTo>
                      <a:pt x="54" y="478"/>
                    </a:lnTo>
                    <a:lnTo>
                      <a:pt x="51" y="475"/>
                    </a:lnTo>
                    <a:lnTo>
                      <a:pt x="51" y="473"/>
                    </a:lnTo>
                    <a:lnTo>
                      <a:pt x="54" y="475"/>
                    </a:lnTo>
                    <a:lnTo>
                      <a:pt x="54" y="477"/>
                    </a:lnTo>
                    <a:lnTo>
                      <a:pt x="54" y="473"/>
                    </a:lnTo>
                    <a:lnTo>
                      <a:pt x="56" y="475"/>
                    </a:lnTo>
                    <a:lnTo>
                      <a:pt x="54" y="473"/>
                    </a:lnTo>
                    <a:lnTo>
                      <a:pt x="56" y="473"/>
                    </a:lnTo>
                    <a:lnTo>
                      <a:pt x="54" y="471"/>
                    </a:lnTo>
                    <a:lnTo>
                      <a:pt x="54" y="468"/>
                    </a:lnTo>
                    <a:lnTo>
                      <a:pt x="56" y="468"/>
                    </a:lnTo>
                    <a:lnTo>
                      <a:pt x="58" y="471"/>
                    </a:lnTo>
                    <a:lnTo>
                      <a:pt x="59" y="470"/>
                    </a:lnTo>
                    <a:lnTo>
                      <a:pt x="59" y="473"/>
                    </a:lnTo>
                    <a:lnTo>
                      <a:pt x="59" y="470"/>
                    </a:lnTo>
                    <a:lnTo>
                      <a:pt x="58" y="470"/>
                    </a:lnTo>
                    <a:lnTo>
                      <a:pt x="58" y="468"/>
                    </a:lnTo>
                    <a:lnTo>
                      <a:pt x="59" y="468"/>
                    </a:lnTo>
                    <a:lnTo>
                      <a:pt x="61" y="468"/>
                    </a:lnTo>
                    <a:lnTo>
                      <a:pt x="59" y="468"/>
                    </a:lnTo>
                    <a:lnTo>
                      <a:pt x="58" y="466"/>
                    </a:lnTo>
                    <a:lnTo>
                      <a:pt x="56" y="468"/>
                    </a:lnTo>
                    <a:lnTo>
                      <a:pt x="54" y="465"/>
                    </a:lnTo>
                    <a:lnTo>
                      <a:pt x="58" y="465"/>
                    </a:lnTo>
                    <a:lnTo>
                      <a:pt x="59" y="463"/>
                    </a:lnTo>
                    <a:lnTo>
                      <a:pt x="61" y="463"/>
                    </a:lnTo>
                    <a:lnTo>
                      <a:pt x="59" y="463"/>
                    </a:lnTo>
                    <a:lnTo>
                      <a:pt x="58" y="463"/>
                    </a:lnTo>
                    <a:lnTo>
                      <a:pt x="54" y="465"/>
                    </a:lnTo>
                    <a:lnTo>
                      <a:pt x="54" y="463"/>
                    </a:lnTo>
                    <a:lnTo>
                      <a:pt x="51" y="463"/>
                    </a:lnTo>
                    <a:lnTo>
                      <a:pt x="53" y="460"/>
                    </a:lnTo>
                    <a:lnTo>
                      <a:pt x="54" y="461"/>
                    </a:lnTo>
                    <a:lnTo>
                      <a:pt x="56" y="461"/>
                    </a:lnTo>
                    <a:lnTo>
                      <a:pt x="54" y="460"/>
                    </a:lnTo>
                    <a:lnTo>
                      <a:pt x="54" y="461"/>
                    </a:lnTo>
                    <a:lnTo>
                      <a:pt x="53" y="460"/>
                    </a:lnTo>
                    <a:lnTo>
                      <a:pt x="56" y="456"/>
                    </a:lnTo>
                    <a:lnTo>
                      <a:pt x="54" y="456"/>
                    </a:lnTo>
                    <a:lnTo>
                      <a:pt x="54" y="454"/>
                    </a:lnTo>
                    <a:lnTo>
                      <a:pt x="53" y="454"/>
                    </a:lnTo>
                    <a:lnTo>
                      <a:pt x="54" y="454"/>
                    </a:lnTo>
                    <a:lnTo>
                      <a:pt x="54" y="456"/>
                    </a:lnTo>
                    <a:lnTo>
                      <a:pt x="54" y="458"/>
                    </a:lnTo>
                    <a:lnTo>
                      <a:pt x="53" y="458"/>
                    </a:lnTo>
                    <a:lnTo>
                      <a:pt x="51" y="460"/>
                    </a:lnTo>
                    <a:lnTo>
                      <a:pt x="49" y="461"/>
                    </a:lnTo>
                    <a:lnTo>
                      <a:pt x="48" y="460"/>
                    </a:lnTo>
                    <a:lnTo>
                      <a:pt x="49" y="460"/>
                    </a:lnTo>
                    <a:lnTo>
                      <a:pt x="48" y="460"/>
                    </a:lnTo>
                    <a:lnTo>
                      <a:pt x="49" y="458"/>
                    </a:lnTo>
                    <a:lnTo>
                      <a:pt x="48" y="460"/>
                    </a:lnTo>
                    <a:lnTo>
                      <a:pt x="46" y="458"/>
                    </a:lnTo>
                    <a:lnTo>
                      <a:pt x="44" y="458"/>
                    </a:lnTo>
                    <a:lnTo>
                      <a:pt x="44" y="456"/>
                    </a:lnTo>
                    <a:lnTo>
                      <a:pt x="44" y="454"/>
                    </a:lnTo>
                    <a:lnTo>
                      <a:pt x="43" y="456"/>
                    </a:lnTo>
                    <a:lnTo>
                      <a:pt x="41" y="456"/>
                    </a:lnTo>
                    <a:lnTo>
                      <a:pt x="39" y="458"/>
                    </a:lnTo>
                    <a:lnTo>
                      <a:pt x="39" y="460"/>
                    </a:lnTo>
                    <a:lnTo>
                      <a:pt x="37" y="460"/>
                    </a:lnTo>
                    <a:lnTo>
                      <a:pt x="36" y="460"/>
                    </a:lnTo>
                    <a:lnTo>
                      <a:pt x="36" y="461"/>
                    </a:lnTo>
                    <a:lnTo>
                      <a:pt x="34" y="461"/>
                    </a:lnTo>
                    <a:lnTo>
                      <a:pt x="32" y="463"/>
                    </a:lnTo>
                    <a:lnTo>
                      <a:pt x="31" y="463"/>
                    </a:lnTo>
                    <a:lnTo>
                      <a:pt x="31" y="460"/>
                    </a:lnTo>
                    <a:lnTo>
                      <a:pt x="27" y="460"/>
                    </a:lnTo>
                    <a:lnTo>
                      <a:pt x="26" y="461"/>
                    </a:lnTo>
                    <a:lnTo>
                      <a:pt x="24" y="458"/>
                    </a:lnTo>
                    <a:lnTo>
                      <a:pt x="20" y="458"/>
                    </a:lnTo>
                    <a:lnTo>
                      <a:pt x="19" y="456"/>
                    </a:lnTo>
                    <a:lnTo>
                      <a:pt x="19" y="451"/>
                    </a:lnTo>
                    <a:lnTo>
                      <a:pt x="15" y="446"/>
                    </a:lnTo>
                    <a:lnTo>
                      <a:pt x="15" y="444"/>
                    </a:lnTo>
                    <a:lnTo>
                      <a:pt x="14" y="441"/>
                    </a:lnTo>
                    <a:lnTo>
                      <a:pt x="14" y="439"/>
                    </a:lnTo>
                    <a:lnTo>
                      <a:pt x="15" y="437"/>
                    </a:lnTo>
                    <a:lnTo>
                      <a:pt x="14" y="437"/>
                    </a:lnTo>
                    <a:lnTo>
                      <a:pt x="17" y="432"/>
                    </a:lnTo>
                    <a:lnTo>
                      <a:pt x="17" y="431"/>
                    </a:lnTo>
                    <a:lnTo>
                      <a:pt x="17" y="432"/>
                    </a:lnTo>
                    <a:lnTo>
                      <a:pt x="15" y="432"/>
                    </a:lnTo>
                    <a:lnTo>
                      <a:pt x="15" y="436"/>
                    </a:lnTo>
                    <a:lnTo>
                      <a:pt x="14" y="436"/>
                    </a:lnTo>
                    <a:lnTo>
                      <a:pt x="14" y="431"/>
                    </a:lnTo>
                    <a:lnTo>
                      <a:pt x="10" y="429"/>
                    </a:lnTo>
                    <a:lnTo>
                      <a:pt x="12" y="424"/>
                    </a:lnTo>
                    <a:lnTo>
                      <a:pt x="10" y="422"/>
                    </a:lnTo>
                    <a:lnTo>
                      <a:pt x="9" y="420"/>
                    </a:lnTo>
                    <a:lnTo>
                      <a:pt x="10" y="422"/>
                    </a:lnTo>
                    <a:lnTo>
                      <a:pt x="12" y="424"/>
                    </a:lnTo>
                    <a:lnTo>
                      <a:pt x="10" y="427"/>
                    </a:lnTo>
                    <a:lnTo>
                      <a:pt x="7" y="427"/>
                    </a:lnTo>
                    <a:lnTo>
                      <a:pt x="7" y="424"/>
                    </a:lnTo>
                    <a:lnTo>
                      <a:pt x="9" y="424"/>
                    </a:lnTo>
                    <a:lnTo>
                      <a:pt x="7" y="422"/>
                    </a:lnTo>
                    <a:lnTo>
                      <a:pt x="9" y="422"/>
                    </a:lnTo>
                    <a:lnTo>
                      <a:pt x="7" y="422"/>
                    </a:lnTo>
                    <a:lnTo>
                      <a:pt x="7" y="424"/>
                    </a:lnTo>
                    <a:lnTo>
                      <a:pt x="7" y="426"/>
                    </a:lnTo>
                    <a:lnTo>
                      <a:pt x="7" y="429"/>
                    </a:lnTo>
                    <a:lnTo>
                      <a:pt x="9" y="432"/>
                    </a:lnTo>
                    <a:lnTo>
                      <a:pt x="9" y="434"/>
                    </a:lnTo>
                    <a:lnTo>
                      <a:pt x="5" y="431"/>
                    </a:lnTo>
                    <a:lnTo>
                      <a:pt x="5" y="429"/>
                    </a:lnTo>
                    <a:lnTo>
                      <a:pt x="3" y="427"/>
                    </a:lnTo>
                    <a:lnTo>
                      <a:pt x="5" y="427"/>
                    </a:lnTo>
                    <a:lnTo>
                      <a:pt x="5" y="426"/>
                    </a:lnTo>
                    <a:lnTo>
                      <a:pt x="5" y="424"/>
                    </a:lnTo>
                    <a:lnTo>
                      <a:pt x="5" y="426"/>
                    </a:lnTo>
                    <a:lnTo>
                      <a:pt x="5" y="427"/>
                    </a:lnTo>
                    <a:lnTo>
                      <a:pt x="3" y="427"/>
                    </a:lnTo>
                    <a:lnTo>
                      <a:pt x="2" y="426"/>
                    </a:lnTo>
                    <a:lnTo>
                      <a:pt x="2" y="424"/>
                    </a:lnTo>
                    <a:lnTo>
                      <a:pt x="3" y="424"/>
                    </a:lnTo>
                    <a:lnTo>
                      <a:pt x="3" y="422"/>
                    </a:lnTo>
                    <a:lnTo>
                      <a:pt x="2" y="424"/>
                    </a:lnTo>
                    <a:lnTo>
                      <a:pt x="2" y="422"/>
                    </a:lnTo>
                    <a:lnTo>
                      <a:pt x="0" y="419"/>
                    </a:lnTo>
                    <a:lnTo>
                      <a:pt x="0" y="415"/>
                    </a:lnTo>
                    <a:lnTo>
                      <a:pt x="2" y="415"/>
                    </a:lnTo>
                    <a:lnTo>
                      <a:pt x="2" y="414"/>
                    </a:lnTo>
                    <a:lnTo>
                      <a:pt x="5" y="410"/>
                    </a:lnTo>
                    <a:lnTo>
                      <a:pt x="3" y="410"/>
                    </a:lnTo>
                    <a:lnTo>
                      <a:pt x="5" y="409"/>
                    </a:lnTo>
                    <a:lnTo>
                      <a:pt x="5" y="407"/>
                    </a:lnTo>
                    <a:lnTo>
                      <a:pt x="7" y="405"/>
                    </a:lnTo>
                    <a:lnTo>
                      <a:pt x="9" y="405"/>
                    </a:lnTo>
                    <a:lnTo>
                      <a:pt x="10" y="402"/>
                    </a:lnTo>
                    <a:lnTo>
                      <a:pt x="10" y="395"/>
                    </a:lnTo>
                    <a:lnTo>
                      <a:pt x="12" y="390"/>
                    </a:lnTo>
                    <a:lnTo>
                      <a:pt x="12" y="388"/>
                    </a:lnTo>
                    <a:lnTo>
                      <a:pt x="15" y="381"/>
                    </a:lnTo>
                    <a:lnTo>
                      <a:pt x="15" y="380"/>
                    </a:lnTo>
                    <a:lnTo>
                      <a:pt x="12" y="376"/>
                    </a:lnTo>
                    <a:lnTo>
                      <a:pt x="12" y="375"/>
                    </a:lnTo>
                    <a:lnTo>
                      <a:pt x="14" y="371"/>
                    </a:lnTo>
                    <a:lnTo>
                      <a:pt x="14" y="369"/>
                    </a:lnTo>
                    <a:lnTo>
                      <a:pt x="12" y="369"/>
                    </a:lnTo>
                    <a:lnTo>
                      <a:pt x="12" y="368"/>
                    </a:lnTo>
                    <a:lnTo>
                      <a:pt x="15" y="366"/>
                    </a:lnTo>
                    <a:lnTo>
                      <a:pt x="15" y="364"/>
                    </a:lnTo>
                    <a:lnTo>
                      <a:pt x="19" y="363"/>
                    </a:lnTo>
                    <a:lnTo>
                      <a:pt x="26" y="356"/>
                    </a:lnTo>
                    <a:lnTo>
                      <a:pt x="29" y="352"/>
                    </a:lnTo>
                    <a:lnTo>
                      <a:pt x="34" y="351"/>
                    </a:lnTo>
                    <a:lnTo>
                      <a:pt x="37" y="344"/>
                    </a:lnTo>
                    <a:lnTo>
                      <a:pt x="37" y="342"/>
                    </a:lnTo>
                    <a:lnTo>
                      <a:pt x="41" y="344"/>
                    </a:lnTo>
                    <a:lnTo>
                      <a:pt x="43" y="337"/>
                    </a:lnTo>
                    <a:lnTo>
                      <a:pt x="48" y="337"/>
                    </a:lnTo>
                    <a:lnTo>
                      <a:pt x="49" y="335"/>
                    </a:lnTo>
                    <a:lnTo>
                      <a:pt x="49" y="332"/>
                    </a:lnTo>
                    <a:lnTo>
                      <a:pt x="51" y="334"/>
                    </a:lnTo>
                    <a:lnTo>
                      <a:pt x="53" y="332"/>
                    </a:lnTo>
                    <a:lnTo>
                      <a:pt x="53" y="334"/>
                    </a:lnTo>
                    <a:lnTo>
                      <a:pt x="56" y="334"/>
                    </a:lnTo>
                    <a:lnTo>
                      <a:pt x="58" y="327"/>
                    </a:lnTo>
                    <a:lnTo>
                      <a:pt x="58" y="322"/>
                    </a:lnTo>
                    <a:lnTo>
                      <a:pt x="59" y="320"/>
                    </a:lnTo>
                    <a:lnTo>
                      <a:pt x="65" y="320"/>
                    </a:lnTo>
                    <a:lnTo>
                      <a:pt x="68" y="315"/>
                    </a:lnTo>
                    <a:lnTo>
                      <a:pt x="78" y="306"/>
                    </a:lnTo>
                    <a:lnTo>
                      <a:pt x="80" y="308"/>
                    </a:lnTo>
                    <a:lnTo>
                      <a:pt x="78" y="308"/>
                    </a:lnTo>
                    <a:lnTo>
                      <a:pt x="80" y="310"/>
                    </a:lnTo>
                    <a:lnTo>
                      <a:pt x="80" y="312"/>
                    </a:lnTo>
                    <a:lnTo>
                      <a:pt x="82" y="315"/>
                    </a:lnTo>
                    <a:lnTo>
                      <a:pt x="93" y="313"/>
                    </a:lnTo>
                    <a:lnTo>
                      <a:pt x="95" y="313"/>
                    </a:lnTo>
                    <a:lnTo>
                      <a:pt x="97" y="312"/>
                    </a:lnTo>
                    <a:lnTo>
                      <a:pt x="99" y="301"/>
                    </a:lnTo>
                    <a:lnTo>
                      <a:pt x="100" y="301"/>
                    </a:lnTo>
                    <a:lnTo>
                      <a:pt x="100" y="305"/>
                    </a:lnTo>
                    <a:lnTo>
                      <a:pt x="102" y="306"/>
                    </a:lnTo>
                    <a:lnTo>
                      <a:pt x="105" y="306"/>
                    </a:lnTo>
                    <a:lnTo>
                      <a:pt x="105" y="308"/>
                    </a:lnTo>
                    <a:lnTo>
                      <a:pt x="107" y="310"/>
                    </a:lnTo>
                    <a:lnTo>
                      <a:pt x="109" y="312"/>
                    </a:lnTo>
                    <a:lnTo>
                      <a:pt x="110" y="310"/>
                    </a:lnTo>
                    <a:lnTo>
                      <a:pt x="112" y="312"/>
                    </a:lnTo>
                    <a:lnTo>
                      <a:pt x="112" y="317"/>
                    </a:lnTo>
                    <a:lnTo>
                      <a:pt x="112" y="318"/>
                    </a:lnTo>
                    <a:lnTo>
                      <a:pt x="114" y="318"/>
                    </a:lnTo>
                    <a:lnTo>
                      <a:pt x="116" y="320"/>
                    </a:lnTo>
                    <a:lnTo>
                      <a:pt x="117" y="323"/>
                    </a:lnTo>
                    <a:lnTo>
                      <a:pt x="117" y="325"/>
                    </a:lnTo>
                    <a:lnTo>
                      <a:pt x="121" y="325"/>
                    </a:lnTo>
                    <a:lnTo>
                      <a:pt x="122" y="323"/>
                    </a:lnTo>
                    <a:lnTo>
                      <a:pt x="124" y="323"/>
                    </a:lnTo>
                    <a:lnTo>
                      <a:pt x="126" y="325"/>
                    </a:lnTo>
                    <a:lnTo>
                      <a:pt x="126" y="332"/>
                    </a:lnTo>
                    <a:lnTo>
                      <a:pt x="127" y="332"/>
                    </a:lnTo>
                    <a:lnTo>
                      <a:pt x="129" y="330"/>
                    </a:lnTo>
                    <a:lnTo>
                      <a:pt x="133" y="334"/>
                    </a:lnTo>
                    <a:lnTo>
                      <a:pt x="134" y="332"/>
                    </a:lnTo>
                    <a:lnTo>
                      <a:pt x="136" y="334"/>
                    </a:lnTo>
                    <a:lnTo>
                      <a:pt x="139" y="334"/>
                    </a:lnTo>
                    <a:lnTo>
                      <a:pt x="143" y="332"/>
                    </a:lnTo>
                    <a:lnTo>
                      <a:pt x="143" y="329"/>
                    </a:lnTo>
                    <a:lnTo>
                      <a:pt x="146" y="329"/>
                    </a:lnTo>
                    <a:lnTo>
                      <a:pt x="150" y="327"/>
                    </a:lnTo>
                    <a:lnTo>
                      <a:pt x="150" y="323"/>
                    </a:lnTo>
                    <a:lnTo>
                      <a:pt x="151" y="322"/>
                    </a:lnTo>
                    <a:lnTo>
                      <a:pt x="150" y="320"/>
                    </a:lnTo>
                    <a:lnTo>
                      <a:pt x="151" y="318"/>
                    </a:lnTo>
                    <a:lnTo>
                      <a:pt x="150" y="318"/>
                    </a:lnTo>
                    <a:lnTo>
                      <a:pt x="151" y="317"/>
                    </a:lnTo>
                    <a:lnTo>
                      <a:pt x="150" y="317"/>
                    </a:lnTo>
                    <a:lnTo>
                      <a:pt x="151" y="313"/>
                    </a:lnTo>
                    <a:lnTo>
                      <a:pt x="153" y="310"/>
                    </a:lnTo>
                    <a:lnTo>
                      <a:pt x="155" y="310"/>
                    </a:lnTo>
                    <a:lnTo>
                      <a:pt x="156" y="306"/>
                    </a:lnTo>
                    <a:lnTo>
                      <a:pt x="158" y="306"/>
                    </a:lnTo>
                    <a:lnTo>
                      <a:pt x="163" y="306"/>
                    </a:lnTo>
                    <a:lnTo>
                      <a:pt x="163" y="305"/>
                    </a:lnTo>
                    <a:lnTo>
                      <a:pt x="163" y="303"/>
                    </a:lnTo>
                    <a:lnTo>
                      <a:pt x="161" y="296"/>
                    </a:lnTo>
                    <a:lnTo>
                      <a:pt x="161" y="295"/>
                    </a:lnTo>
                    <a:lnTo>
                      <a:pt x="165" y="288"/>
                    </a:lnTo>
                    <a:lnTo>
                      <a:pt x="168" y="284"/>
                    </a:lnTo>
                    <a:lnTo>
                      <a:pt x="173" y="283"/>
                    </a:lnTo>
                    <a:lnTo>
                      <a:pt x="172" y="276"/>
                    </a:lnTo>
                    <a:lnTo>
                      <a:pt x="173" y="272"/>
                    </a:lnTo>
                    <a:lnTo>
                      <a:pt x="177" y="266"/>
                    </a:lnTo>
                    <a:lnTo>
                      <a:pt x="180" y="264"/>
                    </a:lnTo>
                    <a:lnTo>
                      <a:pt x="180" y="262"/>
                    </a:lnTo>
                    <a:lnTo>
                      <a:pt x="182" y="261"/>
                    </a:lnTo>
                    <a:lnTo>
                      <a:pt x="184" y="259"/>
                    </a:lnTo>
                    <a:lnTo>
                      <a:pt x="182" y="254"/>
                    </a:lnTo>
                    <a:lnTo>
                      <a:pt x="184" y="250"/>
                    </a:lnTo>
                    <a:lnTo>
                      <a:pt x="185" y="247"/>
                    </a:lnTo>
                    <a:lnTo>
                      <a:pt x="184" y="240"/>
                    </a:lnTo>
                    <a:lnTo>
                      <a:pt x="184" y="238"/>
                    </a:lnTo>
                    <a:lnTo>
                      <a:pt x="184" y="235"/>
                    </a:lnTo>
                    <a:lnTo>
                      <a:pt x="192" y="233"/>
                    </a:lnTo>
                    <a:lnTo>
                      <a:pt x="195" y="228"/>
                    </a:lnTo>
                    <a:lnTo>
                      <a:pt x="195" y="227"/>
                    </a:lnTo>
                    <a:lnTo>
                      <a:pt x="197" y="227"/>
                    </a:lnTo>
                    <a:lnTo>
                      <a:pt x="202" y="228"/>
                    </a:lnTo>
                    <a:lnTo>
                      <a:pt x="204" y="225"/>
                    </a:lnTo>
                    <a:lnTo>
                      <a:pt x="206" y="227"/>
                    </a:lnTo>
                    <a:lnTo>
                      <a:pt x="207" y="223"/>
                    </a:lnTo>
                    <a:lnTo>
                      <a:pt x="207" y="220"/>
                    </a:lnTo>
                    <a:lnTo>
                      <a:pt x="211" y="220"/>
                    </a:lnTo>
                    <a:lnTo>
                      <a:pt x="212" y="218"/>
                    </a:lnTo>
                    <a:lnTo>
                      <a:pt x="212" y="211"/>
                    </a:lnTo>
                    <a:lnTo>
                      <a:pt x="216" y="208"/>
                    </a:lnTo>
                    <a:lnTo>
                      <a:pt x="218" y="201"/>
                    </a:lnTo>
                    <a:lnTo>
                      <a:pt x="216" y="199"/>
                    </a:lnTo>
                    <a:lnTo>
                      <a:pt x="218" y="196"/>
                    </a:lnTo>
                    <a:lnTo>
                      <a:pt x="218" y="191"/>
                    </a:lnTo>
                    <a:lnTo>
                      <a:pt x="216" y="189"/>
                    </a:lnTo>
                    <a:lnTo>
                      <a:pt x="216" y="187"/>
                    </a:lnTo>
                    <a:lnTo>
                      <a:pt x="219" y="186"/>
                    </a:lnTo>
                    <a:lnTo>
                      <a:pt x="221" y="184"/>
                    </a:lnTo>
                    <a:lnTo>
                      <a:pt x="224" y="182"/>
                    </a:lnTo>
                    <a:lnTo>
                      <a:pt x="231" y="181"/>
                    </a:lnTo>
                    <a:lnTo>
                      <a:pt x="231" y="179"/>
                    </a:lnTo>
                    <a:lnTo>
                      <a:pt x="233" y="179"/>
                    </a:lnTo>
                    <a:lnTo>
                      <a:pt x="233" y="177"/>
                    </a:lnTo>
                    <a:lnTo>
                      <a:pt x="235" y="174"/>
                    </a:lnTo>
                    <a:lnTo>
                      <a:pt x="235" y="172"/>
                    </a:lnTo>
                    <a:lnTo>
                      <a:pt x="235" y="169"/>
                    </a:lnTo>
                    <a:lnTo>
                      <a:pt x="238" y="165"/>
                    </a:lnTo>
                    <a:lnTo>
                      <a:pt x="235" y="164"/>
                    </a:lnTo>
                    <a:lnTo>
                      <a:pt x="235" y="162"/>
                    </a:lnTo>
                    <a:lnTo>
                      <a:pt x="236" y="160"/>
                    </a:lnTo>
                    <a:lnTo>
                      <a:pt x="236" y="158"/>
                    </a:lnTo>
                    <a:lnTo>
                      <a:pt x="235" y="157"/>
                    </a:lnTo>
                    <a:lnTo>
                      <a:pt x="235" y="155"/>
                    </a:lnTo>
                    <a:lnTo>
                      <a:pt x="236" y="153"/>
                    </a:lnTo>
                    <a:lnTo>
                      <a:pt x="238" y="152"/>
                    </a:lnTo>
                    <a:lnTo>
                      <a:pt x="241" y="150"/>
                    </a:lnTo>
                    <a:lnTo>
                      <a:pt x="245" y="148"/>
                    </a:lnTo>
                    <a:lnTo>
                      <a:pt x="245" y="145"/>
                    </a:lnTo>
                    <a:lnTo>
                      <a:pt x="246" y="143"/>
                    </a:lnTo>
                    <a:lnTo>
                      <a:pt x="248" y="133"/>
                    </a:lnTo>
                    <a:lnTo>
                      <a:pt x="250" y="131"/>
                    </a:lnTo>
                    <a:lnTo>
                      <a:pt x="248" y="128"/>
                    </a:lnTo>
                    <a:lnTo>
                      <a:pt x="248" y="124"/>
                    </a:lnTo>
                    <a:lnTo>
                      <a:pt x="252" y="123"/>
                    </a:lnTo>
                    <a:lnTo>
                      <a:pt x="252" y="121"/>
                    </a:lnTo>
                    <a:lnTo>
                      <a:pt x="253" y="118"/>
                    </a:lnTo>
                    <a:lnTo>
                      <a:pt x="257" y="114"/>
                    </a:lnTo>
                    <a:lnTo>
                      <a:pt x="257" y="107"/>
                    </a:lnTo>
                    <a:lnTo>
                      <a:pt x="262" y="106"/>
                    </a:lnTo>
                    <a:lnTo>
                      <a:pt x="263" y="102"/>
                    </a:lnTo>
                    <a:lnTo>
                      <a:pt x="265" y="102"/>
                    </a:lnTo>
                    <a:lnTo>
                      <a:pt x="267" y="99"/>
                    </a:lnTo>
                    <a:lnTo>
                      <a:pt x="269" y="97"/>
                    </a:lnTo>
                    <a:lnTo>
                      <a:pt x="272" y="90"/>
                    </a:lnTo>
                    <a:lnTo>
                      <a:pt x="279" y="94"/>
                    </a:lnTo>
                    <a:lnTo>
                      <a:pt x="280" y="94"/>
                    </a:lnTo>
                    <a:lnTo>
                      <a:pt x="289" y="87"/>
                    </a:lnTo>
                    <a:lnTo>
                      <a:pt x="294" y="85"/>
                    </a:lnTo>
                    <a:lnTo>
                      <a:pt x="296" y="82"/>
                    </a:lnTo>
                    <a:lnTo>
                      <a:pt x="304" y="80"/>
                    </a:lnTo>
                    <a:lnTo>
                      <a:pt x="304" y="79"/>
                    </a:lnTo>
                    <a:lnTo>
                      <a:pt x="306" y="75"/>
                    </a:lnTo>
                    <a:lnTo>
                      <a:pt x="306" y="73"/>
                    </a:lnTo>
                    <a:lnTo>
                      <a:pt x="301" y="70"/>
                    </a:lnTo>
                    <a:lnTo>
                      <a:pt x="304" y="67"/>
                    </a:lnTo>
                    <a:lnTo>
                      <a:pt x="303" y="62"/>
                    </a:lnTo>
                    <a:lnTo>
                      <a:pt x="306" y="60"/>
                    </a:lnTo>
                    <a:lnTo>
                      <a:pt x="304" y="58"/>
                    </a:lnTo>
                    <a:lnTo>
                      <a:pt x="306" y="58"/>
                    </a:lnTo>
                    <a:lnTo>
                      <a:pt x="304" y="53"/>
                    </a:lnTo>
                    <a:lnTo>
                      <a:pt x="306" y="53"/>
                    </a:lnTo>
                    <a:lnTo>
                      <a:pt x="304" y="51"/>
                    </a:lnTo>
                    <a:lnTo>
                      <a:pt x="308" y="46"/>
                    </a:lnTo>
                    <a:lnTo>
                      <a:pt x="306" y="46"/>
                    </a:lnTo>
                    <a:lnTo>
                      <a:pt x="304" y="46"/>
                    </a:lnTo>
                    <a:lnTo>
                      <a:pt x="303" y="46"/>
                    </a:lnTo>
                    <a:lnTo>
                      <a:pt x="304" y="45"/>
                    </a:lnTo>
                    <a:lnTo>
                      <a:pt x="303" y="45"/>
                    </a:lnTo>
                    <a:lnTo>
                      <a:pt x="301" y="43"/>
                    </a:lnTo>
                    <a:lnTo>
                      <a:pt x="301" y="41"/>
                    </a:lnTo>
                    <a:lnTo>
                      <a:pt x="299" y="41"/>
                    </a:lnTo>
                    <a:lnTo>
                      <a:pt x="299" y="39"/>
                    </a:lnTo>
                    <a:lnTo>
                      <a:pt x="297" y="39"/>
                    </a:lnTo>
                    <a:lnTo>
                      <a:pt x="297" y="38"/>
                    </a:lnTo>
                    <a:lnTo>
                      <a:pt x="296" y="38"/>
                    </a:lnTo>
                    <a:lnTo>
                      <a:pt x="294" y="36"/>
                    </a:lnTo>
                    <a:lnTo>
                      <a:pt x="292" y="38"/>
                    </a:lnTo>
                    <a:lnTo>
                      <a:pt x="289" y="36"/>
                    </a:lnTo>
                    <a:lnTo>
                      <a:pt x="289" y="38"/>
                    </a:lnTo>
                    <a:lnTo>
                      <a:pt x="287" y="36"/>
                    </a:lnTo>
                    <a:lnTo>
                      <a:pt x="287" y="38"/>
                    </a:lnTo>
                    <a:lnTo>
                      <a:pt x="287" y="36"/>
                    </a:lnTo>
                    <a:lnTo>
                      <a:pt x="284" y="38"/>
                    </a:lnTo>
                    <a:lnTo>
                      <a:pt x="282" y="34"/>
                    </a:lnTo>
                    <a:lnTo>
                      <a:pt x="282" y="33"/>
                    </a:lnTo>
                    <a:lnTo>
                      <a:pt x="282" y="31"/>
                    </a:lnTo>
                    <a:lnTo>
                      <a:pt x="282" y="29"/>
                    </a:lnTo>
                    <a:lnTo>
                      <a:pt x="279" y="14"/>
                    </a:lnTo>
                    <a:lnTo>
                      <a:pt x="277" y="0"/>
                    </a:lnTo>
                    <a:close/>
                    <a:moveTo>
                      <a:pt x="43" y="461"/>
                    </a:moveTo>
                    <a:lnTo>
                      <a:pt x="43" y="463"/>
                    </a:lnTo>
                    <a:lnTo>
                      <a:pt x="43" y="465"/>
                    </a:lnTo>
                    <a:lnTo>
                      <a:pt x="41" y="465"/>
                    </a:lnTo>
                    <a:lnTo>
                      <a:pt x="41" y="466"/>
                    </a:lnTo>
                    <a:lnTo>
                      <a:pt x="41" y="465"/>
                    </a:lnTo>
                    <a:lnTo>
                      <a:pt x="44" y="465"/>
                    </a:lnTo>
                    <a:lnTo>
                      <a:pt x="41" y="466"/>
                    </a:lnTo>
                    <a:lnTo>
                      <a:pt x="39" y="466"/>
                    </a:lnTo>
                    <a:lnTo>
                      <a:pt x="36" y="465"/>
                    </a:lnTo>
                    <a:lnTo>
                      <a:pt x="34" y="463"/>
                    </a:lnTo>
                    <a:lnTo>
                      <a:pt x="36" y="461"/>
                    </a:lnTo>
                    <a:lnTo>
                      <a:pt x="36" y="463"/>
                    </a:lnTo>
                    <a:lnTo>
                      <a:pt x="36" y="461"/>
                    </a:lnTo>
                    <a:lnTo>
                      <a:pt x="37" y="463"/>
                    </a:lnTo>
                    <a:lnTo>
                      <a:pt x="39" y="463"/>
                    </a:lnTo>
                    <a:lnTo>
                      <a:pt x="41" y="463"/>
                    </a:lnTo>
                    <a:lnTo>
                      <a:pt x="41" y="461"/>
                    </a:lnTo>
                    <a:lnTo>
                      <a:pt x="41" y="460"/>
                    </a:lnTo>
                    <a:lnTo>
                      <a:pt x="41" y="461"/>
                    </a:lnTo>
                    <a:lnTo>
                      <a:pt x="43" y="461"/>
                    </a:lnTo>
                    <a:close/>
                    <a:moveTo>
                      <a:pt x="53" y="468"/>
                    </a:moveTo>
                    <a:lnTo>
                      <a:pt x="54" y="470"/>
                    </a:lnTo>
                    <a:lnTo>
                      <a:pt x="54" y="473"/>
                    </a:lnTo>
                    <a:lnTo>
                      <a:pt x="53" y="473"/>
                    </a:lnTo>
                    <a:lnTo>
                      <a:pt x="51" y="473"/>
                    </a:lnTo>
                    <a:lnTo>
                      <a:pt x="49" y="471"/>
                    </a:lnTo>
                    <a:lnTo>
                      <a:pt x="51" y="468"/>
                    </a:lnTo>
                    <a:lnTo>
                      <a:pt x="53" y="468"/>
                    </a:lnTo>
                    <a:close/>
                    <a:moveTo>
                      <a:pt x="12" y="434"/>
                    </a:moveTo>
                    <a:lnTo>
                      <a:pt x="9" y="429"/>
                    </a:lnTo>
                    <a:lnTo>
                      <a:pt x="9" y="427"/>
                    </a:lnTo>
                    <a:lnTo>
                      <a:pt x="10" y="427"/>
                    </a:lnTo>
                    <a:lnTo>
                      <a:pt x="10" y="429"/>
                    </a:lnTo>
                    <a:lnTo>
                      <a:pt x="12" y="431"/>
                    </a:lnTo>
                    <a:lnTo>
                      <a:pt x="12" y="434"/>
                    </a:lnTo>
                    <a:close/>
                    <a:moveTo>
                      <a:pt x="39" y="461"/>
                    </a:moveTo>
                    <a:lnTo>
                      <a:pt x="39" y="463"/>
                    </a:lnTo>
                    <a:lnTo>
                      <a:pt x="36" y="461"/>
                    </a:lnTo>
                    <a:lnTo>
                      <a:pt x="37" y="460"/>
                    </a:lnTo>
                    <a:lnTo>
                      <a:pt x="39" y="460"/>
                    </a:lnTo>
                    <a:lnTo>
                      <a:pt x="41" y="458"/>
                    </a:lnTo>
                    <a:lnTo>
                      <a:pt x="41" y="460"/>
                    </a:lnTo>
                    <a:lnTo>
                      <a:pt x="39" y="461"/>
                    </a:lnTo>
                    <a:close/>
                    <a:moveTo>
                      <a:pt x="44" y="460"/>
                    </a:moveTo>
                    <a:lnTo>
                      <a:pt x="46" y="460"/>
                    </a:lnTo>
                    <a:lnTo>
                      <a:pt x="46" y="463"/>
                    </a:lnTo>
                    <a:lnTo>
                      <a:pt x="44" y="463"/>
                    </a:lnTo>
                    <a:lnTo>
                      <a:pt x="44" y="460"/>
                    </a:lnTo>
                    <a:close/>
                    <a:moveTo>
                      <a:pt x="53" y="483"/>
                    </a:moveTo>
                    <a:lnTo>
                      <a:pt x="51" y="483"/>
                    </a:lnTo>
                    <a:lnTo>
                      <a:pt x="53" y="482"/>
                    </a:lnTo>
                    <a:lnTo>
                      <a:pt x="56" y="482"/>
                    </a:lnTo>
                    <a:lnTo>
                      <a:pt x="53" y="483"/>
                    </a:lnTo>
                    <a:close/>
                    <a:moveTo>
                      <a:pt x="43" y="460"/>
                    </a:moveTo>
                    <a:lnTo>
                      <a:pt x="44" y="460"/>
                    </a:lnTo>
                    <a:lnTo>
                      <a:pt x="44" y="461"/>
                    </a:lnTo>
                    <a:lnTo>
                      <a:pt x="43" y="461"/>
                    </a:lnTo>
                    <a:lnTo>
                      <a:pt x="43" y="460"/>
                    </a:lnTo>
                    <a:close/>
                    <a:moveTo>
                      <a:pt x="41" y="456"/>
                    </a:moveTo>
                    <a:lnTo>
                      <a:pt x="43" y="456"/>
                    </a:lnTo>
                    <a:lnTo>
                      <a:pt x="43" y="460"/>
                    </a:lnTo>
                    <a:lnTo>
                      <a:pt x="41" y="460"/>
                    </a:lnTo>
                    <a:lnTo>
                      <a:pt x="41" y="456"/>
                    </a:lnTo>
                    <a:close/>
                    <a:moveTo>
                      <a:pt x="43" y="458"/>
                    </a:moveTo>
                    <a:lnTo>
                      <a:pt x="44" y="458"/>
                    </a:lnTo>
                    <a:lnTo>
                      <a:pt x="44" y="460"/>
                    </a:lnTo>
                    <a:lnTo>
                      <a:pt x="43" y="460"/>
                    </a:lnTo>
                    <a:lnTo>
                      <a:pt x="43" y="458"/>
                    </a:lnTo>
                    <a:close/>
                    <a:moveTo>
                      <a:pt x="41" y="456"/>
                    </a:moveTo>
                    <a:lnTo>
                      <a:pt x="43" y="456"/>
                    </a:lnTo>
                    <a:lnTo>
                      <a:pt x="43" y="460"/>
                    </a:lnTo>
                    <a:lnTo>
                      <a:pt x="41" y="460"/>
                    </a:lnTo>
                    <a:lnTo>
                      <a:pt x="41" y="456"/>
                    </a:lnTo>
                    <a:close/>
                    <a:moveTo>
                      <a:pt x="37" y="461"/>
                    </a:moveTo>
                    <a:lnTo>
                      <a:pt x="41" y="461"/>
                    </a:lnTo>
                    <a:lnTo>
                      <a:pt x="41" y="463"/>
                    </a:lnTo>
                    <a:lnTo>
                      <a:pt x="37" y="463"/>
                    </a:lnTo>
                    <a:lnTo>
                      <a:pt x="37" y="461"/>
                    </a:lnTo>
                    <a:close/>
                    <a:moveTo>
                      <a:pt x="37" y="458"/>
                    </a:moveTo>
                    <a:lnTo>
                      <a:pt x="39" y="458"/>
                    </a:lnTo>
                    <a:lnTo>
                      <a:pt x="39" y="460"/>
                    </a:lnTo>
                    <a:lnTo>
                      <a:pt x="37" y="460"/>
                    </a:lnTo>
                    <a:lnTo>
                      <a:pt x="37" y="458"/>
                    </a:lnTo>
                    <a:close/>
                    <a:moveTo>
                      <a:pt x="41" y="460"/>
                    </a:moveTo>
                    <a:lnTo>
                      <a:pt x="43" y="460"/>
                    </a:lnTo>
                    <a:lnTo>
                      <a:pt x="43" y="461"/>
                    </a:lnTo>
                    <a:lnTo>
                      <a:pt x="41" y="461"/>
                    </a:lnTo>
                    <a:lnTo>
                      <a:pt x="41" y="460"/>
                    </a:lnTo>
                    <a:close/>
                    <a:moveTo>
                      <a:pt x="17" y="431"/>
                    </a:moveTo>
                    <a:lnTo>
                      <a:pt x="17" y="432"/>
                    </a:lnTo>
                    <a:lnTo>
                      <a:pt x="17" y="431"/>
                    </a:lnTo>
                    <a:close/>
                    <a:moveTo>
                      <a:pt x="44" y="454"/>
                    </a:moveTo>
                    <a:lnTo>
                      <a:pt x="44" y="456"/>
                    </a:lnTo>
                    <a:lnTo>
                      <a:pt x="44" y="454"/>
                    </a:lnTo>
                    <a:close/>
                    <a:moveTo>
                      <a:pt x="54" y="482"/>
                    </a:moveTo>
                    <a:lnTo>
                      <a:pt x="56" y="482"/>
                    </a:lnTo>
                    <a:lnTo>
                      <a:pt x="56" y="483"/>
                    </a:lnTo>
                    <a:lnTo>
                      <a:pt x="54" y="483"/>
                    </a:lnTo>
                    <a:lnTo>
                      <a:pt x="54" y="482"/>
                    </a:lnTo>
                    <a:close/>
                    <a:moveTo>
                      <a:pt x="56" y="482"/>
                    </a:moveTo>
                    <a:lnTo>
                      <a:pt x="58" y="482"/>
                    </a:lnTo>
                    <a:lnTo>
                      <a:pt x="56" y="482"/>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1" name="Freeform 17">
                <a:extLst>
                  <a:ext uri="{FF2B5EF4-FFF2-40B4-BE49-F238E27FC236}">
                    <a16:creationId xmlns:a16="http://schemas.microsoft.com/office/drawing/2014/main" id="{1C39A612-B7DB-443F-AEBC-F307FFB848AC}"/>
                  </a:ext>
                </a:extLst>
              </p:cNvPr>
              <p:cNvSpPr>
                <a:spLocks noEditPoints="1"/>
              </p:cNvSpPr>
              <p:nvPr/>
            </p:nvSpPr>
            <p:spPr bwMode="gray">
              <a:xfrm>
                <a:off x="5260975" y="3065463"/>
                <a:ext cx="15875" cy="26988"/>
              </a:xfrm>
              <a:custGeom>
                <a:avLst/>
                <a:gdLst>
                  <a:gd name="T0" fmla="*/ 7 w 10"/>
                  <a:gd name="T1" fmla="*/ 13 h 17"/>
                  <a:gd name="T2" fmla="*/ 7 w 10"/>
                  <a:gd name="T3" fmla="*/ 17 h 17"/>
                  <a:gd name="T4" fmla="*/ 2 w 10"/>
                  <a:gd name="T5" fmla="*/ 13 h 17"/>
                  <a:gd name="T6" fmla="*/ 2 w 10"/>
                  <a:gd name="T7" fmla="*/ 13 h 17"/>
                  <a:gd name="T8" fmla="*/ 3 w 10"/>
                  <a:gd name="T9" fmla="*/ 10 h 17"/>
                  <a:gd name="T10" fmla="*/ 10 w 10"/>
                  <a:gd name="T11" fmla="*/ 17 h 17"/>
                  <a:gd name="T12" fmla="*/ 2 w 10"/>
                  <a:gd name="T13" fmla="*/ 17 h 17"/>
                  <a:gd name="T14" fmla="*/ 7 w 10"/>
                  <a:gd name="T15" fmla="*/ 17 h 17"/>
                  <a:gd name="T16" fmla="*/ 8 w 10"/>
                  <a:gd name="T17" fmla="*/ 15 h 17"/>
                  <a:gd name="T18" fmla="*/ 3 w 10"/>
                  <a:gd name="T19" fmla="*/ 1 h 17"/>
                  <a:gd name="T20" fmla="*/ 7 w 10"/>
                  <a:gd name="T21" fmla="*/ 3 h 17"/>
                  <a:gd name="T22" fmla="*/ 2 w 10"/>
                  <a:gd name="T23" fmla="*/ 3 h 17"/>
                  <a:gd name="T24" fmla="*/ 5 w 10"/>
                  <a:gd name="T25" fmla="*/ 7 h 17"/>
                  <a:gd name="T26" fmla="*/ 7 w 10"/>
                  <a:gd name="T27" fmla="*/ 7 h 17"/>
                  <a:gd name="T28" fmla="*/ 5 w 10"/>
                  <a:gd name="T29" fmla="*/ 10 h 17"/>
                  <a:gd name="T30" fmla="*/ 3 w 10"/>
                  <a:gd name="T31" fmla="*/ 8 h 17"/>
                  <a:gd name="T32" fmla="*/ 3 w 10"/>
                  <a:gd name="T33" fmla="*/ 7 h 17"/>
                  <a:gd name="T34" fmla="*/ 5 w 10"/>
                  <a:gd name="T35" fmla="*/ 5 h 17"/>
                  <a:gd name="T36" fmla="*/ 2 w 10"/>
                  <a:gd name="T37" fmla="*/ 13 h 17"/>
                  <a:gd name="T38" fmla="*/ 0 w 10"/>
                  <a:gd name="T39" fmla="*/ 17 h 17"/>
                  <a:gd name="T40" fmla="*/ 2 w 10"/>
                  <a:gd name="T41" fmla="*/ 12 h 17"/>
                  <a:gd name="T42" fmla="*/ 7 w 10"/>
                  <a:gd name="T43" fmla="*/ 10 h 17"/>
                  <a:gd name="T44" fmla="*/ 7 w 10"/>
                  <a:gd name="T45" fmla="*/ 13 h 17"/>
                  <a:gd name="T46" fmla="*/ 5 w 10"/>
                  <a:gd name="T47" fmla="*/ 10 h 17"/>
                  <a:gd name="T48" fmla="*/ 7 w 10"/>
                  <a:gd name="T49" fmla="*/ 10 h 17"/>
                  <a:gd name="T50" fmla="*/ 3 w 10"/>
                  <a:gd name="T51" fmla="*/ 10 h 17"/>
                  <a:gd name="T52" fmla="*/ 0 w 10"/>
                  <a:gd name="T53" fmla="*/ 8 h 17"/>
                  <a:gd name="T54" fmla="*/ 2 w 10"/>
                  <a:gd name="T55" fmla="*/ 10 h 17"/>
                  <a:gd name="T56" fmla="*/ 3 w 10"/>
                  <a:gd name="T57" fmla="*/ 7 h 17"/>
                  <a:gd name="T58" fmla="*/ 2 w 10"/>
                  <a:gd name="T59" fmla="*/ 10 h 17"/>
                  <a:gd name="T60" fmla="*/ 2 w 10"/>
                  <a:gd name="T61" fmla="*/ 10 h 17"/>
                  <a:gd name="T62" fmla="*/ 3 w 10"/>
                  <a:gd name="T63" fmla="*/ 12 h 17"/>
                  <a:gd name="T64" fmla="*/ 2 w 10"/>
                  <a:gd name="T65" fmla="*/ 10 h 17"/>
                  <a:gd name="T66" fmla="*/ 7 w 10"/>
                  <a:gd name="T67" fmla="*/ 3 h 17"/>
                  <a:gd name="T68" fmla="*/ 5 w 10"/>
                  <a:gd name="T69" fmla="*/ 7 h 17"/>
                  <a:gd name="T70" fmla="*/ 2 w 10"/>
                  <a:gd name="T71" fmla="*/ 5 h 17"/>
                  <a:gd name="T72" fmla="*/ 3 w 10"/>
                  <a:gd name="T73" fmla="*/ 7 h 17"/>
                  <a:gd name="T74" fmla="*/ 2 w 10"/>
                  <a:gd name="T75" fmla="*/ 5 h 17"/>
                  <a:gd name="T76" fmla="*/ 2 w 10"/>
                  <a:gd name="T77" fmla="*/ 5 h 17"/>
                  <a:gd name="T78" fmla="*/ 0 w 10"/>
                  <a:gd name="T79" fmla="*/ 7 h 17"/>
                  <a:gd name="T80" fmla="*/ 2 w 10"/>
                  <a:gd name="T81" fmla="*/ 8 h 17"/>
                  <a:gd name="T82" fmla="*/ 0 w 10"/>
                  <a:gd name="T83" fmla="*/ 7 h 17"/>
                  <a:gd name="T84" fmla="*/ 3 w 10"/>
                  <a:gd name="T85" fmla="*/ 1 h 17"/>
                  <a:gd name="T86" fmla="*/ 2 w 10"/>
                  <a:gd name="T87" fmla="*/ 3 h 17"/>
                  <a:gd name="T88" fmla="*/ 2 w 10"/>
                  <a:gd name="T89" fmla="*/ 0 h 17"/>
                  <a:gd name="T90" fmla="*/ 3 w 10"/>
                  <a:gd name="T91" fmla="*/ 1 h 17"/>
                  <a:gd name="T92" fmla="*/ 2 w 10"/>
                  <a:gd name="T9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 h="17">
                    <a:moveTo>
                      <a:pt x="5" y="10"/>
                    </a:moveTo>
                    <a:lnTo>
                      <a:pt x="7" y="13"/>
                    </a:lnTo>
                    <a:lnTo>
                      <a:pt x="7" y="15"/>
                    </a:lnTo>
                    <a:lnTo>
                      <a:pt x="7" y="17"/>
                    </a:lnTo>
                    <a:lnTo>
                      <a:pt x="3" y="17"/>
                    </a:lnTo>
                    <a:lnTo>
                      <a:pt x="2" y="13"/>
                    </a:lnTo>
                    <a:lnTo>
                      <a:pt x="3" y="13"/>
                    </a:lnTo>
                    <a:lnTo>
                      <a:pt x="2" y="13"/>
                    </a:lnTo>
                    <a:lnTo>
                      <a:pt x="3" y="12"/>
                    </a:lnTo>
                    <a:lnTo>
                      <a:pt x="3" y="10"/>
                    </a:lnTo>
                    <a:lnTo>
                      <a:pt x="5" y="10"/>
                    </a:lnTo>
                    <a:close/>
                    <a:moveTo>
                      <a:pt x="10" y="17"/>
                    </a:moveTo>
                    <a:lnTo>
                      <a:pt x="8" y="17"/>
                    </a:lnTo>
                    <a:lnTo>
                      <a:pt x="2" y="17"/>
                    </a:lnTo>
                    <a:lnTo>
                      <a:pt x="3" y="17"/>
                    </a:lnTo>
                    <a:lnTo>
                      <a:pt x="7" y="17"/>
                    </a:lnTo>
                    <a:lnTo>
                      <a:pt x="7" y="15"/>
                    </a:lnTo>
                    <a:lnTo>
                      <a:pt x="8" y="15"/>
                    </a:lnTo>
                    <a:lnTo>
                      <a:pt x="10" y="17"/>
                    </a:lnTo>
                    <a:close/>
                    <a:moveTo>
                      <a:pt x="3" y="1"/>
                    </a:moveTo>
                    <a:lnTo>
                      <a:pt x="5" y="0"/>
                    </a:lnTo>
                    <a:lnTo>
                      <a:pt x="7" y="3"/>
                    </a:lnTo>
                    <a:lnTo>
                      <a:pt x="3" y="5"/>
                    </a:lnTo>
                    <a:lnTo>
                      <a:pt x="2" y="3"/>
                    </a:lnTo>
                    <a:lnTo>
                      <a:pt x="3" y="1"/>
                    </a:lnTo>
                    <a:close/>
                    <a:moveTo>
                      <a:pt x="5" y="7"/>
                    </a:moveTo>
                    <a:lnTo>
                      <a:pt x="5" y="5"/>
                    </a:lnTo>
                    <a:lnTo>
                      <a:pt x="7" y="7"/>
                    </a:lnTo>
                    <a:lnTo>
                      <a:pt x="5" y="8"/>
                    </a:lnTo>
                    <a:lnTo>
                      <a:pt x="5" y="10"/>
                    </a:lnTo>
                    <a:lnTo>
                      <a:pt x="3" y="10"/>
                    </a:lnTo>
                    <a:lnTo>
                      <a:pt x="3" y="8"/>
                    </a:lnTo>
                    <a:lnTo>
                      <a:pt x="2" y="7"/>
                    </a:lnTo>
                    <a:lnTo>
                      <a:pt x="3" y="7"/>
                    </a:lnTo>
                    <a:lnTo>
                      <a:pt x="3" y="5"/>
                    </a:lnTo>
                    <a:lnTo>
                      <a:pt x="5" y="5"/>
                    </a:lnTo>
                    <a:lnTo>
                      <a:pt x="5" y="7"/>
                    </a:lnTo>
                    <a:close/>
                    <a:moveTo>
                      <a:pt x="2" y="13"/>
                    </a:moveTo>
                    <a:lnTo>
                      <a:pt x="3" y="15"/>
                    </a:lnTo>
                    <a:lnTo>
                      <a:pt x="0" y="17"/>
                    </a:lnTo>
                    <a:lnTo>
                      <a:pt x="0" y="13"/>
                    </a:lnTo>
                    <a:lnTo>
                      <a:pt x="2" y="12"/>
                    </a:lnTo>
                    <a:lnTo>
                      <a:pt x="2" y="13"/>
                    </a:lnTo>
                    <a:close/>
                    <a:moveTo>
                      <a:pt x="7" y="10"/>
                    </a:moveTo>
                    <a:lnTo>
                      <a:pt x="8" y="15"/>
                    </a:lnTo>
                    <a:lnTo>
                      <a:pt x="7" y="13"/>
                    </a:lnTo>
                    <a:lnTo>
                      <a:pt x="7" y="12"/>
                    </a:lnTo>
                    <a:lnTo>
                      <a:pt x="5" y="10"/>
                    </a:lnTo>
                    <a:lnTo>
                      <a:pt x="7" y="7"/>
                    </a:lnTo>
                    <a:lnTo>
                      <a:pt x="7" y="10"/>
                    </a:lnTo>
                    <a:close/>
                    <a:moveTo>
                      <a:pt x="2" y="10"/>
                    </a:moveTo>
                    <a:lnTo>
                      <a:pt x="3" y="10"/>
                    </a:lnTo>
                    <a:lnTo>
                      <a:pt x="0" y="12"/>
                    </a:lnTo>
                    <a:lnTo>
                      <a:pt x="0" y="8"/>
                    </a:lnTo>
                    <a:lnTo>
                      <a:pt x="2" y="8"/>
                    </a:lnTo>
                    <a:lnTo>
                      <a:pt x="2" y="10"/>
                    </a:lnTo>
                    <a:close/>
                    <a:moveTo>
                      <a:pt x="2" y="7"/>
                    </a:moveTo>
                    <a:lnTo>
                      <a:pt x="3" y="7"/>
                    </a:lnTo>
                    <a:lnTo>
                      <a:pt x="3" y="10"/>
                    </a:lnTo>
                    <a:lnTo>
                      <a:pt x="2" y="10"/>
                    </a:lnTo>
                    <a:lnTo>
                      <a:pt x="2" y="7"/>
                    </a:lnTo>
                    <a:close/>
                    <a:moveTo>
                      <a:pt x="2" y="10"/>
                    </a:moveTo>
                    <a:lnTo>
                      <a:pt x="3" y="10"/>
                    </a:lnTo>
                    <a:lnTo>
                      <a:pt x="3" y="12"/>
                    </a:lnTo>
                    <a:lnTo>
                      <a:pt x="2" y="12"/>
                    </a:lnTo>
                    <a:lnTo>
                      <a:pt x="2" y="10"/>
                    </a:lnTo>
                    <a:close/>
                    <a:moveTo>
                      <a:pt x="5" y="3"/>
                    </a:moveTo>
                    <a:lnTo>
                      <a:pt x="7" y="3"/>
                    </a:lnTo>
                    <a:lnTo>
                      <a:pt x="7" y="7"/>
                    </a:lnTo>
                    <a:lnTo>
                      <a:pt x="5" y="7"/>
                    </a:lnTo>
                    <a:lnTo>
                      <a:pt x="5" y="3"/>
                    </a:lnTo>
                    <a:close/>
                    <a:moveTo>
                      <a:pt x="2" y="5"/>
                    </a:moveTo>
                    <a:lnTo>
                      <a:pt x="3" y="5"/>
                    </a:lnTo>
                    <a:lnTo>
                      <a:pt x="3" y="7"/>
                    </a:lnTo>
                    <a:lnTo>
                      <a:pt x="2" y="7"/>
                    </a:lnTo>
                    <a:lnTo>
                      <a:pt x="2" y="5"/>
                    </a:lnTo>
                    <a:close/>
                    <a:moveTo>
                      <a:pt x="2" y="3"/>
                    </a:moveTo>
                    <a:lnTo>
                      <a:pt x="2" y="5"/>
                    </a:lnTo>
                    <a:lnTo>
                      <a:pt x="2" y="3"/>
                    </a:lnTo>
                    <a:close/>
                    <a:moveTo>
                      <a:pt x="0" y="7"/>
                    </a:moveTo>
                    <a:lnTo>
                      <a:pt x="2" y="7"/>
                    </a:lnTo>
                    <a:lnTo>
                      <a:pt x="2" y="8"/>
                    </a:lnTo>
                    <a:lnTo>
                      <a:pt x="0" y="8"/>
                    </a:lnTo>
                    <a:lnTo>
                      <a:pt x="0" y="7"/>
                    </a:lnTo>
                    <a:close/>
                    <a:moveTo>
                      <a:pt x="2" y="1"/>
                    </a:moveTo>
                    <a:lnTo>
                      <a:pt x="3" y="1"/>
                    </a:lnTo>
                    <a:lnTo>
                      <a:pt x="3" y="3"/>
                    </a:lnTo>
                    <a:lnTo>
                      <a:pt x="2" y="3"/>
                    </a:lnTo>
                    <a:lnTo>
                      <a:pt x="2" y="1"/>
                    </a:lnTo>
                    <a:close/>
                    <a:moveTo>
                      <a:pt x="2" y="0"/>
                    </a:moveTo>
                    <a:lnTo>
                      <a:pt x="3" y="0"/>
                    </a:lnTo>
                    <a:lnTo>
                      <a:pt x="3" y="1"/>
                    </a:lnTo>
                    <a:lnTo>
                      <a:pt x="2" y="1"/>
                    </a:lnTo>
                    <a:lnTo>
                      <a:pt x="2" y="0"/>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2" name="Freeform 18">
                <a:extLst>
                  <a:ext uri="{FF2B5EF4-FFF2-40B4-BE49-F238E27FC236}">
                    <a16:creationId xmlns:a16="http://schemas.microsoft.com/office/drawing/2014/main" id="{B4B88F04-B61D-469F-9948-14BBC970545B}"/>
                  </a:ext>
                </a:extLst>
              </p:cNvPr>
              <p:cNvSpPr>
                <a:spLocks/>
              </p:cNvSpPr>
              <p:nvPr/>
            </p:nvSpPr>
            <p:spPr bwMode="gray">
              <a:xfrm>
                <a:off x="5735638" y="2568575"/>
                <a:ext cx="1047750" cy="706438"/>
              </a:xfrm>
              <a:custGeom>
                <a:avLst/>
                <a:gdLst>
                  <a:gd name="T0" fmla="*/ 466 w 660"/>
                  <a:gd name="T1" fmla="*/ 76 h 445"/>
                  <a:gd name="T2" fmla="*/ 459 w 660"/>
                  <a:gd name="T3" fmla="*/ 97 h 445"/>
                  <a:gd name="T4" fmla="*/ 466 w 660"/>
                  <a:gd name="T5" fmla="*/ 114 h 445"/>
                  <a:gd name="T6" fmla="*/ 498 w 660"/>
                  <a:gd name="T7" fmla="*/ 117 h 445"/>
                  <a:gd name="T8" fmla="*/ 522 w 660"/>
                  <a:gd name="T9" fmla="*/ 141 h 445"/>
                  <a:gd name="T10" fmla="*/ 551 w 660"/>
                  <a:gd name="T11" fmla="*/ 166 h 445"/>
                  <a:gd name="T12" fmla="*/ 563 w 660"/>
                  <a:gd name="T13" fmla="*/ 189 h 445"/>
                  <a:gd name="T14" fmla="*/ 583 w 660"/>
                  <a:gd name="T15" fmla="*/ 200 h 445"/>
                  <a:gd name="T16" fmla="*/ 605 w 660"/>
                  <a:gd name="T17" fmla="*/ 219 h 445"/>
                  <a:gd name="T18" fmla="*/ 614 w 660"/>
                  <a:gd name="T19" fmla="*/ 241 h 445"/>
                  <a:gd name="T20" fmla="*/ 638 w 660"/>
                  <a:gd name="T21" fmla="*/ 262 h 445"/>
                  <a:gd name="T22" fmla="*/ 649 w 660"/>
                  <a:gd name="T23" fmla="*/ 287 h 445"/>
                  <a:gd name="T24" fmla="*/ 631 w 660"/>
                  <a:gd name="T25" fmla="*/ 303 h 445"/>
                  <a:gd name="T26" fmla="*/ 614 w 660"/>
                  <a:gd name="T27" fmla="*/ 303 h 445"/>
                  <a:gd name="T28" fmla="*/ 604 w 660"/>
                  <a:gd name="T29" fmla="*/ 297 h 445"/>
                  <a:gd name="T30" fmla="*/ 593 w 660"/>
                  <a:gd name="T31" fmla="*/ 291 h 445"/>
                  <a:gd name="T32" fmla="*/ 581 w 660"/>
                  <a:gd name="T33" fmla="*/ 294 h 445"/>
                  <a:gd name="T34" fmla="*/ 568 w 660"/>
                  <a:gd name="T35" fmla="*/ 287 h 445"/>
                  <a:gd name="T36" fmla="*/ 558 w 660"/>
                  <a:gd name="T37" fmla="*/ 289 h 445"/>
                  <a:gd name="T38" fmla="*/ 546 w 660"/>
                  <a:gd name="T39" fmla="*/ 304 h 445"/>
                  <a:gd name="T40" fmla="*/ 524 w 660"/>
                  <a:gd name="T41" fmla="*/ 309 h 445"/>
                  <a:gd name="T42" fmla="*/ 505 w 660"/>
                  <a:gd name="T43" fmla="*/ 299 h 445"/>
                  <a:gd name="T44" fmla="*/ 491 w 660"/>
                  <a:gd name="T45" fmla="*/ 308 h 445"/>
                  <a:gd name="T46" fmla="*/ 459 w 660"/>
                  <a:gd name="T47" fmla="*/ 321 h 445"/>
                  <a:gd name="T48" fmla="*/ 434 w 660"/>
                  <a:gd name="T49" fmla="*/ 313 h 445"/>
                  <a:gd name="T50" fmla="*/ 417 w 660"/>
                  <a:gd name="T51" fmla="*/ 330 h 445"/>
                  <a:gd name="T52" fmla="*/ 386 w 660"/>
                  <a:gd name="T53" fmla="*/ 343 h 445"/>
                  <a:gd name="T54" fmla="*/ 343 w 660"/>
                  <a:gd name="T55" fmla="*/ 340 h 445"/>
                  <a:gd name="T56" fmla="*/ 303 w 660"/>
                  <a:gd name="T57" fmla="*/ 320 h 445"/>
                  <a:gd name="T58" fmla="*/ 260 w 660"/>
                  <a:gd name="T59" fmla="*/ 297 h 445"/>
                  <a:gd name="T60" fmla="*/ 223 w 660"/>
                  <a:gd name="T61" fmla="*/ 325 h 445"/>
                  <a:gd name="T62" fmla="*/ 213 w 660"/>
                  <a:gd name="T63" fmla="*/ 379 h 445"/>
                  <a:gd name="T64" fmla="*/ 189 w 660"/>
                  <a:gd name="T65" fmla="*/ 377 h 445"/>
                  <a:gd name="T66" fmla="*/ 151 w 660"/>
                  <a:gd name="T67" fmla="*/ 372 h 445"/>
                  <a:gd name="T68" fmla="*/ 105 w 660"/>
                  <a:gd name="T69" fmla="*/ 400 h 445"/>
                  <a:gd name="T70" fmla="*/ 85 w 660"/>
                  <a:gd name="T71" fmla="*/ 432 h 445"/>
                  <a:gd name="T72" fmla="*/ 75 w 660"/>
                  <a:gd name="T73" fmla="*/ 400 h 445"/>
                  <a:gd name="T74" fmla="*/ 34 w 660"/>
                  <a:gd name="T75" fmla="*/ 348 h 445"/>
                  <a:gd name="T76" fmla="*/ 14 w 660"/>
                  <a:gd name="T77" fmla="*/ 313 h 445"/>
                  <a:gd name="T78" fmla="*/ 9 w 660"/>
                  <a:gd name="T79" fmla="*/ 280 h 445"/>
                  <a:gd name="T80" fmla="*/ 17 w 660"/>
                  <a:gd name="T81" fmla="*/ 240 h 445"/>
                  <a:gd name="T82" fmla="*/ 41 w 660"/>
                  <a:gd name="T83" fmla="*/ 192 h 445"/>
                  <a:gd name="T84" fmla="*/ 92 w 660"/>
                  <a:gd name="T85" fmla="*/ 172 h 445"/>
                  <a:gd name="T86" fmla="*/ 114 w 660"/>
                  <a:gd name="T87" fmla="*/ 168 h 445"/>
                  <a:gd name="T88" fmla="*/ 133 w 660"/>
                  <a:gd name="T89" fmla="*/ 170 h 445"/>
                  <a:gd name="T90" fmla="*/ 148 w 660"/>
                  <a:gd name="T91" fmla="*/ 161 h 445"/>
                  <a:gd name="T92" fmla="*/ 162 w 660"/>
                  <a:gd name="T93" fmla="*/ 156 h 445"/>
                  <a:gd name="T94" fmla="*/ 221 w 660"/>
                  <a:gd name="T95" fmla="*/ 139 h 445"/>
                  <a:gd name="T96" fmla="*/ 235 w 660"/>
                  <a:gd name="T97" fmla="*/ 115 h 445"/>
                  <a:gd name="T98" fmla="*/ 231 w 660"/>
                  <a:gd name="T99" fmla="*/ 104 h 445"/>
                  <a:gd name="T100" fmla="*/ 250 w 660"/>
                  <a:gd name="T101" fmla="*/ 100 h 445"/>
                  <a:gd name="T102" fmla="*/ 272 w 660"/>
                  <a:gd name="T103" fmla="*/ 98 h 445"/>
                  <a:gd name="T104" fmla="*/ 289 w 660"/>
                  <a:gd name="T105" fmla="*/ 95 h 445"/>
                  <a:gd name="T106" fmla="*/ 308 w 660"/>
                  <a:gd name="T107" fmla="*/ 87 h 445"/>
                  <a:gd name="T108" fmla="*/ 326 w 660"/>
                  <a:gd name="T109" fmla="*/ 76 h 445"/>
                  <a:gd name="T110" fmla="*/ 333 w 660"/>
                  <a:gd name="T111" fmla="*/ 68 h 445"/>
                  <a:gd name="T112" fmla="*/ 347 w 660"/>
                  <a:gd name="T113" fmla="*/ 51 h 445"/>
                  <a:gd name="T114" fmla="*/ 357 w 660"/>
                  <a:gd name="T115" fmla="*/ 44 h 445"/>
                  <a:gd name="T116" fmla="*/ 371 w 660"/>
                  <a:gd name="T117" fmla="*/ 32 h 445"/>
                  <a:gd name="T118" fmla="*/ 374 w 660"/>
                  <a:gd name="T119" fmla="*/ 12 h 445"/>
                  <a:gd name="T120" fmla="*/ 388 w 660"/>
                  <a:gd name="T121" fmla="*/ 5 h 445"/>
                  <a:gd name="T122" fmla="*/ 422 w 660"/>
                  <a:gd name="T123" fmla="*/ 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0" h="445">
                    <a:moveTo>
                      <a:pt x="428" y="3"/>
                    </a:moveTo>
                    <a:lnTo>
                      <a:pt x="432" y="7"/>
                    </a:lnTo>
                    <a:lnTo>
                      <a:pt x="435" y="15"/>
                    </a:lnTo>
                    <a:lnTo>
                      <a:pt x="442" y="18"/>
                    </a:lnTo>
                    <a:lnTo>
                      <a:pt x="444" y="22"/>
                    </a:lnTo>
                    <a:lnTo>
                      <a:pt x="449" y="27"/>
                    </a:lnTo>
                    <a:lnTo>
                      <a:pt x="451" y="27"/>
                    </a:lnTo>
                    <a:lnTo>
                      <a:pt x="457" y="39"/>
                    </a:lnTo>
                    <a:lnTo>
                      <a:pt x="469" y="56"/>
                    </a:lnTo>
                    <a:lnTo>
                      <a:pt x="469" y="68"/>
                    </a:lnTo>
                    <a:lnTo>
                      <a:pt x="466" y="73"/>
                    </a:lnTo>
                    <a:lnTo>
                      <a:pt x="468" y="75"/>
                    </a:lnTo>
                    <a:lnTo>
                      <a:pt x="466" y="76"/>
                    </a:lnTo>
                    <a:lnTo>
                      <a:pt x="468" y="80"/>
                    </a:lnTo>
                    <a:lnTo>
                      <a:pt x="469" y="78"/>
                    </a:lnTo>
                    <a:lnTo>
                      <a:pt x="469" y="80"/>
                    </a:lnTo>
                    <a:lnTo>
                      <a:pt x="468" y="83"/>
                    </a:lnTo>
                    <a:lnTo>
                      <a:pt x="466" y="85"/>
                    </a:lnTo>
                    <a:lnTo>
                      <a:pt x="468" y="87"/>
                    </a:lnTo>
                    <a:lnTo>
                      <a:pt x="468" y="88"/>
                    </a:lnTo>
                    <a:lnTo>
                      <a:pt x="466" y="88"/>
                    </a:lnTo>
                    <a:lnTo>
                      <a:pt x="466" y="90"/>
                    </a:lnTo>
                    <a:lnTo>
                      <a:pt x="462" y="92"/>
                    </a:lnTo>
                    <a:lnTo>
                      <a:pt x="459" y="92"/>
                    </a:lnTo>
                    <a:lnTo>
                      <a:pt x="459" y="95"/>
                    </a:lnTo>
                    <a:lnTo>
                      <a:pt x="459" y="97"/>
                    </a:lnTo>
                    <a:lnTo>
                      <a:pt x="457" y="100"/>
                    </a:lnTo>
                    <a:lnTo>
                      <a:pt x="457" y="102"/>
                    </a:lnTo>
                    <a:lnTo>
                      <a:pt x="461" y="104"/>
                    </a:lnTo>
                    <a:lnTo>
                      <a:pt x="462" y="100"/>
                    </a:lnTo>
                    <a:lnTo>
                      <a:pt x="464" y="100"/>
                    </a:lnTo>
                    <a:lnTo>
                      <a:pt x="464" y="102"/>
                    </a:lnTo>
                    <a:lnTo>
                      <a:pt x="464" y="109"/>
                    </a:lnTo>
                    <a:lnTo>
                      <a:pt x="461" y="110"/>
                    </a:lnTo>
                    <a:lnTo>
                      <a:pt x="461" y="114"/>
                    </a:lnTo>
                    <a:lnTo>
                      <a:pt x="461" y="115"/>
                    </a:lnTo>
                    <a:lnTo>
                      <a:pt x="462" y="115"/>
                    </a:lnTo>
                    <a:lnTo>
                      <a:pt x="464" y="114"/>
                    </a:lnTo>
                    <a:lnTo>
                      <a:pt x="466" y="114"/>
                    </a:lnTo>
                    <a:lnTo>
                      <a:pt x="468" y="115"/>
                    </a:lnTo>
                    <a:lnTo>
                      <a:pt x="473" y="115"/>
                    </a:lnTo>
                    <a:lnTo>
                      <a:pt x="474" y="117"/>
                    </a:lnTo>
                    <a:lnTo>
                      <a:pt x="478" y="115"/>
                    </a:lnTo>
                    <a:lnTo>
                      <a:pt x="479" y="115"/>
                    </a:lnTo>
                    <a:lnTo>
                      <a:pt x="483" y="115"/>
                    </a:lnTo>
                    <a:lnTo>
                      <a:pt x="485" y="117"/>
                    </a:lnTo>
                    <a:lnTo>
                      <a:pt x="486" y="115"/>
                    </a:lnTo>
                    <a:lnTo>
                      <a:pt x="491" y="117"/>
                    </a:lnTo>
                    <a:lnTo>
                      <a:pt x="493" y="117"/>
                    </a:lnTo>
                    <a:lnTo>
                      <a:pt x="495" y="117"/>
                    </a:lnTo>
                    <a:lnTo>
                      <a:pt x="496" y="117"/>
                    </a:lnTo>
                    <a:lnTo>
                      <a:pt x="498" y="117"/>
                    </a:lnTo>
                    <a:lnTo>
                      <a:pt x="496" y="121"/>
                    </a:lnTo>
                    <a:lnTo>
                      <a:pt x="498" y="122"/>
                    </a:lnTo>
                    <a:lnTo>
                      <a:pt x="495" y="127"/>
                    </a:lnTo>
                    <a:lnTo>
                      <a:pt x="493" y="131"/>
                    </a:lnTo>
                    <a:lnTo>
                      <a:pt x="493" y="132"/>
                    </a:lnTo>
                    <a:lnTo>
                      <a:pt x="495" y="136"/>
                    </a:lnTo>
                    <a:lnTo>
                      <a:pt x="496" y="138"/>
                    </a:lnTo>
                    <a:lnTo>
                      <a:pt x="503" y="139"/>
                    </a:lnTo>
                    <a:lnTo>
                      <a:pt x="507" y="138"/>
                    </a:lnTo>
                    <a:lnTo>
                      <a:pt x="508" y="138"/>
                    </a:lnTo>
                    <a:lnTo>
                      <a:pt x="512" y="141"/>
                    </a:lnTo>
                    <a:lnTo>
                      <a:pt x="519" y="141"/>
                    </a:lnTo>
                    <a:lnTo>
                      <a:pt x="522" y="141"/>
                    </a:lnTo>
                    <a:lnTo>
                      <a:pt x="524" y="143"/>
                    </a:lnTo>
                    <a:lnTo>
                      <a:pt x="525" y="143"/>
                    </a:lnTo>
                    <a:lnTo>
                      <a:pt x="529" y="143"/>
                    </a:lnTo>
                    <a:lnTo>
                      <a:pt x="530" y="146"/>
                    </a:lnTo>
                    <a:lnTo>
                      <a:pt x="530" y="149"/>
                    </a:lnTo>
                    <a:lnTo>
                      <a:pt x="534" y="153"/>
                    </a:lnTo>
                    <a:lnTo>
                      <a:pt x="541" y="158"/>
                    </a:lnTo>
                    <a:lnTo>
                      <a:pt x="544" y="158"/>
                    </a:lnTo>
                    <a:lnTo>
                      <a:pt x="547" y="160"/>
                    </a:lnTo>
                    <a:lnTo>
                      <a:pt x="549" y="163"/>
                    </a:lnTo>
                    <a:lnTo>
                      <a:pt x="551" y="163"/>
                    </a:lnTo>
                    <a:lnTo>
                      <a:pt x="551" y="165"/>
                    </a:lnTo>
                    <a:lnTo>
                      <a:pt x="551" y="166"/>
                    </a:lnTo>
                    <a:lnTo>
                      <a:pt x="551" y="168"/>
                    </a:lnTo>
                    <a:lnTo>
                      <a:pt x="551" y="170"/>
                    </a:lnTo>
                    <a:lnTo>
                      <a:pt x="547" y="172"/>
                    </a:lnTo>
                    <a:lnTo>
                      <a:pt x="544" y="173"/>
                    </a:lnTo>
                    <a:lnTo>
                      <a:pt x="546" y="175"/>
                    </a:lnTo>
                    <a:lnTo>
                      <a:pt x="546" y="178"/>
                    </a:lnTo>
                    <a:lnTo>
                      <a:pt x="553" y="182"/>
                    </a:lnTo>
                    <a:lnTo>
                      <a:pt x="554" y="185"/>
                    </a:lnTo>
                    <a:lnTo>
                      <a:pt x="556" y="187"/>
                    </a:lnTo>
                    <a:lnTo>
                      <a:pt x="556" y="185"/>
                    </a:lnTo>
                    <a:lnTo>
                      <a:pt x="559" y="187"/>
                    </a:lnTo>
                    <a:lnTo>
                      <a:pt x="559" y="189"/>
                    </a:lnTo>
                    <a:lnTo>
                      <a:pt x="563" y="189"/>
                    </a:lnTo>
                    <a:lnTo>
                      <a:pt x="563" y="190"/>
                    </a:lnTo>
                    <a:lnTo>
                      <a:pt x="564" y="190"/>
                    </a:lnTo>
                    <a:lnTo>
                      <a:pt x="564" y="192"/>
                    </a:lnTo>
                    <a:lnTo>
                      <a:pt x="566" y="190"/>
                    </a:lnTo>
                    <a:lnTo>
                      <a:pt x="566" y="192"/>
                    </a:lnTo>
                    <a:lnTo>
                      <a:pt x="571" y="194"/>
                    </a:lnTo>
                    <a:lnTo>
                      <a:pt x="573" y="194"/>
                    </a:lnTo>
                    <a:lnTo>
                      <a:pt x="573" y="195"/>
                    </a:lnTo>
                    <a:lnTo>
                      <a:pt x="576" y="195"/>
                    </a:lnTo>
                    <a:lnTo>
                      <a:pt x="576" y="197"/>
                    </a:lnTo>
                    <a:lnTo>
                      <a:pt x="581" y="197"/>
                    </a:lnTo>
                    <a:lnTo>
                      <a:pt x="581" y="199"/>
                    </a:lnTo>
                    <a:lnTo>
                      <a:pt x="583" y="200"/>
                    </a:lnTo>
                    <a:lnTo>
                      <a:pt x="585" y="200"/>
                    </a:lnTo>
                    <a:lnTo>
                      <a:pt x="587" y="202"/>
                    </a:lnTo>
                    <a:lnTo>
                      <a:pt x="588" y="202"/>
                    </a:lnTo>
                    <a:lnTo>
                      <a:pt x="590" y="206"/>
                    </a:lnTo>
                    <a:lnTo>
                      <a:pt x="588" y="207"/>
                    </a:lnTo>
                    <a:lnTo>
                      <a:pt x="590" y="207"/>
                    </a:lnTo>
                    <a:lnTo>
                      <a:pt x="592" y="207"/>
                    </a:lnTo>
                    <a:lnTo>
                      <a:pt x="592" y="211"/>
                    </a:lnTo>
                    <a:lnTo>
                      <a:pt x="595" y="212"/>
                    </a:lnTo>
                    <a:lnTo>
                      <a:pt x="597" y="216"/>
                    </a:lnTo>
                    <a:lnTo>
                      <a:pt x="598" y="216"/>
                    </a:lnTo>
                    <a:lnTo>
                      <a:pt x="600" y="217"/>
                    </a:lnTo>
                    <a:lnTo>
                      <a:pt x="605" y="219"/>
                    </a:lnTo>
                    <a:lnTo>
                      <a:pt x="607" y="221"/>
                    </a:lnTo>
                    <a:lnTo>
                      <a:pt x="607" y="223"/>
                    </a:lnTo>
                    <a:lnTo>
                      <a:pt x="604" y="226"/>
                    </a:lnTo>
                    <a:lnTo>
                      <a:pt x="604" y="228"/>
                    </a:lnTo>
                    <a:lnTo>
                      <a:pt x="602" y="228"/>
                    </a:lnTo>
                    <a:lnTo>
                      <a:pt x="600" y="229"/>
                    </a:lnTo>
                    <a:lnTo>
                      <a:pt x="602" y="229"/>
                    </a:lnTo>
                    <a:lnTo>
                      <a:pt x="602" y="233"/>
                    </a:lnTo>
                    <a:lnTo>
                      <a:pt x="607" y="238"/>
                    </a:lnTo>
                    <a:lnTo>
                      <a:pt x="610" y="240"/>
                    </a:lnTo>
                    <a:lnTo>
                      <a:pt x="610" y="243"/>
                    </a:lnTo>
                    <a:lnTo>
                      <a:pt x="612" y="241"/>
                    </a:lnTo>
                    <a:lnTo>
                      <a:pt x="614" y="241"/>
                    </a:lnTo>
                    <a:lnTo>
                      <a:pt x="612" y="245"/>
                    </a:lnTo>
                    <a:lnTo>
                      <a:pt x="610" y="248"/>
                    </a:lnTo>
                    <a:lnTo>
                      <a:pt x="609" y="250"/>
                    </a:lnTo>
                    <a:lnTo>
                      <a:pt x="612" y="248"/>
                    </a:lnTo>
                    <a:lnTo>
                      <a:pt x="614" y="250"/>
                    </a:lnTo>
                    <a:lnTo>
                      <a:pt x="615" y="253"/>
                    </a:lnTo>
                    <a:lnTo>
                      <a:pt x="621" y="253"/>
                    </a:lnTo>
                    <a:lnTo>
                      <a:pt x="624" y="253"/>
                    </a:lnTo>
                    <a:lnTo>
                      <a:pt x="627" y="255"/>
                    </a:lnTo>
                    <a:lnTo>
                      <a:pt x="629" y="258"/>
                    </a:lnTo>
                    <a:lnTo>
                      <a:pt x="632" y="258"/>
                    </a:lnTo>
                    <a:lnTo>
                      <a:pt x="636" y="262"/>
                    </a:lnTo>
                    <a:lnTo>
                      <a:pt x="638" y="262"/>
                    </a:lnTo>
                    <a:lnTo>
                      <a:pt x="639" y="263"/>
                    </a:lnTo>
                    <a:lnTo>
                      <a:pt x="643" y="263"/>
                    </a:lnTo>
                    <a:lnTo>
                      <a:pt x="646" y="265"/>
                    </a:lnTo>
                    <a:lnTo>
                      <a:pt x="644" y="267"/>
                    </a:lnTo>
                    <a:lnTo>
                      <a:pt x="648" y="267"/>
                    </a:lnTo>
                    <a:lnTo>
                      <a:pt x="648" y="270"/>
                    </a:lnTo>
                    <a:lnTo>
                      <a:pt x="649" y="272"/>
                    </a:lnTo>
                    <a:lnTo>
                      <a:pt x="649" y="274"/>
                    </a:lnTo>
                    <a:lnTo>
                      <a:pt x="651" y="274"/>
                    </a:lnTo>
                    <a:lnTo>
                      <a:pt x="651" y="277"/>
                    </a:lnTo>
                    <a:lnTo>
                      <a:pt x="649" y="282"/>
                    </a:lnTo>
                    <a:lnTo>
                      <a:pt x="649" y="286"/>
                    </a:lnTo>
                    <a:lnTo>
                      <a:pt x="649" y="287"/>
                    </a:lnTo>
                    <a:lnTo>
                      <a:pt x="653" y="291"/>
                    </a:lnTo>
                    <a:lnTo>
                      <a:pt x="653" y="292"/>
                    </a:lnTo>
                    <a:lnTo>
                      <a:pt x="658" y="296"/>
                    </a:lnTo>
                    <a:lnTo>
                      <a:pt x="658" y="299"/>
                    </a:lnTo>
                    <a:lnTo>
                      <a:pt x="660" y="299"/>
                    </a:lnTo>
                    <a:lnTo>
                      <a:pt x="660" y="301"/>
                    </a:lnTo>
                    <a:lnTo>
                      <a:pt x="653" y="297"/>
                    </a:lnTo>
                    <a:lnTo>
                      <a:pt x="649" y="296"/>
                    </a:lnTo>
                    <a:lnTo>
                      <a:pt x="646" y="294"/>
                    </a:lnTo>
                    <a:lnTo>
                      <a:pt x="643" y="294"/>
                    </a:lnTo>
                    <a:lnTo>
                      <a:pt x="638" y="294"/>
                    </a:lnTo>
                    <a:lnTo>
                      <a:pt x="634" y="297"/>
                    </a:lnTo>
                    <a:lnTo>
                      <a:pt x="631" y="303"/>
                    </a:lnTo>
                    <a:lnTo>
                      <a:pt x="629" y="301"/>
                    </a:lnTo>
                    <a:lnTo>
                      <a:pt x="627" y="303"/>
                    </a:lnTo>
                    <a:lnTo>
                      <a:pt x="626" y="299"/>
                    </a:lnTo>
                    <a:lnTo>
                      <a:pt x="622" y="299"/>
                    </a:lnTo>
                    <a:lnTo>
                      <a:pt x="619" y="301"/>
                    </a:lnTo>
                    <a:lnTo>
                      <a:pt x="619" y="299"/>
                    </a:lnTo>
                    <a:lnTo>
                      <a:pt x="619" y="301"/>
                    </a:lnTo>
                    <a:lnTo>
                      <a:pt x="617" y="299"/>
                    </a:lnTo>
                    <a:lnTo>
                      <a:pt x="617" y="301"/>
                    </a:lnTo>
                    <a:lnTo>
                      <a:pt x="615" y="299"/>
                    </a:lnTo>
                    <a:lnTo>
                      <a:pt x="615" y="301"/>
                    </a:lnTo>
                    <a:lnTo>
                      <a:pt x="614" y="301"/>
                    </a:lnTo>
                    <a:lnTo>
                      <a:pt x="614" y="303"/>
                    </a:lnTo>
                    <a:lnTo>
                      <a:pt x="614" y="301"/>
                    </a:lnTo>
                    <a:lnTo>
                      <a:pt x="612" y="303"/>
                    </a:lnTo>
                    <a:lnTo>
                      <a:pt x="612" y="301"/>
                    </a:lnTo>
                    <a:lnTo>
                      <a:pt x="610" y="303"/>
                    </a:lnTo>
                    <a:lnTo>
                      <a:pt x="610" y="301"/>
                    </a:lnTo>
                    <a:lnTo>
                      <a:pt x="609" y="301"/>
                    </a:lnTo>
                    <a:lnTo>
                      <a:pt x="609" y="299"/>
                    </a:lnTo>
                    <a:lnTo>
                      <a:pt x="607" y="299"/>
                    </a:lnTo>
                    <a:lnTo>
                      <a:pt x="607" y="297"/>
                    </a:lnTo>
                    <a:lnTo>
                      <a:pt x="605" y="296"/>
                    </a:lnTo>
                    <a:lnTo>
                      <a:pt x="605" y="297"/>
                    </a:lnTo>
                    <a:lnTo>
                      <a:pt x="604" y="296"/>
                    </a:lnTo>
                    <a:lnTo>
                      <a:pt x="604" y="297"/>
                    </a:lnTo>
                    <a:lnTo>
                      <a:pt x="604" y="296"/>
                    </a:lnTo>
                    <a:lnTo>
                      <a:pt x="604" y="297"/>
                    </a:lnTo>
                    <a:lnTo>
                      <a:pt x="602" y="296"/>
                    </a:lnTo>
                    <a:lnTo>
                      <a:pt x="602" y="297"/>
                    </a:lnTo>
                    <a:lnTo>
                      <a:pt x="602" y="296"/>
                    </a:lnTo>
                    <a:lnTo>
                      <a:pt x="600" y="296"/>
                    </a:lnTo>
                    <a:lnTo>
                      <a:pt x="598" y="296"/>
                    </a:lnTo>
                    <a:lnTo>
                      <a:pt x="598" y="294"/>
                    </a:lnTo>
                    <a:lnTo>
                      <a:pt x="597" y="294"/>
                    </a:lnTo>
                    <a:lnTo>
                      <a:pt x="597" y="292"/>
                    </a:lnTo>
                    <a:lnTo>
                      <a:pt x="595" y="292"/>
                    </a:lnTo>
                    <a:lnTo>
                      <a:pt x="595" y="291"/>
                    </a:lnTo>
                    <a:lnTo>
                      <a:pt x="593" y="291"/>
                    </a:lnTo>
                    <a:lnTo>
                      <a:pt x="592" y="292"/>
                    </a:lnTo>
                    <a:lnTo>
                      <a:pt x="592" y="294"/>
                    </a:lnTo>
                    <a:lnTo>
                      <a:pt x="590" y="292"/>
                    </a:lnTo>
                    <a:lnTo>
                      <a:pt x="590" y="294"/>
                    </a:lnTo>
                    <a:lnTo>
                      <a:pt x="588" y="292"/>
                    </a:lnTo>
                    <a:lnTo>
                      <a:pt x="588" y="294"/>
                    </a:lnTo>
                    <a:lnTo>
                      <a:pt x="587" y="294"/>
                    </a:lnTo>
                    <a:lnTo>
                      <a:pt x="587" y="292"/>
                    </a:lnTo>
                    <a:lnTo>
                      <a:pt x="585" y="292"/>
                    </a:lnTo>
                    <a:lnTo>
                      <a:pt x="585" y="294"/>
                    </a:lnTo>
                    <a:lnTo>
                      <a:pt x="581" y="294"/>
                    </a:lnTo>
                    <a:lnTo>
                      <a:pt x="581" y="296"/>
                    </a:lnTo>
                    <a:lnTo>
                      <a:pt x="581" y="294"/>
                    </a:lnTo>
                    <a:lnTo>
                      <a:pt x="580" y="294"/>
                    </a:lnTo>
                    <a:lnTo>
                      <a:pt x="580" y="292"/>
                    </a:lnTo>
                    <a:lnTo>
                      <a:pt x="578" y="294"/>
                    </a:lnTo>
                    <a:lnTo>
                      <a:pt x="576" y="292"/>
                    </a:lnTo>
                    <a:lnTo>
                      <a:pt x="575" y="292"/>
                    </a:lnTo>
                    <a:lnTo>
                      <a:pt x="576" y="291"/>
                    </a:lnTo>
                    <a:lnTo>
                      <a:pt x="575" y="291"/>
                    </a:lnTo>
                    <a:lnTo>
                      <a:pt x="573" y="292"/>
                    </a:lnTo>
                    <a:lnTo>
                      <a:pt x="573" y="291"/>
                    </a:lnTo>
                    <a:lnTo>
                      <a:pt x="571" y="291"/>
                    </a:lnTo>
                    <a:lnTo>
                      <a:pt x="571" y="289"/>
                    </a:lnTo>
                    <a:lnTo>
                      <a:pt x="570" y="289"/>
                    </a:lnTo>
                    <a:lnTo>
                      <a:pt x="568" y="287"/>
                    </a:lnTo>
                    <a:lnTo>
                      <a:pt x="568" y="289"/>
                    </a:lnTo>
                    <a:lnTo>
                      <a:pt x="568" y="287"/>
                    </a:lnTo>
                    <a:lnTo>
                      <a:pt x="566" y="287"/>
                    </a:lnTo>
                    <a:lnTo>
                      <a:pt x="568" y="287"/>
                    </a:lnTo>
                    <a:lnTo>
                      <a:pt x="566" y="287"/>
                    </a:lnTo>
                    <a:lnTo>
                      <a:pt x="564" y="286"/>
                    </a:lnTo>
                    <a:lnTo>
                      <a:pt x="563" y="284"/>
                    </a:lnTo>
                    <a:lnTo>
                      <a:pt x="563" y="286"/>
                    </a:lnTo>
                    <a:lnTo>
                      <a:pt x="561" y="287"/>
                    </a:lnTo>
                    <a:lnTo>
                      <a:pt x="559" y="286"/>
                    </a:lnTo>
                    <a:lnTo>
                      <a:pt x="559" y="287"/>
                    </a:lnTo>
                    <a:lnTo>
                      <a:pt x="558" y="287"/>
                    </a:lnTo>
                    <a:lnTo>
                      <a:pt x="558" y="289"/>
                    </a:lnTo>
                    <a:lnTo>
                      <a:pt x="556" y="289"/>
                    </a:lnTo>
                    <a:lnTo>
                      <a:pt x="556" y="287"/>
                    </a:lnTo>
                    <a:lnTo>
                      <a:pt x="556" y="289"/>
                    </a:lnTo>
                    <a:lnTo>
                      <a:pt x="554" y="289"/>
                    </a:lnTo>
                    <a:lnTo>
                      <a:pt x="553" y="291"/>
                    </a:lnTo>
                    <a:lnTo>
                      <a:pt x="553" y="294"/>
                    </a:lnTo>
                    <a:lnTo>
                      <a:pt x="551" y="294"/>
                    </a:lnTo>
                    <a:lnTo>
                      <a:pt x="553" y="297"/>
                    </a:lnTo>
                    <a:lnTo>
                      <a:pt x="554" y="296"/>
                    </a:lnTo>
                    <a:lnTo>
                      <a:pt x="553" y="299"/>
                    </a:lnTo>
                    <a:lnTo>
                      <a:pt x="553" y="301"/>
                    </a:lnTo>
                    <a:lnTo>
                      <a:pt x="553" y="303"/>
                    </a:lnTo>
                    <a:lnTo>
                      <a:pt x="546" y="304"/>
                    </a:lnTo>
                    <a:lnTo>
                      <a:pt x="544" y="304"/>
                    </a:lnTo>
                    <a:lnTo>
                      <a:pt x="544" y="303"/>
                    </a:lnTo>
                    <a:lnTo>
                      <a:pt x="542" y="304"/>
                    </a:lnTo>
                    <a:lnTo>
                      <a:pt x="541" y="306"/>
                    </a:lnTo>
                    <a:lnTo>
                      <a:pt x="539" y="308"/>
                    </a:lnTo>
                    <a:lnTo>
                      <a:pt x="534" y="304"/>
                    </a:lnTo>
                    <a:lnTo>
                      <a:pt x="532" y="306"/>
                    </a:lnTo>
                    <a:lnTo>
                      <a:pt x="530" y="306"/>
                    </a:lnTo>
                    <a:lnTo>
                      <a:pt x="529" y="306"/>
                    </a:lnTo>
                    <a:lnTo>
                      <a:pt x="529" y="308"/>
                    </a:lnTo>
                    <a:lnTo>
                      <a:pt x="525" y="308"/>
                    </a:lnTo>
                    <a:lnTo>
                      <a:pt x="525" y="309"/>
                    </a:lnTo>
                    <a:lnTo>
                      <a:pt x="524" y="309"/>
                    </a:lnTo>
                    <a:lnTo>
                      <a:pt x="522" y="309"/>
                    </a:lnTo>
                    <a:lnTo>
                      <a:pt x="520" y="309"/>
                    </a:lnTo>
                    <a:lnTo>
                      <a:pt x="519" y="308"/>
                    </a:lnTo>
                    <a:lnTo>
                      <a:pt x="519" y="306"/>
                    </a:lnTo>
                    <a:lnTo>
                      <a:pt x="517" y="306"/>
                    </a:lnTo>
                    <a:lnTo>
                      <a:pt x="517" y="303"/>
                    </a:lnTo>
                    <a:lnTo>
                      <a:pt x="513" y="303"/>
                    </a:lnTo>
                    <a:lnTo>
                      <a:pt x="512" y="301"/>
                    </a:lnTo>
                    <a:lnTo>
                      <a:pt x="508" y="299"/>
                    </a:lnTo>
                    <a:lnTo>
                      <a:pt x="508" y="301"/>
                    </a:lnTo>
                    <a:lnTo>
                      <a:pt x="507" y="301"/>
                    </a:lnTo>
                    <a:lnTo>
                      <a:pt x="507" y="299"/>
                    </a:lnTo>
                    <a:lnTo>
                      <a:pt x="505" y="299"/>
                    </a:lnTo>
                    <a:lnTo>
                      <a:pt x="503" y="301"/>
                    </a:lnTo>
                    <a:lnTo>
                      <a:pt x="503" y="303"/>
                    </a:lnTo>
                    <a:lnTo>
                      <a:pt x="505" y="301"/>
                    </a:lnTo>
                    <a:lnTo>
                      <a:pt x="505" y="303"/>
                    </a:lnTo>
                    <a:lnTo>
                      <a:pt x="503" y="304"/>
                    </a:lnTo>
                    <a:lnTo>
                      <a:pt x="500" y="304"/>
                    </a:lnTo>
                    <a:lnTo>
                      <a:pt x="498" y="306"/>
                    </a:lnTo>
                    <a:lnTo>
                      <a:pt x="498" y="308"/>
                    </a:lnTo>
                    <a:lnTo>
                      <a:pt x="498" y="306"/>
                    </a:lnTo>
                    <a:lnTo>
                      <a:pt x="496" y="306"/>
                    </a:lnTo>
                    <a:lnTo>
                      <a:pt x="495" y="308"/>
                    </a:lnTo>
                    <a:lnTo>
                      <a:pt x="493" y="309"/>
                    </a:lnTo>
                    <a:lnTo>
                      <a:pt x="491" y="308"/>
                    </a:lnTo>
                    <a:lnTo>
                      <a:pt x="486" y="311"/>
                    </a:lnTo>
                    <a:lnTo>
                      <a:pt x="485" y="311"/>
                    </a:lnTo>
                    <a:lnTo>
                      <a:pt x="483" y="311"/>
                    </a:lnTo>
                    <a:lnTo>
                      <a:pt x="483" y="314"/>
                    </a:lnTo>
                    <a:lnTo>
                      <a:pt x="479" y="313"/>
                    </a:lnTo>
                    <a:lnTo>
                      <a:pt x="478" y="314"/>
                    </a:lnTo>
                    <a:lnTo>
                      <a:pt x="476" y="313"/>
                    </a:lnTo>
                    <a:lnTo>
                      <a:pt x="474" y="314"/>
                    </a:lnTo>
                    <a:lnTo>
                      <a:pt x="471" y="314"/>
                    </a:lnTo>
                    <a:lnTo>
                      <a:pt x="469" y="316"/>
                    </a:lnTo>
                    <a:lnTo>
                      <a:pt x="464" y="316"/>
                    </a:lnTo>
                    <a:lnTo>
                      <a:pt x="462" y="320"/>
                    </a:lnTo>
                    <a:lnTo>
                      <a:pt x="459" y="321"/>
                    </a:lnTo>
                    <a:lnTo>
                      <a:pt x="457" y="321"/>
                    </a:lnTo>
                    <a:lnTo>
                      <a:pt x="456" y="321"/>
                    </a:lnTo>
                    <a:lnTo>
                      <a:pt x="456" y="325"/>
                    </a:lnTo>
                    <a:lnTo>
                      <a:pt x="454" y="325"/>
                    </a:lnTo>
                    <a:lnTo>
                      <a:pt x="452" y="323"/>
                    </a:lnTo>
                    <a:lnTo>
                      <a:pt x="451" y="325"/>
                    </a:lnTo>
                    <a:lnTo>
                      <a:pt x="449" y="323"/>
                    </a:lnTo>
                    <a:lnTo>
                      <a:pt x="447" y="321"/>
                    </a:lnTo>
                    <a:lnTo>
                      <a:pt x="445" y="321"/>
                    </a:lnTo>
                    <a:lnTo>
                      <a:pt x="444" y="318"/>
                    </a:lnTo>
                    <a:lnTo>
                      <a:pt x="440" y="320"/>
                    </a:lnTo>
                    <a:lnTo>
                      <a:pt x="435" y="316"/>
                    </a:lnTo>
                    <a:lnTo>
                      <a:pt x="434" y="313"/>
                    </a:lnTo>
                    <a:lnTo>
                      <a:pt x="432" y="313"/>
                    </a:lnTo>
                    <a:lnTo>
                      <a:pt x="430" y="313"/>
                    </a:lnTo>
                    <a:lnTo>
                      <a:pt x="428" y="314"/>
                    </a:lnTo>
                    <a:lnTo>
                      <a:pt x="428" y="316"/>
                    </a:lnTo>
                    <a:lnTo>
                      <a:pt x="428" y="318"/>
                    </a:lnTo>
                    <a:lnTo>
                      <a:pt x="427" y="320"/>
                    </a:lnTo>
                    <a:lnTo>
                      <a:pt x="425" y="318"/>
                    </a:lnTo>
                    <a:lnTo>
                      <a:pt x="423" y="320"/>
                    </a:lnTo>
                    <a:lnTo>
                      <a:pt x="422" y="323"/>
                    </a:lnTo>
                    <a:lnTo>
                      <a:pt x="422" y="326"/>
                    </a:lnTo>
                    <a:lnTo>
                      <a:pt x="420" y="328"/>
                    </a:lnTo>
                    <a:lnTo>
                      <a:pt x="420" y="330"/>
                    </a:lnTo>
                    <a:lnTo>
                      <a:pt x="417" y="330"/>
                    </a:lnTo>
                    <a:lnTo>
                      <a:pt x="415" y="330"/>
                    </a:lnTo>
                    <a:lnTo>
                      <a:pt x="415" y="331"/>
                    </a:lnTo>
                    <a:lnTo>
                      <a:pt x="413" y="333"/>
                    </a:lnTo>
                    <a:lnTo>
                      <a:pt x="413" y="335"/>
                    </a:lnTo>
                    <a:lnTo>
                      <a:pt x="415" y="337"/>
                    </a:lnTo>
                    <a:lnTo>
                      <a:pt x="413" y="338"/>
                    </a:lnTo>
                    <a:lnTo>
                      <a:pt x="411" y="340"/>
                    </a:lnTo>
                    <a:lnTo>
                      <a:pt x="411" y="343"/>
                    </a:lnTo>
                    <a:lnTo>
                      <a:pt x="406" y="348"/>
                    </a:lnTo>
                    <a:lnTo>
                      <a:pt x="396" y="348"/>
                    </a:lnTo>
                    <a:lnTo>
                      <a:pt x="393" y="347"/>
                    </a:lnTo>
                    <a:lnTo>
                      <a:pt x="388" y="343"/>
                    </a:lnTo>
                    <a:lnTo>
                      <a:pt x="386" y="343"/>
                    </a:lnTo>
                    <a:lnTo>
                      <a:pt x="384" y="342"/>
                    </a:lnTo>
                    <a:lnTo>
                      <a:pt x="381" y="343"/>
                    </a:lnTo>
                    <a:lnTo>
                      <a:pt x="376" y="342"/>
                    </a:lnTo>
                    <a:lnTo>
                      <a:pt x="371" y="340"/>
                    </a:lnTo>
                    <a:lnTo>
                      <a:pt x="369" y="340"/>
                    </a:lnTo>
                    <a:lnTo>
                      <a:pt x="366" y="338"/>
                    </a:lnTo>
                    <a:lnTo>
                      <a:pt x="360" y="342"/>
                    </a:lnTo>
                    <a:lnTo>
                      <a:pt x="357" y="342"/>
                    </a:lnTo>
                    <a:lnTo>
                      <a:pt x="355" y="340"/>
                    </a:lnTo>
                    <a:lnTo>
                      <a:pt x="352" y="340"/>
                    </a:lnTo>
                    <a:lnTo>
                      <a:pt x="349" y="338"/>
                    </a:lnTo>
                    <a:lnTo>
                      <a:pt x="345" y="338"/>
                    </a:lnTo>
                    <a:lnTo>
                      <a:pt x="343" y="340"/>
                    </a:lnTo>
                    <a:lnTo>
                      <a:pt x="342" y="338"/>
                    </a:lnTo>
                    <a:lnTo>
                      <a:pt x="338" y="335"/>
                    </a:lnTo>
                    <a:lnTo>
                      <a:pt x="332" y="333"/>
                    </a:lnTo>
                    <a:lnTo>
                      <a:pt x="326" y="331"/>
                    </a:lnTo>
                    <a:lnTo>
                      <a:pt x="323" y="333"/>
                    </a:lnTo>
                    <a:lnTo>
                      <a:pt x="320" y="333"/>
                    </a:lnTo>
                    <a:lnTo>
                      <a:pt x="315" y="333"/>
                    </a:lnTo>
                    <a:lnTo>
                      <a:pt x="313" y="333"/>
                    </a:lnTo>
                    <a:lnTo>
                      <a:pt x="309" y="331"/>
                    </a:lnTo>
                    <a:lnTo>
                      <a:pt x="306" y="328"/>
                    </a:lnTo>
                    <a:lnTo>
                      <a:pt x="306" y="326"/>
                    </a:lnTo>
                    <a:lnTo>
                      <a:pt x="306" y="323"/>
                    </a:lnTo>
                    <a:lnTo>
                      <a:pt x="303" y="320"/>
                    </a:lnTo>
                    <a:lnTo>
                      <a:pt x="301" y="320"/>
                    </a:lnTo>
                    <a:lnTo>
                      <a:pt x="299" y="316"/>
                    </a:lnTo>
                    <a:lnTo>
                      <a:pt x="294" y="314"/>
                    </a:lnTo>
                    <a:lnTo>
                      <a:pt x="291" y="313"/>
                    </a:lnTo>
                    <a:lnTo>
                      <a:pt x="291" y="309"/>
                    </a:lnTo>
                    <a:lnTo>
                      <a:pt x="287" y="309"/>
                    </a:lnTo>
                    <a:lnTo>
                      <a:pt x="282" y="306"/>
                    </a:lnTo>
                    <a:lnTo>
                      <a:pt x="279" y="306"/>
                    </a:lnTo>
                    <a:lnTo>
                      <a:pt x="277" y="304"/>
                    </a:lnTo>
                    <a:lnTo>
                      <a:pt x="274" y="299"/>
                    </a:lnTo>
                    <a:lnTo>
                      <a:pt x="267" y="297"/>
                    </a:lnTo>
                    <a:lnTo>
                      <a:pt x="262" y="297"/>
                    </a:lnTo>
                    <a:lnTo>
                      <a:pt x="260" y="297"/>
                    </a:lnTo>
                    <a:lnTo>
                      <a:pt x="257" y="297"/>
                    </a:lnTo>
                    <a:lnTo>
                      <a:pt x="253" y="297"/>
                    </a:lnTo>
                    <a:lnTo>
                      <a:pt x="252" y="299"/>
                    </a:lnTo>
                    <a:lnTo>
                      <a:pt x="250" y="301"/>
                    </a:lnTo>
                    <a:lnTo>
                      <a:pt x="243" y="304"/>
                    </a:lnTo>
                    <a:lnTo>
                      <a:pt x="241" y="308"/>
                    </a:lnTo>
                    <a:lnTo>
                      <a:pt x="240" y="308"/>
                    </a:lnTo>
                    <a:lnTo>
                      <a:pt x="236" y="308"/>
                    </a:lnTo>
                    <a:lnTo>
                      <a:pt x="233" y="316"/>
                    </a:lnTo>
                    <a:lnTo>
                      <a:pt x="231" y="316"/>
                    </a:lnTo>
                    <a:lnTo>
                      <a:pt x="228" y="321"/>
                    </a:lnTo>
                    <a:lnTo>
                      <a:pt x="226" y="325"/>
                    </a:lnTo>
                    <a:lnTo>
                      <a:pt x="223" y="325"/>
                    </a:lnTo>
                    <a:lnTo>
                      <a:pt x="223" y="331"/>
                    </a:lnTo>
                    <a:lnTo>
                      <a:pt x="219" y="335"/>
                    </a:lnTo>
                    <a:lnTo>
                      <a:pt x="216" y="337"/>
                    </a:lnTo>
                    <a:lnTo>
                      <a:pt x="213" y="337"/>
                    </a:lnTo>
                    <a:lnTo>
                      <a:pt x="211" y="337"/>
                    </a:lnTo>
                    <a:lnTo>
                      <a:pt x="209" y="337"/>
                    </a:lnTo>
                    <a:lnTo>
                      <a:pt x="209" y="338"/>
                    </a:lnTo>
                    <a:lnTo>
                      <a:pt x="213" y="345"/>
                    </a:lnTo>
                    <a:lnTo>
                      <a:pt x="214" y="354"/>
                    </a:lnTo>
                    <a:lnTo>
                      <a:pt x="214" y="355"/>
                    </a:lnTo>
                    <a:lnTo>
                      <a:pt x="213" y="360"/>
                    </a:lnTo>
                    <a:lnTo>
                      <a:pt x="211" y="367"/>
                    </a:lnTo>
                    <a:lnTo>
                      <a:pt x="213" y="379"/>
                    </a:lnTo>
                    <a:lnTo>
                      <a:pt x="213" y="381"/>
                    </a:lnTo>
                    <a:lnTo>
                      <a:pt x="211" y="381"/>
                    </a:lnTo>
                    <a:lnTo>
                      <a:pt x="209" y="376"/>
                    </a:lnTo>
                    <a:lnTo>
                      <a:pt x="206" y="372"/>
                    </a:lnTo>
                    <a:lnTo>
                      <a:pt x="204" y="376"/>
                    </a:lnTo>
                    <a:lnTo>
                      <a:pt x="202" y="374"/>
                    </a:lnTo>
                    <a:lnTo>
                      <a:pt x="202" y="376"/>
                    </a:lnTo>
                    <a:lnTo>
                      <a:pt x="199" y="374"/>
                    </a:lnTo>
                    <a:lnTo>
                      <a:pt x="197" y="376"/>
                    </a:lnTo>
                    <a:lnTo>
                      <a:pt x="196" y="376"/>
                    </a:lnTo>
                    <a:lnTo>
                      <a:pt x="194" y="381"/>
                    </a:lnTo>
                    <a:lnTo>
                      <a:pt x="190" y="381"/>
                    </a:lnTo>
                    <a:lnTo>
                      <a:pt x="189" y="377"/>
                    </a:lnTo>
                    <a:lnTo>
                      <a:pt x="187" y="377"/>
                    </a:lnTo>
                    <a:lnTo>
                      <a:pt x="182" y="376"/>
                    </a:lnTo>
                    <a:lnTo>
                      <a:pt x="180" y="377"/>
                    </a:lnTo>
                    <a:lnTo>
                      <a:pt x="179" y="376"/>
                    </a:lnTo>
                    <a:lnTo>
                      <a:pt x="177" y="377"/>
                    </a:lnTo>
                    <a:lnTo>
                      <a:pt x="173" y="377"/>
                    </a:lnTo>
                    <a:lnTo>
                      <a:pt x="173" y="376"/>
                    </a:lnTo>
                    <a:lnTo>
                      <a:pt x="172" y="374"/>
                    </a:lnTo>
                    <a:lnTo>
                      <a:pt x="167" y="372"/>
                    </a:lnTo>
                    <a:lnTo>
                      <a:pt x="162" y="374"/>
                    </a:lnTo>
                    <a:lnTo>
                      <a:pt x="158" y="371"/>
                    </a:lnTo>
                    <a:lnTo>
                      <a:pt x="155" y="369"/>
                    </a:lnTo>
                    <a:lnTo>
                      <a:pt x="151" y="372"/>
                    </a:lnTo>
                    <a:lnTo>
                      <a:pt x="150" y="374"/>
                    </a:lnTo>
                    <a:lnTo>
                      <a:pt x="148" y="374"/>
                    </a:lnTo>
                    <a:lnTo>
                      <a:pt x="145" y="374"/>
                    </a:lnTo>
                    <a:lnTo>
                      <a:pt x="143" y="374"/>
                    </a:lnTo>
                    <a:lnTo>
                      <a:pt x="143" y="376"/>
                    </a:lnTo>
                    <a:lnTo>
                      <a:pt x="143" y="377"/>
                    </a:lnTo>
                    <a:lnTo>
                      <a:pt x="131" y="377"/>
                    </a:lnTo>
                    <a:lnTo>
                      <a:pt x="126" y="376"/>
                    </a:lnTo>
                    <a:lnTo>
                      <a:pt x="122" y="379"/>
                    </a:lnTo>
                    <a:lnTo>
                      <a:pt x="114" y="379"/>
                    </a:lnTo>
                    <a:lnTo>
                      <a:pt x="109" y="381"/>
                    </a:lnTo>
                    <a:lnTo>
                      <a:pt x="109" y="388"/>
                    </a:lnTo>
                    <a:lnTo>
                      <a:pt x="105" y="400"/>
                    </a:lnTo>
                    <a:lnTo>
                      <a:pt x="105" y="403"/>
                    </a:lnTo>
                    <a:lnTo>
                      <a:pt x="105" y="406"/>
                    </a:lnTo>
                    <a:lnTo>
                      <a:pt x="104" y="408"/>
                    </a:lnTo>
                    <a:lnTo>
                      <a:pt x="105" y="411"/>
                    </a:lnTo>
                    <a:lnTo>
                      <a:pt x="105" y="413"/>
                    </a:lnTo>
                    <a:lnTo>
                      <a:pt x="104" y="415"/>
                    </a:lnTo>
                    <a:lnTo>
                      <a:pt x="100" y="425"/>
                    </a:lnTo>
                    <a:lnTo>
                      <a:pt x="90" y="445"/>
                    </a:lnTo>
                    <a:lnTo>
                      <a:pt x="88" y="444"/>
                    </a:lnTo>
                    <a:lnTo>
                      <a:pt x="88" y="442"/>
                    </a:lnTo>
                    <a:lnTo>
                      <a:pt x="87" y="439"/>
                    </a:lnTo>
                    <a:lnTo>
                      <a:pt x="83" y="434"/>
                    </a:lnTo>
                    <a:lnTo>
                      <a:pt x="85" y="432"/>
                    </a:lnTo>
                    <a:lnTo>
                      <a:pt x="83" y="428"/>
                    </a:lnTo>
                    <a:lnTo>
                      <a:pt x="85" y="427"/>
                    </a:lnTo>
                    <a:lnTo>
                      <a:pt x="83" y="423"/>
                    </a:lnTo>
                    <a:lnTo>
                      <a:pt x="85" y="420"/>
                    </a:lnTo>
                    <a:lnTo>
                      <a:pt x="83" y="420"/>
                    </a:lnTo>
                    <a:lnTo>
                      <a:pt x="82" y="417"/>
                    </a:lnTo>
                    <a:lnTo>
                      <a:pt x="83" y="415"/>
                    </a:lnTo>
                    <a:lnTo>
                      <a:pt x="85" y="413"/>
                    </a:lnTo>
                    <a:lnTo>
                      <a:pt x="83" y="410"/>
                    </a:lnTo>
                    <a:lnTo>
                      <a:pt x="82" y="406"/>
                    </a:lnTo>
                    <a:lnTo>
                      <a:pt x="80" y="406"/>
                    </a:lnTo>
                    <a:lnTo>
                      <a:pt x="78" y="406"/>
                    </a:lnTo>
                    <a:lnTo>
                      <a:pt x="75" y="400"/>
                    </a:lnTo>
                    <a:lnTo>
                      <a:pt x="71" y="400"/>
                    </a:lnTo>
                    <a:lnTo>
                      <a:pt x="70" y="401"/>
                    </a:lnTo>
                    <a:lnTo>
                      <a:pt x="54" y="382"/>
                    </a:lnTo>
                    <a:lnTo>
                      <a:pt x="43" y="369"/>
                    </a:lnTo>
                    <a:lnTo>
                      <a:pt x="34" y="357"/>
                    </a:lnTo>
                    <a:lnTo>
                      <a:pt x="34" y="355"/>
                    </a:lnTo>
                    <a:lnTo>
                      <a:pt x="32" y="355"/>
                    </a:lnTo>
                    <a:lnTo>
                      <a:pt x="32" y="354"/>
                    </a:lnTo>
                    <a:lnTo>
                      <a:pt x="39" y="352"/>
                    </a:lnTo>
                    <a:lnTo>
                      <a:pt x="37" y="352"/>
                    </a:lnTo>
                    <a:lnTo>
                      <a:pt x="36" y="352"/>
                    </a:lnTo>
                    <a:lnTo>
                      <a:pt x="36" y="350"/>
                    </a:lnTo>
                    <a:lnTo>
                      <a:pt x="34" y="348"/>
                    </a:lnTo>
                    <a:lnTo>
                      <a:pt x="34" y="345"/>
                    </a:lnTo>
                    <a:lnTo>
                      <a:pt x="34" y="338"/>
                    </a:lnTo>
                    <a:lnTo>
                      <a:pt x="31" y="337"/>
                    </a:lnTo>
                    <a:lnTo>
                      <a:pt x="31" y="333"/>
                    </a:lnTo>
                    <a:lnTo>
                      <a:pt x="27" y="333"/>
                    </a:lnTo>
                    <a:lnTo>
                      <a:pt x="24" y="331"/>
                    </a:lnTo>
                    <a:lnTo>
                      <a:pt x="22" y="328"/>
                    </a:lnTo>
                    <a:lnTo>
                      <a:pt x="20" y="328"/>
                    </a:lnTo>
                    <a:lnTo>
                      <a:pt x="15" y="325"/>
                    </a:lnTo>
                    <a:lnTo>
                      <a:pt x="15" y="318"/>
                    </a:lnTo>
                    <a:lnTo>
                      <a:pt x="14" y="316"/>
                    </a:lnTo>
                    <a:lnTo>
                      <a:pt x="15" y="314"/>
                    </a:lnTo>
                    <a:lnTo>
                      <a:pt x="14" y="313"/>
                    </a:lnTo>
                    <a:lnTo>
                      <a:pt x="15" y="311"/>
                    </a:lnTo>
                    <a:lnTo>
                      <a:pt x="14" y="308"/>
                    </a:lnTo>
                    <a:lnTo>
                      <a:pt x="14" y="306"/>
                    </a:lnTo>
                    <a:lnTo>
                      <a:pt x="14" y="304"/>
                    </a:lnTo>
                    <a:lnTo>
                      <a:pt x="14" y="303"/>
                    </a:lnTo>
                    <a:lnTo>
                      <a:pt x="14" y="299"/>
                    </a:lnTo>
                    <a:lnTo>
                      <a:pt x="14" y="296"/>
                    </a:lnTo>
                    <a:lnTo>
                      <a:pt x="12" y="294"/>
                    </a:lnTo>
                    <a:lnTo>
                      <a:pt x="7" y="292"/>
                    </a:lnTo>
                    <a:lnTo>
                      <a:pt x="5" y="291"/>
                    </a:lnTo>
                    <a:lnTo>
                      <a:pt x="7" y="289"/>
                    </a:lnTo>
                    <a:lnTo>
                      <a:pt x="9" y="284"/>
                    </a:lnTo>
                    <a:lnTo>
                      <a:pt x="9" y="280"/>
                    </a:lnTo>
                    <a:lnTo>
                      <a:pt x="10" y="279"/>
                    </a:lnTo>
                    <a:lnTo>
                      <a:pt x="9" y="275"/>
                    </a:lnTo>
                    <a:lnTo>
                      <a:pt x="10" y="269"/>
                    </a:lnTo>
                    <a:lnTo>
                      <a:pt x="10" y="258"/>
                    </a:lnTo>
                    <a:lnTo>
                      <a:pt x="9" y="257"/>
                    </a:lnTo>
                    <a:lnTo>
                      <a:pt x="7" y="258"/>
                    </a:lnTo>
                    <a:lnTo>
                      <a:pt x="3" y="258"/>
                    </a:lnTo>
                    <a:lnTo>
                      <a:pt x="0" y="252"/>
                    </a:lnTo>
                    <a:lnTo>
                      <a:pt x="0" y="250"/>
                    </a:lnTo>
                    <a:lnTo>
                      <a:pt x="2" y="250"/>
                    </a:lnTo>
                    <a:lnTo>
                      <a:pt x="7" y="243"/>
                    </a:lnTo>
                    <a:lnTo>
                      <a:pt x="14" y="241"/>
                    </a:lnTo>
                    <a:lnTo>
                      <a:pt x="17" y="240"/>
                    </a:lnTo>
                    <a:lnTo>
                      <a:pt x="20" y="236"/>
                    </a:lnTo>
                    <a:lnTo>
                      <a:pt x="20" y="233"/>
                    </a:lnTo>
                    <a:lnTo>
                      <a:pt x="27" y="217"/>
                    </a:lnTo>
                    <a:lnTo>
                      <a:pt x="29" y="216"/>
                    </a:lnTo>
                    <a:lnTo>
                      <a:pt x="32" y="216"/>
                    </a:lnTo>
                    <a:lnTo>
                      <a:pt x="32" y="214"/>
                    </a:lnTo>
                    <a:lnTo>
                      <a:pt x="36" y="206"/>
                    </a:lnTo>
                    <a:lnTo>
                      <a:pt x="37" y="200"/>
                    </a:lnTo>
                    <a:lnTo>
                      <a:pt x="37" y="199"/>
                    </a:lnTo>
                    <a:lnTo>
                      <a:pt x="39" y="199"/>
                    </a:lnTo>
                    <a:lnTo>
                      <a:pt x="41" y="197"/>
                    </a:lnTo>
                    <a:lnTo>
                      <a:pt x="39" y="194"/>
                    </a:lnTo>
                    <a:lnTo>
                      <a:pt x="41" y="192"/>
                    </a:lnTo>
                    <a:lnTo>
                      <a:pt x="41" y="190"/>
                    </a:lnTo>
                    <a:lnTo>
                      <a:pt x="51" y="182"/>
                    </a:lnTo>
                    <a:lnTo>
                      <a:pt x="54" y="177"/>
                    </a:lnTo>
                    <a:lnTo>
                      <a:pt x="58" y="177"/>
                    </a:lnTo>
                    <a:lnTo>
                      <a:pt x="66" y="177"/>
                    </a:lnTo>
                    <a:lnTo>
                      <a:pt x="68" y="180"/>
                    </a:lnTo>
                    <a:lnTo>
                      <a:pt x="70" y="180"/>
                    </a:lnTo>
                    <a:lnTo>
                      <a:pt x="78" y="178"/>
                    </a:lnTo>
                    <a:lnTo>
                      <a:pt x="80" y="177"/>
                    </a:lnTo>
                    <a:lnTo>
                      <a:pt x="83" y="173"/>
                    </a:lnTo>
                    <a:lnTo>
                      <a:pt x="88" y="173"/>
                    </a:lnTo>
                    <a:lnTo>
                      <a:pt x="90" y="172"/>
                    </a:lnTo>
                    <a:lnTo>
                      <a:pt x="92" y="172"/>
                    </a:lnTo>
                    <a:lnTo>
                      <a:pt x="95" y="170"/>
                    </a:lnTo>
                    <a:lnTo>
                      <a:pt x="100" y="168"/>
                    </a:lnTo>
                    <a:lnTo>
                      <a:pt x="102" y="166"/>
                    </a:lnTo>
                    <a:lnTo>
                      <a:pt x="100" y="163"/>
                    </a:lnTo>
                    <a:lnTo>
                      <a:pt x="102" y="161"/>
                    </a:lnTo>
                    <a:lnTo>
                      <a:pt x="102" y="163"/>
                    </a:lnTo>
                    <a:lnTo>
                      <a:pt x="104" y="163"/>
                    </a:lnTo>
                    <a:lnTo>
                      <a:pt x="105" y="160"/>
                    </a:lnTo>
                    <a:lnTo>
                      <a:pt x="111" y="158"/>
                    </a:lnTo>
                    <a:lnTo>
                      <a:pt x="109" y="160"/>
                    </a:lnTo>
                    <a:lnTo>
                      <a:pt x="111" y="163"/>
                    </a:lnTo>
                    <a:lnTo>
                      <a:pt x="114" y="165"/>
                    </a:lnTo>
                    <a:lnTo>
                      <a:pt x="114" y="168"/>
                    </a:lnTo>
                    <a:lnTo>
                      <a:pt x="114" y="170"/>
                    </a:lnTo>
                    <a:lnTo>
                      <a:pt x="117" y="170"/>
                    </a:lnTo>
                    <a:lnTo>
                      <a:pt x="121" y="173"/>
                    </a:lnTo>
                    <a:lnTo>
                      <a:pt x="121" y="175"/>
                    </a:lnTo>
                    <a:lnTo>
                      <a:pt x="122" y="175"/>
                    </a:lnTo>
                    <a:lnTo>
                      <a:pt x="124" y="175"/>
                    </a:lnTo>
                    <a:lnTo>
                      <a:pt x="126" y="175"/>
                    </a:lnTo>
                    <a:lnTo>
                      <a:pt x="124" y="173"/>
                    </a:lnTo>
                    <a:lnTo>
                      <a:pt x="126" y="172"/>
                    </a:lnTo>
                    <a:lnTo>
                      <a:pt x="128" y="170"/>
                    </a:lnTo>
                    <a:lnTo>
                      <a:pt x="129" y="172"/>
                    </a:lnTo>
                    <a:lnTo>
                      <a:pt x="129" y="170"/>
                    </a:lnTo>
                    <a:lnTo>
                      <a:pt x="133" y="170"/>
                    </a:lnTo>
                    <a:lnTo>
                      <a:pt x="134" y="170"/>
                    </a:lnTo>
                    <a:lnTo>
                      <a:pt x="134" y="168"/>
                    </a:lnTo>
                    <a:lnTo>
                      <a:pt x="136" y="166"/>
                    </a:lnTo>
                    <a:lnTo>
                      <a:pt x="136" y="170"/>
                    </a:lnTo>
                    <a:lnTo>
                      <a:pt x="138" y="168"/>
                    </a:lnTo>
                    <a:lnTo>
                      <a:pt x="139" y="166"/>
                    </a:lnTo>
                    <a:lnTo>
                      <a:pt x="141" y="166"/>
                    </a:lnTo>
                    <a:lnTo>
                      <a:pt x="141" y="163"/>
                    </a:lnTo>
                    <a:lnTo>
                      <a:pt x="143" y="165"/>
                    </a:lnTo>
                    <a:lnTo>
                      <a:pt x="145" y="165"/>
                    </a:lnTo>
                    <a:lnTo>
                      <a:pt x="143" y="163"/>
                    </a:lnTo>
                    <a:lnTo>
                      <a:pt x="146" y="161"/>
                    </a:lnTo>
                    <a:lnTo>
                      <a:pt x="148" y="161"/>
                    </a:lnTo>
                    <a:lnTo>
                      <a:pt x="148" y="160"/>
                    </a:lnTo>
                    <a:lnTo>
                      <a:pt x="150" y="160"/>
                    </a:lnTo>
                    <a:lnTo>
                      <a:pt x="151" y="160"/>
                    </a:lnTo>
                    <a:lnTo>
                      <a:pt x="151" y="158"/>
                    </a:lnTo>
                    <a:lnTo>
                      <a:pt x="151" y="160"/>
                    </a:lnTo>
                    <a:lnTo>
                      <a:pt x="153" y="158"/>
                    </a:lnTo>
                    <a:lnTo>
                      <a:pt x="155" y="158"/>
                    </a:lnTo>
                    <a:lnTo>
                      <a:pt x="156" y="158"/>
                    </a:lnTo>
                    <a:lnTo>
                      <a:pt x="158" y="158"/>
                    </a:lnTo>
                    <a:lnTo>
                      <a:pt x="158" y="156"/>
                    </a:lnTo>
                    <a:lnTo>
                      <a:pt x="160" y="156"/>
                    </a:lnTo>
                    <a:lnTo>
                      <a:pt x="160" y="155"/>
                    </a:lnTo>
                    <a:lnTo>
                      <a:pt x="162" y="156"/>
                    </a:lnTo>
                    <a:lnTo>
                      <a:pt x="163" y="155"/>
                    </a:lnTo>
                    <a:lnTo>
                      <a:pt x="165" y="153"/>
                    </a:lnTo>
                    <a:lnTo>
                      <a:pt x="167" y="153"/>
                    </a:lnTo>
                    <a:lnTo>
                      <a:pt x="177" y="155"/>
                    </a:lnTo>
                    <a:lnTo>
                      <a:pt x="182" y="151"/>
                    </a:lnTo>
                    <a:lnTo>
                      <a:pt x="196" y="151"/>
                    </a:lnTo>
                    <a:lnTo>
                      <a:pt x="211" y="149"/>
                    </a:lnTo>
                    <a:lnTo>
                      <a:pt x="213" y="149"/>
                    </a:lnTo>
                    <a:lnTo>
                      <a:pt x="213" y="148"/>
                    </a:lnTo>
                    <a:lnTo>
                      <a:pt x="213" y="144"/>
                    </a:lnTo>
                    <a:lnTo>
                      <a:pt x="214" y="143"/>
                    </a:lnTo>
                    <a:lnTo>
                      <a:pt x="216" y="141"/>
                    </a:lnTo>
                    <a:lnTo>
                      <a:pt x="221" y="139"/>
                    </a:lnTo>
                    <a:lnTo>
                      <a:pt x="223" y="138"/>
                    </a:lnTo>
                    <a:lnTo>
                      <a:pt x="224" y="134"/>
                    </a:lnTo>
                    <a:lnTo>
                      <a:pt x="226" y="134"/>
                    </a:lnTo>
                    <a:lnTo>
                      <a:pt x="228" y="132"/>
                    </a:lnTo>
                    <a:lnTo>
                      <a:pt x="228" y="131"/>
                    </a:lnTo>
                    <a:lnTo>
                      <a:pt x="230" y="129"/>
                    </a:lnTo>
                    <a:lnTo>
                      <a:pt x="231" y="127"/>
                    </a:lnTo>
                    <a:lnTo>
                      <a:pt x="231" y="126"/>
                    </a:lnTo>
                    <a:lnTo>
                      <a:pt x="233" y="126"/>
                    </a:lnTo>
                    <a:lnTo>
                      <a:pt x="235" y="121"/>
                    </a:lnTo>
                    <a:lnTo>
                      <a:pt x="238" y="119"/>
                    </a:lnTo>
                    <a:lnTo>
                      <a:pt x="236" y="117"/>
                    </a:lnTo>
                    <a:lnTo>
                      <a:pt x="235" y="115"/>
                    </a:lnTo>
                    <a:lnTo>
                      <a:pt x="233" y="114"/>
                    </a:lnTo>
                    <a:lnTo>
                      <a:pt x="230" y="112"/>
                    </a:lnTo>
                    <a:lnTo>
                      <a:pt x="230" y="110"/>
                    </a:lnTo>
                    <a:lnTo>
                      <a:pt x="228" y="110"/>
                    </a:lnTo>
                    <a:lnTo>
                      <a:pt x="228" y="109"/>
                    </a:lnTo>
                    <a:lnTo>
                      <a:pt x="226" y="109"/>
                    </a:lnTo>
                    <a:lnTo>
                      <a:pt x="226" y="110"/>
                    </a:lnTo>
                    <a:lnTo>
                      <a:pt x="224" y="109"/>
                    </a:lnTo>
                    <a:lnTo>
                      <a:pt x="224" y="107"/>
                    </a:lnTo>
                    <a:lnTo>
                      <a:pt x="226" y="107"/>
                    </a:lnTo>
                    <a:lnTo>
                      <a:pt x="228" y="105"/>
                    </a:lnTo>
                    <a:lnTo>
                      <a:pt x="231" y="105"/>
                    </a:lnTo>
                    <a:lnTo>
                      <a:pt x="231" y="104"/>
                    </a:lnTo>
                    <a:lnTo>
                      <a:pt x="233" y="104"/>
                    </a:lnTo>
                    <a:lnTo>
                      <a:pt x="233" y="102"/>
                    </a:lnTo>
                    <a:lnTo>
                      <a:pt x="235" y="102"/>
                    </a:lnTo>
                    <a:lnTo>
                      <a:pt x="236" y="100"/>
                    </a:lnTo>
                    <a:lnTo>
                      <a:pt x="238" y="102"/>
                    </a:lnTo>
                    <a:lnTo>
                      <a:pt x="238" y="100"/>
                    </a:lnTo>
                    <a:lnTo>
                      <a:pt x="240" y="102"/>
                    </a:lnTo>
                    <a:lnTo>
                      <a:pt x="243" y="100"/>
                    </a:lnTo>
                    <a:lnTo>
                      <a:pt x="247" y="102"/>
                    </a:lnTo>
                    <a:lnTo>
                      <a:pt x="248" y="100"/>
                    </a:lnTo>
                    <a:lnTo>
                      <a:pt x="250" y="100"/>
                    </a:lnTo>
                    <a:lnTo>
                      <a:pt x="250" y="102"/>
                    </a:lnTo>
                    <a:lnTo>
                      <a:pt x="250" y="100"/>
                    </a:lnTo>
                    <a:lnTo>
                      <a:pt x="250" y="102"/>
                    </a:lnTo>
                    <a:lnTo>
                      <a:pt x="255" y="100"/>
                    </a:lnTo>
                    <a:lnTo>
                      <a:pt x="255" y="102"/>
                    </a:lnTo>
                    <a:lnTo>
                      <a:pt x="257" y="100"/>
                    </a:lnTo>
                    <a:lnTo>
                      <a:pt x="258" y="100"/>
                    </a:lnTo>
                    <a:lnTo>
                      <a:pt x="260" y="100"/>
                    </a:lnTo>
                    <a:lnTo>
                      <a:pt x="264" y="100"/>
                    </a:lnTo>
                    <a:lnTo>
                      <a:pt x="265" y="100"/>
                    </a:lnTo>
                    <a:lnTo>
                      <a:pt x="267" y="100"/>
                    </a:lnTo>
                    <a:lnTo>
                      <a:pt x="269" y="98"/>
                    </a:lnTo>
                    <a:lnTo>
                      <a:pt x="269" y="100"/>
                    </a:lnTo>
                    <a:lnTo>
                      <a:pt x="270" y="98"/>
                    </a:lnTo>
                    <a:lnTo>
                      <a:pt x="272" y="98"/>
                    </a:lnTo>
                    <a:lnTo>
                      <a:pt x="274" y="98"/>
                    </a:lnTo>
                    <a:lnTo>
                      <a:pt x="275" y="98"/>
                    </a:lnTo>
                    <a:lnTo>
                      <a:pt x="279" y="97"/>
                    </a:lnTo>
                    <a:lnTo>
                      <a:pt x="279" y="98"/>
                    </a:lnTo>
                    <a:lnTo>
                      <a:pt x="279" y="97"/>
                    </a:lnTo>
                    <a:lnTo>
                      <a:pt x="281" y="97"/>
                    </a:lnTo>
                    <a:lnTo>
                      <a:pt x="282" y="95"/>
                    </a:lnTo>
                    <a:lnTo>
                      <a:pt x="284" y="97"/>
                    </a:lnTo>
                    <a:lnTo>
                      <a:pt x="284" y="95"/>
                    </a:lnTo>
                    <a:lnTo>
                      <a:pt x="286" y="93"/>
                    </a:lnTo>
                    <a:lnTo>
                      <a:pt x="287" y="95"/>
                    </a:lnTo>
                    <a:lnTo>
                      <a:pt x="287" y="93"/>
                    </a:lnTo>
                    <a:lnTo>
                      <a:pt x="289" y="95"/>
                    </a:lnTo>
                    <a:lnTo>
                      <a:pt x="289" y="93"/>
                    </a:lnTo>
                    <a:lnTo>
                      <a:pt x="291" y="95"/>
                    </a:lnTo>
                    <a:lnTo>
                      <a:pt x="292" y="95"/>
                    </a:lnTo>
                    <a:lnTo>
                      <a:pt x="292" y="93"/>
                    </a:lnTo>
                    <a:lnTo>
                      <a:pt x="296" y="95"/>
                    </a:lnTo>
                    <a:lnTo>
                      <a:pt x="298" y="95"/>
                    </a:lnTo>
                    <a:lnTo>
                      <a:pt x="299" y="95"/>
                    </a:lnTo>
                    <a:lnTo>
                      <a:pt x="301" y="95"/>
                    </a:lnTo>
                    <a:lnTo>
                      <a:pt x="303" y="93"/>
                    </a:lnTo>
                    <a:lnTo>
                      <a:pt x="304" y="93"/>
                    </a:lnTo>
                    <a:lnTo>
                      <a:pt x="306" y="92"/>
                    </a:lnTo>
                    <a:lnTo>
                      <a:pt x="309" y="90"/>
                    </a:lnTo>
                    <a:lnTo>
                      <a:pt x="308" y="87"/>
                    </a:lnTo>
                    <a:lnTo>
                      <a:pt x="309" y="87"/>
                    </a:lnTo>
                    <a:lnTo>
                      <a:pt x="309" y="83"/>
                    </a:lnTo>
                    <a:lnTo>
                      <a:pt x="311" y="85"/>
                    </a:lnTo>
                    <a:lnTo>
                      <a:pt x="313" y="85"/>
                    </a:lnTo>
                    <a:lnTo>
                      <a:pt x="315" y="87"/>
                    </a:lnTo>
                    <a:lnTo>
                      <a:pt x="316" y="81"/>
                    </a:lnTo>
                    <a:lnTo>
                      <a:pt x="321" y="81"/>
                    </a:lnTo>
                    <a:lnTo>
                      <a:pt x="321" y="80"/>
                    </a:lnTo>
                    <a:lnTo>
                      <a:pt x="323" y="80"/>
                    </a:lnTo>
                    <a:lnTo>
                      <a:pt x="325" y="80"/>
                    </a:lnTo>
                    <a:lnTo>
                      <a:pt x="325" y="78"/>
                    </a:lnTo>
                    <a:lnTo>
                      <a:pt x="325" y="76"/>
                    </a:lnTo>
                    <a:lnTo>
                      <a:pt x="326" y="76"/>
                    </a:lnTo>
                    <a:lnTo>
                      <a:pt x="326" y="75"/>
                    </a:lnTo>
                    <a:lnTo>
                      <a:pt x="328" y="75"/>
                    </a:lnTo>
                    <a:lnTo>
                      <a:pt x="330" y="75"/>
                    </a:lnTo>
                    <a:lnTo>
                      <a:pt x="328" y="75"/>
                    </a:lnTo>
                    <a:lnTo>
                      <a:pt x="330" y="73"/>
                    </a:lnTo>
                    <a:lnTo>
                      <a:pt x="332" y="73"/>
                    </a:lnTo>
                    <a:lnTo>
                      <a:pt x="332" y="69"/>
                    </a:lnTo>
                    <a:lnTo>
                      <a:pt x="332" y="71"/>
                    </a:lnTo>
                    <a:lnTo>
                      <a:pt x="333" y="69"/>
                    </a:lnTo>
                    <a:lnTo>
                      <a:pt x="332" y="69"/>
                    </a:lnTo>
                    <a:lnTo>
                      <a:pt x="333" y="68"/>
                    </a:lnTo>
                    <a:lnTo>
                      <a:pt x="332" y="68"/>
                    </a:lnTo>
                    <a:lnTo>
                      <a:pt x="333" y="68"/>
                    </a:lnTo>
                    <a:lnTo>
                      <a:pt x="333" y="66"/>
                    </a:lnTo>
                    <a:lnTo>
                      <a:pt x="333" y="64"/>
                    </a:lnTo>
                    <a:lnTo>
                      <a:pt x="335" y="64"/>
                    </a:lnTo>
                    <a:lnTo>
                      <a:pt x="335" y="63"/>
                    </a:lnTo>
                    <a:lnTo>
                      <a:pt x="335" y="61"/>
                    </a:lnTo>
                    <a:lnTo>
                      <a:pt x="337" y="63"/>
                    </a:lnTo>
                    <a:lnTo>
                      <a:pt x="340" y="61"/>
                    </a:lnTo>
                    <a:lnTo>
                      <a:pt x="340" y="59"/>
                    </a:lnTo>
                    <a:lnTo>
                      <a:pt x="342" y="58"/>
                    </a:lnTo>
                    <a:lnTo>
                      <a:pt x="343" y="56"/>
                    </a:lnTo>
                    <a:lnTo>
                      <a:pt x="343" y="52"/>
                    </a:lnTo>
                    <a:lnTo>
                      <a:pt x="347" y="52"/>
                    </a:lnTo>
                    <a:lnTo>
                      <a:pt x="347" y="51"/>
                    </a:lnTo>
                    <a:lnTo>
                      <a:pt x="349" y="52"/>
                    </a:lnTo>
                    <a:lnTo>
                      <a:pt x="349" y="51"/>
                    </a:lnTo>
                    <a:lnTo>
                      <a:pt x="350" y="51"/>
                    </a:lnTo>
                    <a:lnTo>
                      <a:pt x="350" y="52"/>
                    </a:lnTo>
                    <a:lnTo>
                      <a:pt x="352" y="51"/>
                    </a:lnTo>
                    <a:lnTo>
                      <a:pt x="352" y="52"/>
                    </a:lnTo>
                    <a:lnTo>
                      <a:pt x="354" y="51"/>
                    </a:lnTo>
                    <a:lnTo>
                      <a:pt x="354" y="47"/>
                    </a:lnTo>
                    <a:lnTo>
                      <a:pt x="355" y="49"/>
                    </a:lnTo>
                    <a:lnTo>
                      <a:pt x="355" y="46"/>
                    </a:lnTo>
                    <a:lnTo>
                      <a:pt x="357" y="46"/>
                    </a:lnTo>
                    <a:lnTo>
                      <a:pt x="355" y="44"/>
                    </a:lnTo>
                    <a:lnTo>
                      <a:pt x="357" y="44"/>
                    </a:lnTo>
                    <a:lnTo>
                      <a:pt x="357" y="42"/>
                    </a:lnTo>
                    <a:lnTo>
                      <a:pt x="359" y="42"/>
                    </a:lnTo>
                    <a:lnTo>
                      <a:pt x="359" y="41"/>
                    </a:lnTo>
                    <a:lnTo>
                      <a:pt x="360" y="39"/>
                    </a:lnTo>
                    <a:lnTo>
                      <a:pt x="362" y="41"/>
                    </a:lnTo>
                    <a:lnTo>
                      <a:pt x="364" y="41"/>
                    </a:lnTo>
                    <a:lnTo>
                      <a:pt x="366" y="39"/>
                    </a:lnTo>
                    <a:lnTo>
                      <a:pt x="367" y="39"/>
                    </a:lnTo>
                    <a:lnTo>
                      <a:pt x="367" y="37"/>
                    </a:lnTo>
                    <a:lnTo>
                      <a:pt x="367" y="35"/>
                    </a:lnTo>
                    <a:lnTo>
                      <a:pt x="369" y="37"/>
                    </a:lnTo>
                    <a:lnTo>
                      <a:pt x="371" y="34"/>
                    </a:lnTo>
                    <a:lnTo>
                      <a:pt x="371" y="32"/>
                    </a:lnTo>
                    <a:lnTo>
                      <a:pt x="371" y="30"/>
                    </a:lnTo>
                    <a:lnTo>
                      <a:pt x="372" y="29"/>
                    </a:lnTo>
                    <a:lnTo>
                      <a:pt x="371" y="29"/>
                    </a:lnTo>
                    <a:lnTo>
                      <a:pt x="371" y="27"/>
                    </a:lnTo>
                    <a:lnTo>
                      <a:pt x="369" y="25"/>
                    </a:lnTo>
                    <a:lnTo>
                      <a:pt x="371" y="22"/>
                    </a:lnTo>
                    <a:lnTo>
                      <a:pt x="371" y="18"/>
                    </a:lnTo>
                    <a:lnTo>
                      <a:pt x="371" y="17"/>
                    </a:lnTo>
                    <a:lnTo>
                      <a:pt x="372" y="18"/>
                    </a:lnTo>
                    <a:lnTo>
                      <a:pt x="372" y="17"/>
                    </a:lnTo>
                    <a:lnTo>
                      <a:pt x="374" y="13"/>
                    </a:lnTo>
                    <a:lnTo>
                      <a:pt x="372" y="12"/>
                    </a:lnTo>
                    <a:lnTo>
                      <a:pt x="374" y="12"/>
                    </a:lnTo>
                    <a:lnTo>
                      <a:pt x="372" y="10"/>
                    </a:lnTo>
                    <a:lnTo>
                      <a:pt x="374" y="10"/>
                    </a:lnTo>
                    <a:lnTo>
                      <a:pt x="376" y="8"/>
                    </a:lnTo>
                    <a:lnTo>
                      <a:pt x="377" y="8"/>
                    </a:lnTo>
                    <a:lnTo>
                      <a:pt x="377" y="7"/>
                    </a:lnTo>
                    <a:lnTo>
                      <a:pt x="379" y="7"/>
                    </a:lnTo>
                    <a:lnTo>
                      <a:pt x="381" y="8"/>
                    </a:lnTo>
                    <a:lnTo>
                      <a:pt x="381" y="7"/>
                    </a:lnTo>
                    <a:lnTo>
                      <a:pt x="381" y="8"/>
                    </a:lnTo>
                    <a:lnTo>
                      <a:pt x="383" y="7"/>
                    </a:lnTo>
                    <a:lnTo>
                      <a:pt x="384" y="5"/>
                    </a:lnTo>
                    <a:lnTo>
                      <a:pt x="386" y="7"/>
                    </a:lnTo>
                    <a:lnTo>
                      <a:pt x="388" y="5"/>
                    </a:lnTo>
                    <a:lnTo>
                      <a:pt x="391" y="7"/>
                    </a:lnTo>
                    <a:lnTo>
                      <a:pt x="393" y="7"/>
                    </a:lnTo>
                    <a:lnTo>
                      <a:pt x="393" y="5"/>
                    </a:lnTo>
                    <a:lnTo>
                      <a:pt x="398" y="3"/>
                    </a:lnTo>
                    <a:lnTo>
                      <a:pt x="400" y="3"/>
                    </a:lnTo>
                    <a:lnTo>
                      <a:pt x="400" y="1"/>
                    </a:lnTo>
                    <a:lnTo>
                      <a:pt x="405" y="1"/>
                    </a:lnTo>
                    <a:lnTo>
                      <a:pt x="406" y="0"/>
                    </a:lnTo>
                    <a:lnTo>
                      <a:pt x="410" y="0"/>
                    </a:lnTo>
                    <a:lnTo>
                      <a:pt x="413" y="1"/>
                    </a:lnTo>
                    <a:lnTo>
                      <a:pt x="415" y="0"/>
                    </a:lnTo>
                    <a:lnTo>
                      <a:pt x="420" y="1"/>
                    </a:lnTo>
                    <a:lnTo>
                      <a:pt x="422" y="1"/>
                    </a:lnTo>
                    <a:lnTo>
                      <a:pt x="423" y="1"/>
                    </a:lnTo>
                    <a:lnTo>
                      <a:pt x="423" y="3"/>
                    </a:lnTo>
                    <a:lnTo>
                      <a:pt x="425" y="3"/>
                    </a:lnTo>
                    <a:lnTo>
                      <a:pt x="428" y="3"/>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3" name="Freeform 19">
                <a:extLst>
                  <a:ext uri="{FF2B5EF4-FFF2-40B4-BE49-F238E27FC236}">
                    <a16:creationId xmlns:a16="http://schemas.microsoft.com/office/drawing/2014/main" id="{813D6C98-AE44-4DE2-911D-9250B16DD650}"/>
                  </a:ext>
                </a:extLst>
              </p:cNvPr>
              <p:cNvSpPr>
                <a:spLocks/>
              </p:cNvSpPr>
              <p:nvPr/>
            </p:nvSpPr>
            <p:spPr bwMode="gray">
              <a:xfrm>
                <a:off x="5667374" y="1593085"/>
                <a:ext cx="846138" cy="1257720"/>
              </a:xfrm>
              <a:custGeom>
                <a:avLst/>
                <a:gdLst>
                  <a:gd name="T0" fmla="*/ 458 w 533"/>
                  <a:gd name="T1" fmla="*/ 631 h 811"/>
                  <a:gd name="T2" fmla="*/ 436 w 533"/>
                  <a:gd name="T3" fmla="*/ 636 h 811"/>
                  <a:gd name="T4" fmla="*/ 425 w 533"/>
                  <a:gd name="T5" fmla="*/ 639 h 811"/>
                  <a:gd name="T6" fmla="*/ 419 w 533"/>
                  <a:gd name="T7" fmla="*/ 648 h 811"/>
                  <a:gd name="T8" fmla="*/ 419 w 533"/>
                  <a:gd name="T9" fmla="*/ 665 h 811"/>
                  <a:gd name="T10" fmla="*/ 407 w 533"/>
                  <a:gd name="T11" fmla="*/ 672 h 811"/>
                  <a:gd name="T12" fmla="*/ 402 w 533"/>
                  <a:gd name="T13" fmla="*/ 682 h 811"/>
                  <a:gd name="T14" fmla="*/ 391 w 533"/>
                  <a:gd name="T15" fmla="*/ 683 h 811"/>
                  <a:gd name="T16" fmla="*/ 381 w 533"/>
                  <a:gd name="T17" fmla="*/ 695 h 811"/>
                  <a:gd name="T18" fmla="*/ 380 w 533"/>
                  <a:gd name="T19" fmla="*/ 704 h 811"/>
                  <a:gd name="T20" fmla="*/ 373 w 533"/>
                  <a:gd name="T21" fmla="*/ 711 h 811"/>
                  <a:gd name="T22" fmla="*/ 357 w 533"/>
                  <a:gd name="T23" fmla="*/ 718 h 811"/>
                  <a:gd name="T24" fmla="*/ 344 w 533"/>
                  <a:gd name="T25" fmla="*/ 726 h 811"/>
                  <a:gd name="T26" fmla="*/ 332 w 533"/>
                  <a:gd name="T27" fmla="*/ 726 h 811"/>
                  <a:gd name="T28" fmla="*/ 320 w 533"/>
                  <a:gd name="T29" fmla="*/ 729 h 811"/>
                  <a:gd name="T30" fmla="*/ 305 w 533"/>
                  <a:gd name="T31" fmla="*/ 731 h 811"/>
                  <a:gd name="T32" fmla="*/ 291 w 533"/>
                  <a:gd name="T33" fmla="*/ 731 h 811"/>
                  <a:gd name="T34" fmla="*/ 279 w 533"/>
                  <a:gd name="T35" fmla="*/ 736 h 811"/>
                  <a:gd name="T36" fmla="*/ 278 w 533"/>
                  <a:gd name="T37" fmla="*/ 741 h 811"/>
                  <a:gd name="T38" fmla="*/ 279 w 533"/>
                  <a:gd name="T39" fmla="*/ 758 h 811"/>
                  <a:gd name="T40" fmla="*/ 262 w 533"/>
                  <a:gd name="T41" fmla="*/ 774 h 811"/>
                  <a:gd name="T42" fmla="*/ 213 w 533"/>
                  <a:gd name="T43" fmla="*/ 784 h 811"/>
                  <a:gd name="T44" fmla="*/ 201 w 533"/>
                  <a:gd name="T45" fmla="*/ 789 h 811"/>
                  <a:gd name="T46" fmla="*/ 193 w 533"/>
                  <a:gd name="T47" fmla="*/ 796 h 811"/>
                  <a:gd name="T48" fmla="*/ 182 w 533"/>
                  <a:gd name="T49" fmla="*/ 801 h 811"/>
                  <a:gd name="T50" fmla="*/ 170 w 533"/>
                  <a:gd name="T51" fmla="*/ 806 h 811"/>
                  <a:gd name="T52" fmla="*/ 159 w 533"/>
                  <a:gd name="T53" fmla="*/ 789 h 811"/>
                  <a:gd name="T54" fmla="*/ 140 w 533"/>
                  <a:gd name="T55" fmla="*/ 803 h 811"/>
                  <a:gd name="T56" fmla="*/ 106 w 533"/>
                  <a:gd name="T57" fmla="*/ 808 h 811"/>
                  <a:gd name="T58" fmla="*/ 102 w 533"/>
                  <a:gd name="T59" fmla="*/ 792 h 811"/>
                  <a:gd name="T60" fmla="*/ 77 w 533"/>
                  <a:gd name="T61" fmla="*/ 748 h 811"/>
                  <a:gd name="T62" fmla="*/ 57 w 533"/>
                  <a:gd name="T63" fmla="*/ 733 h 811"/>
                  <a:gd name="T64" fmla="*/ 38 w 533"/>
                  <a:gd name="T65" fmla="*/ 712 h 811"/>
                  <a:gd name="T66" fmla="*/ 29 w 533"/>
                  <a:gd name="T67" fmla="*/ 694 h 811"/>
                  <a:gd name="T68" fmla="*/ 65 w 533"/>
                  <a:gd name="T69" fmla="*/ 685 h 811"/>
                  <a:gd name="T70" fmla="*/ 113 w 533"/>
                  <a:gd name="T71" fmla="*/ 682 h 811"/>
                  <a:gd name="T72" fmla="*/ 85 w 533"/>
                  <a:gd name="T73" fmla="*/ 649 h 811"/>
                  <a:gd name="T74" fmla="*/ 82 w 533"/>
                  <a:gd name="T75" fmla="*/ 626 h 811"/>
                  <a:gd name="T76" fmla="*/ 80 w 533"/>
                  <a:gd name="T77" fmla="*/ 609 h 811"/>
                  <a:gd name="T78" fmla="*/ 82 w 533"/>
                  <a:gd name="T79" fmla="*/ 593 h 811"/>
                  <a:gd name="T80" fmla="*/ 80 w 533"/>
                  <a:gd name="T81" fmla="*/ 581 h 811"/>
                  <a:gd name="T82" fmla="*/ 72 w 533"/>
                  <a:gd name="T83" fmla="*/ 573 h 811"/>
                  <a:gd name="T84" fmla="*/ 65 w 533"/>
                  <a:gd name="T85" fmla="*/ 546 h 811"/>
                  <a:gd name="T86" fmla="*/ 55 w 533"/>
                  <a:gd name="T87" fmla="*/ 541 h 811"/>
                  <a:gd name="T88" fmla="*/ 19 w 533"/>
                  <a:gd name="T89" fmla="*/ 510 h 811"/>
                  <a:gd name="T90" fmla="*/ 11 w 533"/>
                  <a:gd name="T91" fmla="*/ 447 h 811"/>
                  <a:gd name="T92" fmla="*/ 77 w 533"/>
                  <a:gd name="T93" fmla="*/ 359 h 811"/>
                  <a:gd name="T94" fmla="*/ 121 w 533"/>
                  <a:gd name="T95" fmla="*/ 151 h 811"/>
                  <a:gd name="T96" fmla="*/ 87 w 533"/>
                  <a:gd name="T97" fmla="*/ 100 h 811"/>
                  <a:gd name="T98" fmla="*/ 284 w 533"/>
                  <a:gd name="T99" fmla="*/ 75 h 811"/>
                  <a:gd name="T100" fmla="*/ 533 w 533"/>
                  <a:gd name="T101" fmla="*/ 326 h 811"/>
                  <a:gd name="T102" fmla="*/ 495 w 533"/>
                  <a:gd name="T103" fmla="*/ 393 h 811"/>
                  <a:gd name="T104" fmla="*/ 483 w 533"/>
                  <a:gd name="T105" fmla="*/ 416 h 811"/>
                  <a:gd name="T106" fmla="*/ 468 w 533"/>
                  <a:gd name="T107" fmla="*/ 433 h 811"/>
                  <a:gd name="T108" fmla="*/ 454 w 533"/>
                  <a:gd name="T109" fmla="*/ 464 h 811"/>
                  <a:gd name="T110" fmla="*/ 444 w 533"/>
                  <a:gd name="T111" fmla="*/ 481 h 811"/>
                  <a:gd name="T112" fmla="*/ 446 w 533"/>
                  <a:gd name="T113" fmla="*/ 512 h 811"/>
                  <a:gd name="T114" fmla="*/ 424 w 533"/>
                  <a:gd name="T115" fmla="*/ 539 h 811"/>
                  <a:gd name="T116" fmla="*/ 451 w 533"/>
                  <a:gd name="T117" fmla="*/ 547 h 811"/>
                  <a:gd name="T118" fmla="*/ 456 w 533"/>
                  <a:gd name="T119" fmla="*/ 578 h 811"/>
                  <a:gd name="T120" fmla="*/ 471 w 533"/>
                  <a:gd name="T121" fmla="*/ 61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3" h="811">
                    <a:moveTo>
                      <a:pt x="476" y="634"/>
                    </a:moveTo>
                    <a:lnTo>
                      <a:pt x="473" y="634"/>
                    </a:lnTo>
                    <a:lnTo>
                      <a:pt x="471" y="634"/>
                    </a:lnTo>
                    <a:lnTo>
                      <a:pt x="471" y="632"/>
                    </a:lnTo>
                    <a:lnTo>
                      <a:pt x="470" y="632"/>
                    </a:lnTo>
                    <a:lnTo>
                      <a:pt x="468" y="632"/>
                    </a:lnTo>
                    <a:lnTo>
                      <a:pt x="463" y="631"/>
                    </a:lnTo>
                    <a:lnTo>
                      <a:pt x="461" y="632"/>
                    </a:lnTo>
                    <a:lnTo>
                      <a:pt x="458" y="631"/>
                    </a:lnTo>
                    <a:lnTo>
                      <a:pt x="454" y="631"/>
                    </a:lnTo>
                    <a:lnTo>
                      <a:pt x="453" y="632"/>
                    </a:lnTo>
                    <a:lnTo>
                      <a:pt x="448" y="632"/>
                    </a:lnTo>
                    <a:lnTo>
                      <a:pt x="448" y="634"/>
                    </a:lnTo>
                    <a:lnTo>
                      <a:pt x="446" y="634"/>
                    </a:lnTo>
                    <a:lnTo>
                      <a:pt x="441" y="636"/>
                    </a:lnTo>
                    <a:lnTo>
                      <a:pt x="441" y="638"/>
                    </a:lnTo>
                    <a:lnTo>
                      <a:pt x="439" y="638"/>
                    </a:lnTo>
                    <a:lnTo>
                      <a:pt x="436" y="636"/>
                    </a:lnTo>
                    <a:lnTo>
                      <a:pt x="434" y="638"/>
                    </a:lnTo>
                    <a:lnTo>
                      <a:pt x="432" y="636"/>
                    </a:lnTo>
                    <a:lnTo>
                      <a:pt x="431" y="638"/>
                    </a:lnTo>
                    <a:lnTo>
                      <a:pt x="429" y="639"/>
                    </a:lnTo>
                    <a:lnTo>
                      <a:pt x="429" y="638"/>
                    </a:lnTo>
                    <a:lnTo>
                      <a:pt x="429" y="639"/>
                    </a:lnTo>
                    <a:lnTo>
                      <a:pt x="427" y="638"/>
                    </a:lnTo>
                    <a:lnTo>
                      <a:pt x="425" y="638"/>
                    </a:lnTo>
                    <a:lnTo>
                      <a:pt x="425" y="639"/>
                    </a:lnTo>
                    <a:lnTo>
                      <a:pt x="424" y="639"/>
                    </a:lnTo>
                    <a:lnTo>
                      <a:pt x="422" y="641"/>
                    </a:lnTo>
                    <a:lnTo>
                      <a:pt x="420" y="641"/>
                    </a:lnTo>
                    <a:lnTo>
                      <a:pt x="422" y="643"/>
                    </a:lnTo>
                    <a:lnTo>
                      <a:pt x="420" y="643"/>
                    </a:lnTo>
                    <a:lnTo>
                      <a:pt x="422" y="644"/>
                    </a:lnTo>
                    <a:lnTo>
                      <a:pt x="420" y="648"/>
                    </a:lnTo>
                    <a:lnTo>
                      <a:pt x="420" y="649"/>
                    </a:lnTo>
                    <a:lnTo>
                      <a:pt x="419" y="648"/>
                    </a:lnTo>
                    <a:lnTo>
                      <a:pt x="419" y="649"/>
                    </a:lnTo>
                    <a:lnTo>
                      <a:pt x="419" y="653"/>
                    </a:lnTo>
                    <a:lnTo>
                      <a:pt x="417" y="656"/>
                    </a:lnTo>
                    <a:lnTo>
                      <a:pt x="419" y="658"/>
                    </a:lnTo>
                    <a:lnTo>
                      <a:pt x="419" y="660"/>
                    </a:lnTo>
                    <a:lnTo>
                      <a:pt x="420" y="660"/>
                    </a:lnTo>
                    <a:lnTo>
                      <a:pt x="419" y="661"/>
                    </a:lnTo>
                    <a:lnTo>
                      <a:pt x="419" y="663"/>
                    </a:lnTo>
                    <a:lnTo>
                      <a:pt x="419" y="665"/>
                    </a:lnTo>
                    <a:lnTo>
                      <a:pt x="417" y="668"/>
                    </a:lnTo>
                    <a:lnTo>
                      <a:pt x="415" y="666"/>
                    </a:lnTo>
                    <a:lnTo>
                      <a:pt x="415" y="668"/>
                    </a:lnTo>
                    <a:lnTo>
                      <a:pt x="415" y="670"/>
                    </a:lnTo>
                    <a:lnTo>
                      <a:pt x="414" y="670"/>
                    </a:lnTo>
                    <a:lnTo>
                      <a:pt x="412" y="672"/>
                    </a:lnTo>
                    <a:lnTo>
                      <a:pt x="410" y="672"/>
                    </a:lnTo>
                    <a:lnTo>
                      <a:pt x="408" y="670"/>
                    </a:lnTo>
                    <a:lnTo>
                      <a:pt x="407" y="672"/>
                    </a:lnTo>
                    <a:lnTo>
                      <a:pt x="407" y="673"/>
                    </a:lnTo>
                    <a:lnTo>
                      <a:pt x="405" y="673"/>
                    </a:lnTo>
                    <a:lnTo>
                      <a:pt x="405" y="675"/>
                    </a:lnTo>
                    <a:lnTo>
                      <a:pt x="403" y="675"/>
                    </a:lnTo>
                    <a:lnTo>
                      <a:pt x="405" y="677"/>
                    </a:lnTo>
                    <a:lnTo>
                      <a:pt x="403" y="677"/>
                    </a:lnTo>
                    <a:lnTo>
                      <a:pt x="403" y="680"/>
                    </a:lnTo>
                    <a:lnTo>
                      <a:pt x="402" y="678"/>
                    </a:lnTo>
                    <a:lnTo>
                      <a:pt x="402" y="682"/>
                    </a:lnTo>
                    <a:lnTo>
                      <a:pt x="400" y="683"/>
                    </a:lnTo>
                    <a:lnTo>
                      <a:pt x="400" y="682"/>
                    </a:lnTo>
                    <a:lnTo>
                      <a:pt x="398" y="683"/>
                    </a:lnTo>
                    <a:lnTo>
                      <a:pt x="398" y="682"/>
                    </a:lnTo>
                    <a:lnTo>
                      <a:pt x="397" y="682"/>
                    </a:lnTo>
                    <a:lnTo>
                      <a:pt x="397" y="683"/>
                    </a:lnTo>
                    <a:lnTo>
                      <a:pt x="395" y="682"/>
                    </a:lnTo>
                    <a:lnTo>
                      <a:pt x="395" y="683"/>
                    </a:lnTo>
                    <a:lnTo>
                      <a:pt x="391" y="683"/>
                    </a:lnTo>
                    <a:lnTo>
                      <a:pt x="391" y="687"/>
                    </a:lnTo>
                    <a:lnTo>
                      <a:pt x="390" y="689"/>
                    </a:lnTo>
                    <a:lnTo>
                      <a:pt x="388" y="690"/>
                    </a:lnTo>
                    <a:lnTo>
                      <a:pt x="388" y="692"/>
                    </a:lnTo>
                    <a:lnTo>
                      <a:pt x="385" y="694"/>
                    </a:lnTo>
                    <a:lnTo>
                      <a:pt x="383" y="692"/>
                    </a:lnTo>
                    <a:lnTo>
                      <a:pt x="383" y="694"/>
                    </a:lnTo>
                    <a:lnTo>
                      <a:pt x="383" y="695"/>
                    </a:lnTo>
                    <a:lnTo>
                      <a:pt x="381" y="695"/>
                    </a:lnTo>
                    <a:lnTo>
                      <a:pt x="381" y="697"/>
                    </a:lnTo>
                    <a:lnTo>
                      <a:pt x="381" y="699"/>
                    </a:lnTo>
                    <a:lnTo>
                      <a:pt x="380" y="699"/>
                    </a:lnTo>
                    <a:lnTo>
                      <a:pt x="381" y="699"/>
                    </a:lnTo>
                    <a:lnTo>
                      <a:pt x="380" y="700"/>
                    </a:lnTo>
                    <a:lnTo>
                      <a:pt x="381" y="700"/>
                    </a:lnTo>
                    <a:lnTo>
                      <a:pt x="380" y="702"/>
                    </a:lnTo>
                    <a:lnTo>
                      <a:pt x="380" y="700"/>
                    </a:lnTo>
                    <a:lnTo>
                      <a:pt x="380" y="704"/>
                    </a:lnTo>
                    <a:lnTo>
                      <a:pt x="378" y="704"/>
                    </a:lnTo>
                    <a:lnTo>
                      <a:pt x="376" y="706"/>
                    </a:lnTo>
                    <a:lnTo>
                      <a:pt x="378" y="706"/>
                    </a:lnTo>
                    <a:lnTo>
                      <a:pt x="376" y="706"/>
                    </a:lnTo>
                    <a:lnTo>
                      <a:pt x="374" y="706"/>
                    </a:lnTo>
                    <a:lnTo>
                      <a:pt x="374" y="707"/>
                    </a:lnTo>
                    <a:lnTo>
                      <a:pt x="373" y="707"/>
                    </a:lnTo>
                    <a:lnTo>
                      <a:pt x="373" y="709"/>
                    </a:lnTo>
                    <a:lnTo>
                      <a:pt x="373" y="711"/>
                    </a:lnTo>
                    <a:lnTo>
                      <a:pt x="371" y="711"/>
                    </a:lnTo>
                    <a:lnTo>
                      <a:pt x="369" y="711"/>
                    </a:lnTo>
                    <a:lnTo>
                      <a:pt x="369" y="712"/>
                    </a:lnTo>
                    <a:lnTo>
                      <a:pt x="364" y="712"/>
                    </a:lnTo>
                    <a:lnTo>
                      <a:pt x="363" y="718"/>
                    </a:lnTo>
                    <a:lnTo>
                      <a:pt x="361" y="716"/>
                    </a:lnTo>
                    <a:lnTo>
                      <a:pt x="359" y="716"/>
                    </a:lnTo>
                    <a:lnTo>
                      <a:pt x="357" y="714"/>
                    </a:lnTo>
                    <a:lnTo>
                      <a:pt x="357" y="718"/>
                    </a:lnTo>
                    <a:lnTo>
                      <a:pt x="356" y="718"/>
                    </a:lnTo>
                    <a:lnTo>
                      <a:pt x="357" y="721"/>
                    </a:lnTo>
                    <a:lnTo>
                      <a:pt x="354" y="723"/>
                    </a:lnTo>
                    <a:lnTo>
                      <a:pt x="352" y="724"/>
                    </a:lnTo>
                    <a:lnTo>
                      <a:pt x="351" y="724"/>
                    </a:lnTo>
                    <a:lnTo>
                      <a:pt x="349" y="726"/>
                    </a:lnTo>
                    <a:lnTo>
                      <a:pt x="347" y="726"/>
                    </a:lnTo>
                    <a:lnTo>
                      <a:pt x="346" y="726"/>
                    </a:lnTo>
                    <a:lnTo>
                      <a:pt x="344" y="726"/>
                    </a:lnTo>
                    <a:lnTo>
                      <a:pt x="340" y="724"/>
                    </a:lnTo>
                    <a:lnTo>
                      <a:pt x="340" y="726"/>
                    </a:lnTo>
                    <a:lnTo>
                      <a:pt x="339" y="726"/>
                    </a:lnTo>
                    <a:lnTo>
                      <a:pt x="337" y="724"/>
                    </a:lnTo>
                    <a:lnTo>
                      <a:pt x="337" y="726"/>
                    </a:lnTo>
                    <a:lnTo>
                      <a:pt x="335" y="724"/>
                    </a:lnTo>
                    <a:lnTo>
                      <a:pt x="335" y="726"/>
                    </a:lnTo>
                    <a:lnTo>
                      <a:pt x="334" y="724"/>
                    </a:lnTo>
                    <a:lnTo>
                      <a:pt x="332" y="726"/>
                    </a:lnTo>
                    <a:lnTo>
                      <a:pt x="332" y="728"/>
                    </a:lnTo>
                    <a:lnTo>
                      <a:pt x="330" y="726"/>
                    </a:lnTo>
                    <a:lnTo>
                      <a:pt x="329" y="728"/>
                    </a:lnTo>
                    <a:lnTo>
                      <a:pt x="327" y="728"/>
                    </a:lnTo>
                    <a:lnTo>
                      <a:pt x="327" y="729"/>
                    </a:lnTo>
                    <a:lnTo>
                      <a:pt x="327" y="728"/>
                    </a:lnTo>
                    <a:lnTo>
                      <a:pt x="323" y="729"/>
                    </a:lnTo>
                    <a:lnTo>
                      <a:pt x="322" y="729"/>
                    </a:lnTo>
                    <a:lnTo>
                      <a:pt x="320" y="729"/>
                    </a:lnTo>
                    <a:lnTo>
                      <a:pt x="318" y="729"/>
                    </a:lnTo>
                    <a:lnTo>
                      <a:pt x="317" y="731"/>
                    </a:lnTo>
                    <a:lnTo>
                      <a:pt x="317" y="729"/>
                    </a:lnTo>
                    <a:lnTo>
                      <a:pt x="315" y="731"/>
                    </a:lnTo>
                    <a:lnTo>
                      <a:pt x="313" y="731"/>
                    </a:lnTo>
                    <a:lnTo>
                      <a:pt x="312" y="731"/>
                    </a:lnTo>
                    <a:lnTo>
                      <a:pt x="308" y="731"/>
                    </a:lnTo>
                    <a:lnTo>
                      <a:pt x="306" y="731"/>
                    </a:lnTo>
                    <a:lnTo>
                      <a:pt x="305" y="731"/>
                    </a:lnTo>
                    <a:lnTo>
                      <a:pt x="303" y="733"/>
                    </a:lnTo>
                    <a:lnTo>
                      <a:pt x="303" y="731"/>
                    </a:lnTo>
                    <a:lnTo>
                      <a:pt x="298" y="733"/>
                    </a:lnTo>
                    <a:lnTo>
                      <a:pt x="298" y="731"/>
                    </a:lnTo>
                    <a:lnTo>
                      <a:pt x="298" y="733"/>
                    </a:lnTo>
                    <a:lnTo>
                      <a:pt x="298" y="731"/>
                    </a:lnTo>
                    <a:lnTo>
                      <a:pt x="296" y="731"/>
                    </a:lnTo>
                    <a:lnTo>
                      <a:pt x="295" y="733"/>
                    </a:lnTo>
                    <a:lnTo>
                      <a:pt x="291" y="731"/>
                    </a:lnTo>
                    <a:lnTo>
                      <a:pt x="288" y="733"/>
                    </a:lnTo>
                    <a:lnTo>
                      <a:pt x="286" y="731"/>
                    </a:lnTo>
                    <a:lnTo>
                      <a:pt x="286" y="733"/>
                    </a:lnTo>
                    <a:lnTo>
                      <a:pt x="284" y="731"/>
                    </a:lnTo>
                    <a:lnTo>
                      <a:pt x="283" y="733"/>
                    </a:lnTo>
                    <a:lnTo>
                      <a:pt x="281" y="733"/>
                    </a:lnTo>
                    <a:lnTo>
                      <a:pt x="281" y="735"/>
                    </a:lnTo>
                    <a:lnTo>
                      <a:pt x="279" y="735"/>
                    </a:lnTo>
                    <a:lnTo>
                      <a:pt x="279" y="736"/>
                    </a:lnTo>
                    <a:lnTo>
                      <a:pt x="276" y="736"/>
                    </a:lnTo>
                    <a:lnTo>
                      <a:pt x="274" y="738"/>
                    </a:lnTo>
                    <a:lnTo>
                      <a:pt x="272" y="738"/>
                    </a:lnTo>
                    <a:lnTo>
                      <a:pt x="272" y="740"/>
                    </a:lnTo>
                    <a:lnTo>
                      <a:pt x="274" y="741"/>
                    </a:lnTo>
                    <a:lnTo>
                      <a:pt x="274" y="740"/>
                    </a:lnTo>
                    <a:lnTo>
                      <a:pt x="276" y="740"/>
                    </a:lnTo>
                    <a:lnTo>
                      <a:pt x="276" y="741"/>
                    </a:lnTo>
                    <a:lnTo>
                      <a:pt x="278" y="741"/>
                    </a:lnTo>
                    <a:lnTo>
                      <a:pt x="278" y="743"/>
                    </a:lnTo>
                    <a:lnTo>
                      <a:pt x="281" y="745"/>
                    </a:lnTo>
                    <a:lnTo>
                      <a:pt x="283" y="746"/>
                    </a:lnTo>
                    <a:lnTo>
                      <a:pt x="284" y="748"/>
                    </a:lnTo>
                    <a:lnTo>
                      <a:pt x="286" y="750"/>
                    </a:lnTo>
                    <a:lnTo>
                      <a:pt x="283" y="752"/>
                    </a:lnTo>
                    <a:lnTo>
                      <a:pt x="281" y="757"/>
                    </a:lnTo>
                    <a:lnTo>
                      <a:pt x="279" y="757"/>
                    </a:lnTo>
                    <a:lnTo>
                      <a:pt x="279" y="758"/>
                    </a:lnTo>
                    <a:lnTo>
                      <a:pt x="278" y="760"/>
                    </a:lnTo>
                    <a:lnTo>
                      <a:pt x="276" y="762"/>
                    </a:lnTo>
                    <a:lnTo>
                      <a:pt x="276" y="763"/>
                    </a:lnTo>
                    <a:lnTo>
                      <a:pt x="274" y="765"/>
                    </a:lnTo>
                    <a:lnTo>
                      <a:pt x="272" y="765"/>
                    </a:lnTo>
                    <a:lnTo>
                      <a:pt x="271" y="769"/>
                    </a:lnTo>
                    <a:lnTo>
                      <a:pt x="269" y="770"/>
                    </a:lnTo>
                    <a:lnTo>
                      <a:pt x="264" y="772"/>
                    </a:lnTo>
                    <a:lnTo>
                      <a:pt x="262" y="774"/>
                    </a:lnTo>
                    <a:lnTo>
                      <a:pt x="261" y="775"/>
                    </a:lnTo>
                    <a:lnTo>
                      <a:pt x="261" y="779"/>
                    </a:lnTo>
                    <a:lnTo>
                      <a:pt x="261" y="780"/>
                    </a:lnTo>
                    <a:lnTo>
                      <a:pt x="259" y="780"/>
                    </a:lnTo>
                    <a:lnTo>
                      <a:pt x="244" y="782"/>
                    </a:lnTo>
                    <a:lnTo>
                      <a:pt x="230" y="782"/>
                    </a:lnTo>
                    <a:lnTo>
                      <a:pt x="225" y="786"/>
                    </a:lnTo>
                    <a:lnTo>
                      <a:pt x="215" y="784"/>
                    </a:lnTo>
                    <a:lnTo>
                      <a:pt x="213" y="784"/>
                    </a:lnTo>
                    <a:lnTo>
                      <a:pt x="211" y="786"/>
                    </a:lnTo>
                    <a:lnTo>
                      <a:pt x="210" y="787"/>
                    </a:lnTo>
                    <a:lnTo>
                      <a:pt x="208" y="786"/>
                    </a:lnTo>
                    <a:lnTo>
                      <a:pt x="208" y="787"/>
                    </a:lnTo>
                    <a:lnTo>
                      <a:pt x="206" y="787"/>
                    </a:lnTo>
                    <a:lnTo>
                      <a:pt x="206" y="789"/>
                    </a:lnTo>
                    <a:lnTo>
                      <a:pt x="204" y="789"/>
                    </a:lnTo>
                    <a:lnTo>
                      <a:pt x="203" y="789"/>
                    </a:lnTo>
                    <a:lnTo>
                      <a:pt x="201" y="789"/>
                    </a:lnTo>
                    <a:lnTo>
                      <a:pt x="199" y="791"/>
                    </a:lnTo>
                    <a:lnTo>
                      <a:pt x="199" y="789"/>
                    </a:lnTo>
                    <a:lnTo>
                      <a:pt x="199" y="791"/>
                    </a:lnTo>
                    <a:lnTo>
                      <a:pt x="198" y="791"/>
                    </a:lnTo>
                    <a:lnTo>
                      <a:pt x="196" y="791"/>
                    </a:lnTo>
                    <a:lnTo>
                      <a:pt x="196" y="792"/>
                    </a:lnTo>
                    <a:lnTo>
                      <a:pt x="194" y="792"/>
                    </a:lnTo>
                    <a:lnTo>
                      <a:pt x="191" y="794"/>
                    </a:lnTo>
                    <a:lnTo>
                      <a:pt x="193" y="796"/>
                    </a:lnTo>
                    <a:lnTo>
                      <a:pt x="191" y="796"/>
                    </a:lnTo>
                    <a:lnTo>
                      <a:pt x="189" y="794"/>
                    </a:lnTo>
                    <a:lnTo>
                      <a:pt x="189" y="797"/>
                    </a:lnTo>
                    <a:lnTo>
                      <a:pt x="187" y="797"/>
                    </a:lnTo>
                    <a:lnTo>
                      <a:pt x="186" y="799"/>
                    </a:lnTo>
                    <a:lnTo>
                      <a:pt x="184" y="801"/>
                    </a:lnTo>
                    <a:lnTo>
                      <a:pt x="184" y="797"/>
                    </a:lnTo>
                    <a:lnTo>
                      <a:pt x="182" y="799"/>
                    </a:lnTo>
                    <a:lnTo>
                      <a:pt x="182" y="801"/>
                    </a:lnTo>
                    <a:lnTo>
                      <a:pt x="181" y="801"/>
                    </a:lnTo>
                    <a:lnTo>
                      <a:pt x="177" y="801"/>
                    </a:lnTo>
                    <a:lnTo>
                      <a:pt x="177" y="803"/>
                    </a:lnTo>
                    <a:lnTo>
                      <a:pt x="176" y="801"/>
                    </a:lnTo>
                    <a:lnTo>
                      <a:pt x="174" y="803"/>
                    </a:lnTo>
                    <a:lnTo>
                      <a:pt x="172" y="804"/>
                    </a:lnTo>
                    <a:lnTo>
                      <a:pt x="174" y="806"/>
                    </a:lnTo>
                    <a:lnTo>
                      <a:pt x="172" y="806"/>
                    </a:lnTo>
                    <a:lnTo>
                      <a:pt x="170" y="806"/>
                    </a:lnTo>
                    <a:lnTo>
                      <a:pt x="169" y="806"/>
                    </a:lnTo>
                    <a:lnTo>
                      <a:pt x="169" y="804"/>
                    </a:lnTo>
                    <a:lnTo>
                      <a:pt x="165" y="801"/>
                    </a:lnTo>
                    <a:lnTo>
                      <a:pt x="162" y="801"/>
                    </a:lnTo>
                    <a:lnTo>
                      <a:pt x="162" y="799"/>
                    </a:lnTo>
                    <a:lnTo>
                      <a:pt x="162" y="796"/>
                    </a:lnTo>
                    <a:lnTo>
                      <a:pt x="159" y="794"/>
                    </a:lnTo>
                    <a:lnTo>
                      <a:pt x="157" y="791"/>
                    </a:lnTo>
                    <a:lnTo>
                      <a:pt x="159" y="789"/>
                    </a:lnTo>
                    <a:lnTo>
                      <a:pt x="153" y="791"/>
                    </a:lnTo>
                    <a:lnTo>
                      <a:pt x="152" y="794"/>
                    </a:lnTo>
                    <a:lnTo>
                      <a:pt x="150" y="794"/>
                    </a:lnTo>
                    <a:lnTo>
                      <a:pt x="150" y="792"/>
                    </a:lnTo>
                    <a:lnTo>
                      <a:pt x="148" y="794"/>
                    </a:lnTo>
                    <a:lnTo>
                      <a:pt x="150" y="797"/>
                    </a:lnTo>
                    <a:lnTo>
                      <a:pt x="148" y="799"/>
                    </a:lnTo>
                    <a:lnTo>
                      <a:pt x="143" y="801"/>
                    </a:lnTo>
                    <a:lnTo>
                      <a:pt x="140" y="803"/>
                    </a:lnTo>
                    <a:lnTo>
                      <a:pt x="138" y="803"/>
                    </a:lnTo>
                    <a:lnTo>
                      <a:pt x="136" y="804"/>
                    </a:lnTo>
                    <a:lnTo>
                      <a:pt x="131" y="804"/>
                    </a:lnTo>
                    <a:lnTo>
                      <a:pt x="128" y="808"/>
                    </a:lnTo>
                    <a:lnTo>
                      <a:pt x="126" y="809"/>
                    </a:lnTo>
                    <a:lnTo>
                      <a:pt x="118" y="811"/>
                    </a:lnTo>
                    <a:lnTo>
                      <a:pt x="116" y="811"/>
                    </a:lnTo>
                    <a:lnTo>
                      <a:pt x="114" y="808"/>
                    </a:lnTo>
                    <a:lnTo>
                      <a:pt x="106" y="808"/>
                    </a:lnTo>
                    <a:lnTo>
                      <a:pt x="102" y="808"/>
                    </a:lnTo>
                    <a:lnTo>
                      <a:pt x="106" y="804"/>
                    </a:lnTo>
                    <a:lnTo>
                      <a:pt x="106" y="803"/>
                    </a:lnTo>
                    <a:lnTo>
                      <a:pt x="108" y="799"/>
                    </a:lnTo>
                    <a:lnTo>
                      <a:pt x="108" y="796"/>
                    </a:lnTo>
                    <a:lnTo>
                      <a:pt x="106" y="796"/>
                    </a:lnTo>
                    <a:lnTo>
                      <a:pt x="104" y="794"/>
                    </a:lnTo>
                    <a:lnTo>
                      <a:pt x="102" y="794"/>
                    </a:lnTo>
                    <a:lnTo>
                      <a:pt x="102" y="792"/>
                    </a:lnTo>
                    <a:lnTo>
                      <a:pt x="99" y="787"/>
                    </a:lnTo>
                    <a:lnTo>
                      <a:pt x="99" y="784"/>
                    </a:lnTo>
                    <a:lnTo>
                      <a:pt x="96" y="780"/>
                    </a:lnTo>
                    <a:lnTo>
                      <a:pt x="97" y="779"/>
                    </a:lnTo>
                    <a:lnTo>
                      <a:pt x="92" y="769"/>
                    </a:lnTo>
                    <a:lnTo>
                      <a:pt x="87" y="752"/>
                    </a:lnTo>
                    <a:lnTo>
                      <a:pt x="84" y="748"/>
                    </a:lnTo>
                    <a:lnTo>
                      <a:pt x="79" y="750"/>
                    </a:lnTo>
                    <a:lnTo>
                      <a:pt x="77" y="748"/>
                    </a:lnTo>
                    <a:lnTo>
                      <a:pt x="77" y="746"/>
                    </a:lnTo>
                    <a:lnTo>
                      <a:pt x="74" y="745"/>
                    </a:lnTo>
                    <a:lnTo>
                      <a:pt x="74" y="743"/>
                    </a:lnTo>
                    <a:lnTo>
                      <a:pt x="72" y="741"/>
                    </a:lnTo>
                    <a:lnTo>
                      <a:pt x="68" y="743"/>
                    </a:lnTo>
                    <a:lnTo>
                      <a:pt x="65" y="741"/>
                    </a:lnTo>
                    <a:lnTo>
                      <a:pt x="62" y="738"/>
                    </a:lnTo>
                    <a:lnTo>
                      <a:pt x="60" y="736"/>
                    </a:lnTo>
                    <a:lnTo>
                      <a:pt x="57" y="733"/>
                    </a:lnTo>
                    <a:lnTo>
                      <a:pt x="51" y="729"/>
                    </a:lnTo>
                    <a:lnTo>
                      <a:pt x="51" y="728"/>
                    </a:lnTo>
                    <a:lnTo>
                      <a:pt x="48" y="726"/>
                    </a:lnTo>
                    <a:lnTo>
                      <a:pt x="46" y="723"/>
                    </a:lnTo>
                    <a:lnTo>
                      <a:pt x="46" y="718"/>
                    </a:lnTo>
                    <a:lnTo>
                      <a:pt x="43" y="716"/>
                    </a:lnTo>
                    <a:lnTo>
                      <a:pt x="43" y="714"/>
                    </a:lnTo>
                    <a:lnTo>
                      <a:pt x="41" y="714"/>
                    </a:lnTo>
                    <a:lnTo>
                      <a:pt x="38" y="712"/>
                    </a:lnTo>
                    <a:lnTo>
                      <a:pt x="36" y="707"/>
                    </a:lnTo>
                    <a:lnTo>
                      <a:pt x="33" y="706"/>
                    </a:lnTo>
                    <a:lnTo>
                      <a:pt x="29" y="704"/>
                    </a:lnTo>
                    <a:lnTo>
                      <a:pt x="31" y="702"/>
                    </a:lnTo>
                    <a:lnTo>
                      <a:pt x="29" y="700"/>
                    </a:lnTo>
                    <a:lnTo>
                      <a:pt x="29" y="702"/>
                    </a:lnTo>
                    <a:lnTo>
                      <a:pt x="28" y="700"/>
                    </a:lnTo>
                    <a:lnTo>
                      <a:pt x="28" y="697"/>
                    </a:lnTo>
                    <a:lnTo>
                      <a:pt x="29" y="694"/>
                    </a:lnTo>
                    <a:lnTo>
                      <a:pt x="31" y="690"/>
                    </a:lnTo>
                    <a:lnTo>
                      <a:pt x="33" y="690"/>
                    </a:lnTo>
                    <a:lnTo>
                      <a:pt x="34" y="689"/>
                    </a:lnTo>
                    <a:lnTo>
                      <a:pt x="36" y="687"/>
                    </a:lnTo>
                    <a:lnTo>
                      <a:pt x="38" y="682"/>
                    </a:lnTo>
                    <a:lnTo>
                      <a:pt x="40" y="682"/>
                    </a:lnTo>
                    <a:lnTo>
                      <a:pt x="53" y="680"/>
                    </a:lnTo>
                    <a:lnTo>
                      <a:pt x="62" y="683"/>
                    </a:lnTo>
                    <a:lnTo>
                      <a:pt x="65" y="685"/>
                    </a:lnTo>
                    <a:lnTo>
                      <a:pt x="68" y="685"/>
                    </a:lnTo>
                    <a:lnTo>
                      <a:pt x="77" y="682"/>
                    </a:lnTo>
                    <a:lnTo>
                      <a:pt x="82" y="683"/>
                    </a:lnTo>
                    <a:lnTo>
                      <a:pt x="84" y="682"/>
                    </a:lnTo>
                    <a:lnTo>
                      <a:pt x="87" y="683"/>
                    </a:lnTo>
                    <a:lnTo>
                      <a:pt x="89" y="682"/>
                    </a:lnTo>
                    <a:lnTo>
                      <a:pt x="99" y="685"/>
                    </a:lnTo>
                    <a:lnTo>
                      <a:pt x="108" y="683"/>
                    </a:lnTo>
                    <a:lnTo>
                      <a:pt x="113" y="682"/>
                    </a:lnTo>
                    <a:lnTo>
                      <a:pt x="102" y="677"/>
                    </a:lnTo>
                    <a:lnTo>
                      <a:pt x="97" y="670"/>
                    </a:lnTo>
                    <a:lnTo>
                      <a:pt x="96" y="666"/>
                    </a:lnTo>
                    <a:lnTo>
                      <a:pt x="92" y="666"/>
                    </a:lnTo>
                    <a:lnTo>
                      <a:pt x="91" y="661"/>
                    </a:lnTo>
                    <a:lnTo>
                      <a:pt x="91" y="660"/>
                    </a:lnTo>
                    <a:lnTo>
                      <a:pt x="89" y="658"/>
                    </a:lnTo>
                    <a:lnTo>
                      <a:pt x="85" y="655"/>
                    </a:lnTo>
                    <a:lnTo>
                      <a:pt x="85" y="649"/>
                    </a:lnTo>
                    <a:lnTo>
                      <a:pt x="84" y="646"/>
                    </a:lnTo>
                    <a:lnTo>
                      <a:pt x="80" y="641"/>
                    </a:lnTo>
                    <a:lnTo>
                      <a:pt x="82" y="638"/>
                    </a:lnTo>
                    <a:lnTo>
                      <a:pt x="82" y="634"/>
                    </a:lnTo>
                    <a:lnTo>
                      <a:pt x="80" y="631"/>
                    </a:lnTo>
                    <a:lnTo>
                      <a:pt x="80" y="629"/>
                    </a:lnTo>
                    <a:lnTo>
                      <a:pt x="82" y="629"/>
                    </a:lnTo>
                    <a:lnTo>
                      <a:pt x="84" y="627"/>
                    </a:lnTo>
                    <a:lnTo>
                      <a:pt x="82" y="626"/>
                    </a:lnTo>
                    <a:lnTo>
                      <a:pt x="82" y="622"/>
                    </a:lnTo>
                    <a:lnTo>
                      <a:pt x="80" y="621"/>
                    </a:lnTo>
                    <a:lnTo>
                      <a:pt x="80" y="619"/>
                    </a:lnTo>
                    <a:lnTo>
                      <a:pt x="80" y="617"/>
                    </a:lnTo>
                    <a:lnTo>
                      <a:pt x="80" y="615"/>
                    </a:lnTo>
                    <a:lnTo>
                      <a:pt x="80" y="614"/>
                    </a:lnTo>
                    <a:lnTo>
                      <a:pt x="80" y="612"/>
                    </a:lnTo>
                    <a:lnTo>
                      <a:pt x="80" y="610"/>
                    </a:lnTo>
                    <a:lnTo>
                      <a:pt x="80" y="609"/>
                    </a:lnTo>
                    <a:lnTo>
                      <a:pt x="82" y="605"/>
                    </a:lnTo>
                    <a:lnTo>
                      <a:pt x="84" y="605"/>
                    </a:lnTo>
                    <a:lnTo>
                      <a:pt x="85" y="602"/>
                    </a:lnTo>
                    <a:lnTo>
                      <a:pt x="82" y="602"/>
                    </a:lnTo>
                    <a:lnTo>
                      <a:pt x="82" y="600"/>
                    </a:lnTo>
                    <a:lnTo>
                      <a:pt x="82" y="598"/>
                    </a:lnTo>
                    <a:lnTo>
                      <a:pt x="82" y="597"/>
                    </a:lnTo>
                    <a:lnTo>
                      <a:pt x="80" y="595"/>
                    </a:lnTo>
                    <a:lnTo>
                      <a:pt x="82" y="593"/>
                    </a:lnTo>
                    <a:lnTo>
                      <a:pt x="82" y="592"/>
                    </a:lnTo>
                    <a:lnTo>
                      <a:pt x="84" y="592"/>
                    </a:lnTo>
                    <a:lnTo>
                      <a:pt x="82" y="590"/>
                    </a:lnTo>
                    <a:lnTo>
                      <a:pt x="82" y="588"/>
                    </a:lnTo>
                    <a:lnTo>
                      <a:pt x="80" y="588"/>
                    </a:lnTo>
                    <a:lnTo>
                      <a:pt x="80" y="587"/>
                    </a:lnTo>
                    <a:lnTo>
                      <a:pt x="79" y="585"/>
                    </a:lnTo>
                    <a:lnTo>
                      <a:pt x="80" y="583"/>
                    </a:lnTo>
                    <a:lnTo>
                      <a:pt x="80" y="581"/>
                    </a:lnTo>
                    <a:lnTo>
                      <a:pt x="82" y="581"/>
                    </a:lnTo>
                    <a:lnTo>
                      <a:pt x="80" y="580"/>
                    </a:lnTo>
                    <a:lnTo>
                      <a:pt x="79" y="578"/>
                    </a:lnTo>
                    <a:lnTo>
                      <a:pt x="80" y="578"/>
                    </a:lnTo>
                    <a:lnTo>
                      <a:pt x="79" y="576"/>
                    </a:lnTo>
                    <a:lnTo>
                      <a:pt x="79" y="575"/>
                    </a:lnTo>
                    <a:lnTo>
                      <a:pt x="77" y="575"/>
                    </a:lnTo>
                    <a:lnTo>
                      <a:pt x="75" y="576"/>
                    </a:lnTo>
                    <a:lnTo>
                      <a:pt x="72" y="573"/>
                    </a:lnTo>
                    <a:lnTo>
                      <a:pt x="74" y="571"/>
                    </a:lnTo>
                    <a:lnTo>
                      <a:pt x="72" y="570"/>
                    </a:lnTo>
                    <a:lnTo>
                      <a:pt x="74" y="561"/>
                    </a:lnTo>
                    <a:lnTo>
                      <a:pt x="72" y="558"/>
                    </a:lnTo>
                    <a:lnTo>
                      <a:pt x="70" y="558"/>
                    </a:lnTo>
                    <a:lnTo>
                      <a:pt x="70" y="556"/>
                    </a:lnTo>
                    <a:lnTo>
                      <a:pt x="68" y="549"/>
                    </a:lnTo>
                    <a:lnTo>
                      <a:pt x="65" y="547"/>
                    </a:lnTo>
                    <a:lnTo>
                      <a:pt x="65" y="546"/>
                    </a:lnTo>
                    <a:lnTo>
                      <a:pt x="63" y="547"/>
                    </a:lnTo>
                    <a:lnTo>
                      <a:pt x="62" y="546"/>
                    </a:lnTo>
                    <a:lnTo>
                      <a:pt x="63" y="544"/>
                    </a:lnTo>
                    <a:lnTo>
                      <a:pt x="60" y="544"/>
                    </a:lnTo>
                    <a:lnTo>
                      <a:pt x="58" y="542"/>
                    </a:lnTo>
                    <a:lnTo>
                      <a:pt x="58" y="541"/>
                    </a:lnTo>
                    <a:lnTo>
                      <a:pt x="57" y="542"/>
                    </a:lnTo>
                    <a:lnTo>
                      <a:pt x="57" y="541"/>
                    </a:lnTo>
                    <a:lnTo>
                      <a:pt x="55" y="541"/>
                    </a:lnTo>
                    <a:lnTo>
                      <a:pt x="55" y="539"/>
                    </a:lnTo>
                    <a:lnTo>
                      <a:pt x="55" y="537"/>
                    </a:lnTo>
                    <a:lnTo>
                      <a:pt x="55" y="535"/>
                    </a:lnTo>
                    <a:lnTo>
                      <a:pt x="55" y="534"/>
                    </a:lnTo>
                    <a:lnTo>
                      <a:pt x="55" y="532"/>
                    </a:lnTo>
                    <a:lnTo>
                      <a:pt x="50" y="525"/>
                    </a:lnTo>
                    <a:lnTo>
                      <a:pt x="31" y="525"/>
                    </a:lnTo>
                    <a:lnTo>
                      <a:pt x="24" y="518"/>
                    </a:lnTo>
                    <a:lnTo>
                      <a:pt x="19" y="510"/>
                    </a:lnTo>
                    <a:lnTo>
                      <a:pt x="9" y="495"/>
                    </a:lnTo>
                    <a:lnTo>
                      <a:pt x="6" y="481"/>
                    </a:lnTo>
                    <a:lnTo>
                      <a:pt x="2" y="473"/>
                    </a:lnTo>
                    <a:lnTo>
                      <a:pt x="0" y="461"/>
                    </a:lnTo>
                    <a:lnTo>
                      <a:pt x="0" y="456"/>
                    </a:lnTo>
                    <a:lnTo>
                      <a:pt x="6" y="454"/>
                    </a:lnTo>
                    <a:lnTo>
                      <a:pt x="9" y="454"/>
                    </a:lnTo>
                    <a:lnTo>
                      <a:pt x="11" y="452"/>
                    </a:lnTo>
                    <a:lnTo>
                      <a:pt x="11" y="447"/>
                    </a:lnTo>
                    <a:lnTo>
                      <a:pt x="14" y="444"/>
                    </a:lnTo>
                    <a:lnTo>
                      <a:pt x="16" y="444"/>
                    </a:lnTo>
                    <a:lnTo>
                      <a:pt x="17" y="442"/>
                    </a:lnTo>
                    <a:lnTo>
                      <a:pt x="16" y="435"/>
                    </a:lnTo>
                    <a:lnTo>
                      <a:pt x="19" y="427"/>
                    </a:lnTo>
                    <a:lnTo>
                      <a:pt x="26" y="422"/>
                    </a:lnTo>
                    <a:lnTo>
                      <a:pt x="33" y="410"/>
                    </a:lnTo>
                    <a:lnTo>
                      <a:pt x="45" y="393"/>
                    </a:lnTo>
                    <a:lnTo>
                      <a:pt x="77" y="359"/>
                    </a:lnTo>
                    <a:lnTo>
                      <a:pt x="99" y="336"/>
                    </a:lnTo>
                    <a:lnTo>
                      <a:pt x="102" y="333"/>
                    </a:lnTo>
                    <a:lnTo>
                      <a:pt x="104" y="319"/>
                    </a:lnTo>
                    <a:lnTo>
                      <a:pt x="106" y="277"/>
                    </a:lnTo>
                    <a:lnTo>
                      <a:pt x="108" y="238"/>
                    </a:lnTo>
                    <a:lnTo>
                      <a:pt x="116" y="178"/>
                    </a:lnTo>
                    <a:lnTo>
                      <a:pt x="116" y="177"/>
                    </a:lnTo>
                    <a:lnTo>
                      <a:pt x="128" y="158"/>
                    </a:lnTo>
                    <a:lnTo>
                      <a:pt x="121" y="151"/>
                    </a:lnTo>
                    <a:lnTo>
                      <a:pt x="114" y="143"/>
                    </a:lnTo>
                    <a:lnTo>
                      <a:pt x="111" y="137"/>
                    </a:lnTo>
                    <a:lnTo>
                      <a:pt x="108" y="136"/>
                    </a:lnTo>
                    <a:lnTo>
                      <a:pt x="104" y="131"/>
                    </a:lnTo>
                    <a:lnTo>
                      <a:pt x="109" y="126"/>
                    </a:lnTo>
                    <a:lnTo>
                      <a:pt x="101" y="114"/>
                    </a:lnTo>
                    <a:lnTo>
                      <a:pt x="94" y="105"/>
                    </a:lnTo>
                    <a:lnTo>
                      <a:pt x="92" y="102"/>
                    </a:lnTo>
                    <a:lnTo>
                      <a:pt x="87" y="100"/>
                    </a:lnTo>
                    <a:lnTo>
                      <a:pt x="87" y="75"/>
                    </a:lnTo>
                    <a:lnTo>
                      <a:pt x="84" y="54"/>
                    </a:lnTo>
                    <a:lnTo>
                      <a:pt x="77" y="23"/>
                    </a:lnTo>
                    <a:lnTo>
                      <a:pt x="84" y="20"/>
                    </a:lnTo>
                    <a:lnTo>
                      <a:pt x="128" y="0"/>
                    </a:lnTo>
                    <a:lnTo>
                      <a:pt x="174" y="22"/>
                    </a:lnTo>
                    <a:lnTo>
                      <a:pt x="228" y="47"/>
                    </a:lnTo>
                    <a:lnTo>
                      <a:pt x="283" y="73"/>
                    </a:lnTo>
                    <a:lnTo>
                      <a:pt x="284" y="75"/>
                    </a:lnTo>
                    <a:lnTo>
                      <a:pt x="323" y="93"/>
                    </a:lnTo>
                    <a:lnTo>
                      <a:pt x="373" y="117"/>
                    </a:lnTo>
                    <a:lnTo>
                      <a:pt x="381" y="122"/>
                    </a:lnTo>
                    <a:lnTo>
                      <a:pt x="441" y="153"/>
                    </a:lnTo>
                    <a:lnTo>
                      <a:pt x="533" y="200"/>
                    </a:lnTo>
                    <a:lnTo>
                      <a:pt x="533" y="216"/>
                    </a:lnTo>
                    <a:lnTo>
                      <a:pt x="533" y="248"/>
                    </a:lnTo>
                    <a:lnTo>
                      <a:pt x="533" y="285"/>
                    </a:lnTo>
                    <a:lnTo>
                      <a:pt x="533" y="326"/>
                    </a:lnTo>
                    <a:lnTo>
                      <a:pt x="533" y="348"/>
                    </a:lnTo>
                    <a:lnTo>
                      <a:pt x="533" y="353"/>
                    </a:lnTo>
                    <a:lnTo>
                      <a:pt x="533" y="367"/>
                    </a:lnTo>
                    <a:lnTo>
                      <a:pt x="533" y="393"/>
                    </a:lnTo>
                    <a:lnTo>
                      <a:pt x="516" y="389"/>
                    </a:lnTo>
                    <a:lnTo>
                      <a:pt x="510" y="389"/>
                    </a:lnTo>
                    <a:lnTo>
                      <a:pt x="504" y="393"/>
                    </a:lnTo>
                    <a:lnTo>
                      <a:pt x="500" y="394"/>
                    </a:lnTo>
                    <a:lnTo>
                      <a:pt x="495" y="393"/>
                    </a:lnTo>
                    <a:lnTo>
                      <a:pt x="493" y="393"/>
                    </a:lnTo>
                    <a:lnTo>
                      <a:pt x="488" y="393"/>
                    </a:lnTo>
                    <a:lnTo>
                      <a:pt x="483" y="398"/>
                    </a:lnTo>
                    <a:lnTo>
                      <a:pt x="480" y="399"/>
                    </a:lnTo>
                    <a:lnTo>
                      <a:pt x="478" y="405"/>
                    </a:lnTo>
                    <a:lnTo>
                      <a:pt x="482" y="408"/>
                    </a:lnTo>
                    <a:lnTo>
                      <a:pt x="483" y="413"/>
                    </a:lnTo>
                    <a:lnTo>
                      <a:pt x="482" y="415"/>
                    </a:lnTo>
                    <a:lnTo>
                      <a:pt x="483" y="416"/>
                    </a:lnTo>
                    <a:lnTo>
                      <a:pt x="482" y="418"/>
                    </a:lnTo>
                    <a:lnTo>
                      <a:pt x="480" y="420"/>
                    </a:lnTo>
                    <a:lnTo>
                      <a:pt x="480" y="423"/>
                    </a:lnTo>
                    <a:lnTo>
                      <a:pt x="476" y="425"/>
                    </a:lnTo>
                    <a:lnTo>
                      <a:pt x="475" y="427"/>
                    </a:lnTo>
                    <a:lnTo>
                      <a:pt x="473" y="427"/>
                    </a:lnTo>
                    <a:lnTo>
                      <a:pt x="470" y="430"/>
                    </a:lnTo>
                    <a:lnTo>
                      <a:pt x="470" y="433"/>
                    </a:lnTo>
                    <a:lnTo>
                      <a:pt x="468" y="433"/>
                    </a:lnTo>
                    <a:lnTo>
                      <a:pt x="466" y="435"/>
                    </a:lnTo>
                    <a:lnTo>
                      <a:pt x="468" y="444"/>
                    </a:lnTo>
                    <a:lnTo>
                      <a:pt x="456" y="447"/>
                    </a:lnTo>
                    <a:lnTo>
                      <a:pt x="453" y="449"/>
                    </a:lnTo>
                    <a:lnTo>
                      <a:pt x="451" y="454"/>
                    </a:lnTo>
                    <a:lnTo>
                      <a:pt x="454" y="454"/>
                    </a:lnTo>
                    <a:lnTo>
                      <a:pt x="454" y="461"/>
                    </a:lnTo>
                    <a:lnTo>
                      <a:pt x="456" y="462"/>
                    </a:lnTo>
                    <a:lnTo>
                      <a:pt x="454" y="464"/>
                    </a:lnTo>
                    <a:lnTo>
                      <a:pt x="456" y="467"/>
                    </a:lnTo>
                    <a:lnTo>
                      <a:pt x="458" y="467"/>
                    </a:lnTo>
                    <a:lnTo>
                      <a:pt x="459" y="467"/>
                    </a:lnTo>
                    <a:lnTo>
                      <a:pt x="461" y="471"/>
                    </a:lnTo>
                    <a:lnTo>
                      <a:pt x="459" y="473"/>
                    </a:lnTo>
                    <a:lnTo>
                      <a:pt x="458" y="474"/>
                    </a:lnTo>
                    <a:lnTo>
                      <a:pt x="454" y="476"/>
                    </a:lnTo>
                    <a:lnTo>
                      <a:pt x="451" y="476"/>
                    </a:lnTo>
                    <a:lnTo>
                      <a:pt x="444" y="481"/>
                    </a:lnTo>
                    <a:lnTo>
                      <a:pt x="437" y="491"/>
                    </a:lnTo>
                    <a:lnTo>
                      <a:pt x="439" y="493"/>
                    </a:lnTo>
                    <a:lnTo>
                      <a:pt x="437" y="495"/>
                    </a:lnTo>
                    <a:lnTo>
                      <a:pt x="439" y="498"/>
                    </a:lnTo>
                    <a:lnTo>
                      <a:pt x="444" y="501"/>
                    </a:lnTo>
                    <a:lnTo>
                      <a:pt x="442" y="507"/>
                    </a:lnTo>
                    <a:lnTo>
                      <a:pt x="444" y="508"/>
                    </a:lnTo>
                    <a:lnTo>
                      <a:pt x="446" y="510"/>
                    </a:lnTo>
                    <a:lnTo>
                      <a:pt x="446" y="512"/>
                    </a:lnTo>
                    <a:lnTo>
                      <a:pt x="441" y="517"/>
                    </a:lnTo>
                    <a:lnTo>
                      <a:pt x="439" y="522"/>
                    </a:lnTo>
                    <a:lnTo>
                      <a:pt x="436" y="522"/>
                    </a:lnTo>
                    <a:lnTo>
                      <a:pt x="432" y="522"/>
                    </a:lnTo>
                    <a:lnTo>
                      <a:pt x="431" y="525"/>
                    </a:lnTo>
                    <a:lnTo>
                      <a:pt x="429" y="527"/>
                    </a:lnTo>
                    <a:lnTo>
                      <a:pt x="429" y="529"/>
                    </a:lnTo>
                    <a:lnTo>
                      <a:pt x="427" y="530"/>
                    </a:lnTo>
                    <a:lnTo>
                      <a:pt x="424" y="539"/>
                    </a:lnTo>
                    <a:lnTo>
                      <a:pt x="422" y="539"/>
                    </a:lnTo>
                    <a:lnTo>
                      <a:pt x="424" y="541"/>
                    </a:lnTo>
                    <a:lnTo>
                      <a:pt x="424" y="544"/>
                    </a:lnTo>
                    <a:lnTo>
                      <a:pt x="429" y="547"/>
                    </a:lnTo>
                    <a:lnTo>
                      <a:pt x="434" y="547"/>
                    </a:lnTo>
                    <a:lnTo>
                      <a:pt x="439" y="547"/>
                    </a:lnTo>
                    <a:lnTo>
                      <a:pt x="441" y="546"/>
                    </a:lnTo>
                    <a:lnTo>
                      <a:pt x="442" y="542"/>
                    </a:lnTo>
                    <a:lnTo>
                      <a:pt x="451" y="547"/>
                    </a:lnTo>
                    <a:lnTo>
                      <a:pt x="454" y="549"/>
                    </a:lnTo>
                    <a:lnTo>
                      <a:pt x="454" y="554"/>
                    </a:lnTo>
                    <a:lnTo>
                      <a:pt x="451" y="558"/>
                    </a:lnTo>
                    <a:lnTo>
                      <a:pt x="454" y="561"/>
                    </a:lnTo>
                    <a:lnTo>
                      <a:pt x="453" y="563"/>
                    </a:lnTo>
                    <a:lnTo>
                      <a:pt x="454" y="564"/>
                    </a:lnTo>
                    <a:lnTo>
                      <a:pt x="454" y="566"/>
                    </a:lnTo>
                    <a:lnTo>
                      <a:pt x="456" y="571"/>
                    </a:lnTo>
                    <a:lnTo>
                      <a:pt x="456" y="578"/>
                    </a:lnTo>
                    <a:lnTo>
                      <a:pt x="458" y="580"/>
                    </a:lnTo>
                    <a:lnTo>
                      <a:pt x="459" y="578"/>
                    </a:lnTo>
                    <a:lnTo>
                      <a:pt x="465" y="578"/>
                    </a:lnTo>
                    <a:lnTo>
                      <a:pt x="459" y="595"/>
                    </a:lnTo>
                    <a:lnTo>
                      <a:pt x="461" y="600"/>
                    </a:lnTo>
                    <a:lnTo>
                      <a:pt x="465" y="605"/>
                    </a:lnTo>
                    <a:lnTo>
                      <a:pt x="470" y="607"/>
                    </a:lnTo>
                    <a:lnTo>
                      <a:pt x="471" y="609"/>
                    </a:lnTo>
                    <a:lnTo>
                      <a:pt x="471" y="610"/>
                    </a:lnTo>
                    <a:lnTo>
                      <a:pt x="480" y="610"/>
                    </a:lnTo>
                    <a:lnTo>
                      <a:pt x="480" y="615"/>
                    </a:lnTo>
                    <a:lnTo>
                      <a:pt x="482" y="615"/>
                    </a:lnTo>
                    <a:lnTo>
                      <a:pt x="482" y="619"/>
                    </a:lnTo>
                    <a:lnTo>
                      <a:pt x="482" y="624"/>
                    </a:lnTo>
                    <a:lnTo>
                      <a:pt x="476" y="634"/>
                    </a:lnTo>
                    <a:close/>
                  </a:path>
                </a:pathLst>
              </a:custGeom>
              <a:solidFill>
                <a:schemeClr val="accent2"/>
              </a:solidFill>
              <a:ln w="6350">
                <a:solidFill>
                  <a:srgbClr val="DED1B8"/>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4" name="Freeform 20">
                <a:extLst>
                  <a:ext uri="{FF2B5EF4-FFF2-40B4-BE49-F238E27FC236}">
                    <a16:creationId xmlns:a16="http://schemas.microsoft.com/office/drawing/2014/main" id="{99C4F41E-BEEB-44C3-B449-B339A9C00C22}"/>
                  </a:ext>
                </a:extLst>
              </p:cNvPr>
              <p:cNvSpPr>
                <a:spLocks noEditPoints="1"/>
              </p:cNvSpPr>
              <p:nvPr/>
            </p:nvSpPr>
            <p:spPr bwMode="gray">
              <a:xfrm>
                <a:off x="8051800" y="4367213"/>
                <a:ext cx="104775" cy="85725"/>
              </a:xfrm>
              <a:custGeom>
                <a:avLst/>
                <a:gdLst>
                  <a:gd name="T0" fmla="*/ 8 w 66"/>
                  <a:gd name="T1" fmla="*/ 1 h 54"/>
                  <a:gd name="T2" fmla="*/ 10 w 66"/>
                  <a:gd name="T3" fmla="*/ 3 h 54"/>
                  <a:gd name="T4" fmla="*/ 8 w 66"/>
                  <a:gd name="T5" fmla="*/ 15 h 54"/>
                  <a:gd name="T6" fmla="*/ 12 w 66"/>
                  <a:gd name="T7" fmla="*/ 20 h 54"/>
                  <a:gd name="T8" fmla="*/ 12 w 66"/>
                  <a:gd name="T9" fmla="*/ 23 h 54"/>
                  <a:gd name="T10" fmla="*/ 15 w 66"/>
                  <a:gd name="T11" fmla="*/ 27 h 54"/>
                  <a:gd name="T12" fmla="*/ 13 w 66"/>
                  <a:gd name="T13" fmla="*/ 29 h 54"/>
                  <a:gd name="T14" fmla="*/ 12 w 66"/>
                  <a:gd name="T15" fmla="*/ 30 h 54"/>
                  <a:gd name="T16" fmla="*/ 10 w 66"/>
                  <a:gd name="T17" fmla="*/ 29 h 54"/>
                  <a:gd name="T18" fmla="*/ 8 w 66"/>
                  <a:gd name="T19" fmla="*/ 25 h 54"/>
                  <a:gd name="T20" fmla="*/ 3 w 66"/>
                  <a:gd name="T21" fmla="*/ 25 h 54"/>
                  <a:gd name="T22" fmla="*/ 0 w 66"/>
                  <a:gd name="T23" fmla="*/ 20 h 54"/>
                  <a:gd name="T24" fmla="*/ 0 w 66"/>
                  <a:gd name="T25" fmla="*/ 18 h 54"/>
                  <a:gd name="T26" fmla="*/ 1 w 66"/>
                  <a:gd name="T27" fmla="*/ 17 h 54"/>
                  <a:gd name="T28" fmla="*/ 1 w 66"/>
                  <a:gd name="T29" fmla="*/ 3 h 54"/>
                  <a:gd name="T30" fmla="*/ 3 w 66"/>
                  <a:gd name="T31" fmla="*/ 1 h 54"/>
                  <a:gd name="T32" fmla="*/ 6 w 66"/>
                  <a:gd name="T33" fmla="*/ 0 h 54"/>
                  <a:gd name="T34" fmla="*/ 8 w 66"/>
                  <a:gd name="T35" fmla="*/ 1 h 54"/>
                  <a:gd name="T36" fmla="*/ 66 w 66"/>
                  <a:gd name="T37" fmla="*/ 46 h 54"/>
                  <a:gd name="T38" fmla="*/ 66 w 66"/>
                  <a:gd name="T39" fmla="*/ 47 h 54"/>
                  <a:gd name="T40" fmla="*/ 66 w 66"/>
                  <a:gd name="T41" fmla="*/ 51 h 54"/>
                  <a:gd name="T42" fmla="*/ 66 w 66"/>
                  <a:gd name="T43" fmla="*/ 52 h 54"/>
                  <a:gd name="T44" fmla="*/ 64 w 66"/>
                  <a:gd name="T45" fmla="*/ 52 h 54"/>
                  <a:gd name="T46" fmla="*/ 64 w 66"/>
                  <a:gd name="T47" fmla="*/ 51 h 54"/>
                  <a:gd name="T48" fmla="*/ 59 w 66"/>
                  <a:gd name="T49" fmla="*/ 47 h 54"/>
                  <a:gd name="T50" fmla="*/ 59 w 66"/>
                  <a:gd name="T51" fmla="*/ 46 h 54"/>
                  <a:gd name="T52" fmla="*/ 56 w 66"/>
                  <a:gd name="T53" fmla="*/ 46 h 54"/>
                  <a:gd name="T54" fmla="*/ 49 w 66"/>
                  <a:gd name="T55" fmla="*/ 40 h 54"/>
                  <a:gd name="T56" fmla="*/ 54 w 66"/>
                  <a:gd name="T57" fmla="*/ 42 h 54"/>
                  <a:gd name="T58" fmla="*/ 57 w 66"/>
                  <a:gd name="T59" fmla="*/ 42 h 54"/>
                  <a:gd name="T60" fmla="*/ 61 w 66"/>
                  <a:gd name="T61" fmla="*/ 40 h 54"/>
                  <a:gd name="T62" fmla="*/ 61 w 66"/>
                  <a:gd name="T63" fmla="*/ 39 h 54"/>
                  <a:gd name="T64" fmla="*/ 61 w 66"/>
                  <a:gd name="T65" fmla="*/ 37 h 54"/>
                  <a:gd name="T66" fmla="*/ 63 w 66"/>
                  <a:gd name="T67" fmla="*/ 35 h 54"/>
                  <a:gd name="T68" fmla="*/ 64 w 66"/>
                  <a:gd name="T69" fmla="*/ 37 h 54"/>
                  <a:gd name="T70" fmla="*/ 64 w 66"/>
                  <a:gd name="T71" fmla="*/ 39 h 54"/>
                  <a:gd name="T72" fmla="*/ 66 w 66"/>
                  <a:gd name="T73" fmla="*/ 46 h 54"/>
                  <a:gd name="T74" fmla="*/ 25 w 66"/>
                  <a:gd name="T75" fmla="*/ 46 h 54"/>
                  <a:gd name="T76" fmla="*/ 32 w 66"/>
                  <a:gd name="T77" fmla="*/ 51 h 54"/>
                  <a:gd name="T78" fmla="*/ 32 w 66"/>
                  <a:gd name="T79" fmla="*/ 52 h 54"/>
                  <a:gd name="T80" fmla="*/ 29 w 66"/>
                  <a:gd name="T81" fmla="*/ 51 h 54"/>
                  <a:gd name="T82" fmla="*/ 27 w 66"/>
                  <a:gd name="T83" fmla="*/ 52 h 54"/>
                  <a:gd name="T84" fmla="*/ 27 w 66"/>
                  <a:gd name="T85" fmla="*/ 51 h 54"/>
                  <a:gd name="T86" fmla="*/ 22 w 66"/>
                  <a:gd name="T87" fmla="*/ 51 h 54"/>
                  <a:gd name="T88" fmla="*/ 22 w 66"/>
                  <a:gd name="T89" fmla="*/ 49 h 54"/>
                  <a:gd name="T90" fmla="*/ 20 w 66"/>
                  <a:gd name="T91" fmla="*/ 49 h 54"/>
                  <a:gd name="T92" fmla="*/ 20 w 66"/>
                  <a:gd name="T93" fmla="*/ 46 h 54"/>
                  <a:gd name="T94" fmla="*/ 22 w 66"/>
                  <a:gd name="T95" fmla="*/ 46 h 54"/>
                  <a:gd name="T96" fmla="*/ 25 w 66"/>
                  <a:gd name="T97" fmla="*/ 46 h 54"/>
                  <a:gd name="T98" fmla="*/ 22 w 66"/>
                  <a:gd name="T99" fmla="*/ 52 h 54"/>
                  <a:gd name="T100" fmla="*/ 22 w 66"/>
                  <a:gd name="T101" fmla="*/ 54 h 54"/>
                  <a:gd name="T102" fmla="*/ 22 w 66"/>
                  <a:gd name="T103" fmla="*/ 52 h 54"/>
                  <a:gd name="T104" fmla="*/ 23 w 66"/>
                  <a:gd name="T105" fmla="*/ 52 h 54"/>
                  <a:gd name="T106" fmla="*/ 25 w 66"/>
                  <a:gd name="T107" fmla="*/ 52 h 54"/>
                  <a:gd name="T108" fmla="*/ 25 w 66"/>
                  <a:gd name="T109" fmla="*/ 54 h 54"/>
                  <a:gd name="T110" fmla="*/ 23 w 66"/>
                  <a:gd name="T111" fmla="*/ 54 h 54"/>
                  <a:gd name="T112" fmla="*/ 23 w 66"/>
                  <a:gd name="T113" fmla="*/ 52 h 54"/>
                  <a:gd name="T114" fmla="*/ 25 w 66"/>
                  <a:gd name="T115" fmla="*/ 52 h 54"/>
                  <a:gd name="T116" fmla="*/ 25 w 66"/>
                  <a:gd name="T117" fmla="*/ 54 h 54"/>
                  <a:gd name="T118" fmla="*/ 25 w 66"/>
                  <a:gd name="T11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54">
                    <a:moveTo>
                      <a:pt x="8" y="1"/>
                    </a:moveTo>
                    <a:lnTo>
                      <a:pt x="10" y="3"/>
                    </a:lnTo>
                    <a:lnTo>
                      <a:pt x="8" y="15"/>
                    </a:lnTo>
                    <a:lnTo>
                      <a:pt x="12" y="20"/>
                    </a:lnTo>
                    <a:lnTo>
                      <a:pt x="12" y="23"/>
                    </a:lnTo>
                    <a:lnTo>
                      <a:pt x="15" y="27"/>
                    </a:lnTo>
                    <a:lnTo>
                      <a:pt x="13" y="29"/>
                    </a:lnTo>
                    <a:lnTo>
                      <a:pt x="12" y="30"/>
                    </a:lnTo>
                    <a:lnTo>
                      <a:pt x="10" y="29"/>
                    </a:lnTo>
                    <a:lnTo>
                      <a:pt x="8" y="25"/>
                    </a:lnTo>
                    <a:lnTo>
                      <a:pt x="3" y="25"/>
                    </a:lnTo>
                    <a:lnTo>
                      <a:pt x="0" y="20"/>
                    </a:lnTo>
                    <a:lnTo>
                      <a:pt x="0" y="18"/>
                    </a:lnTo>
                    <a:lnTo>
                      <a:pt x="1" y="17"/>
                    </a:lnTo>
                    <a:lnTo>
                      <a:pt x="1" y="3"/>
                    </a:lnTo>
                    <a:lnTo>
                      <a:pt x="3" y="1"/>
                    </a:lnTo>
                    <a:lnTo>
                      <a:pt x="6" y="0"/>
                    </a:lnTo>
                    <a:lnTo>
                      <a:pt x="8" y="1"/>
                    </a:lnTo>
                    <a:close/>
                    <a:moveTo>
                      <a:pt x="66" y="46"/>
                    </a:moveTo>
                    <a:lnTo>
                      <a:pt x="66" y="47"/>
                    </a:lnTo>
                    <a:lnTo>
                      <a:pt x="66" y="51"/>
                    </a:lnTo>
                    <a:lnTo>
                      <a:pt x="66" y="52"/>
                    </a:lnTo>
                    <a:lnTo>
                      <a:pt x="64" y="52"/>
                    </a:lnTo>
                    <a:lnTo>
                      <a:pt x="64" y="51"/>
                    </a:lnTo>
                    <a:lnTo>
                      <a:pt x="59" y="47"/>
                    </a:lnTo>
                    <a:lnTo>
                      <a:pt x="59" y="46"/>
                    </a:lnTo>
                    <a:lnTo>
                      <a:pt x="56" y="46"/>
                    </a:lnTo>
                    <a:lnTo>
                      <a:pt x="49" y="40"/>
                    </a:lnTo>
                    <a:lnTo>
                      <a:pt x="54" y="42"/>
                    </a:lnTo>
                    <a:lnTo>
                      <a:pt x="57" y="42"/>
                    </a:lnTo>
                    <a:lnTo>
                      <a:pt x="61" y="40"/>
                    </a:lnTo>
                    <a:lnTo>
                      <a:pt x="61" y="39"/>
                    </a:lnTo>
                    <a:lnTo>
                      <a:pt x="61" y="37"/>
                    </a:lnTo>
                    <a:lnTo>
                      <a:pt x="63" y="35"/>
                    </a:lnTo>
                    <a:lnTo>
                      <a:pt x="64" y="37"/>
                    </a:lnTo>
                    <a:lnTo>
                      <a:pt x="64" y="39"/>
                    </a:lnTo>
                    <a:lnTo>
                      <a:pt x="66" y="46"/>
                    </a:lnTo>
                    <a:close/>
                    <a:moveTo>
                      <a:pt x="25" y="46"/>
                    </a:moveTo>
                    <a:lnTo>
                      <a:pt x="32" y="51"/>
                    </a:lnTo>
                    <a:lnTo>
                      <a:pt x="32" y="52"/>
                    </a:lnTo>
                    <a:lnTo>
                      <a:pt x="29" y="51"/>
                    </a:lnTo>
                    <a:lnTo>
                      <a:pt x="27" y="52"/>
                    </a:lnTo>
                    <a:lnTo>
                      <a:pt x="27" y="51"/>
                    </a:lnTo>
                    <a:lnTo>
                      <a:pt x="22" y="51"/>
                    </a:lnTo>
                    <a:lnTo>
                      <a:pt x="22" y="49"/>
                    </a:lnTo>
                    <a:lnTo>
                      <a:pt x="20" y="49"/>
                    </a:lnTo>
                    <a:lnTo>
                      <a:pt x="20" y="46"/>
                    </a:lnTo>
                    <a:lnTo>
                      <a:pt x="22" y="46"/>
                    </a:lnTo>
                    <a:lnTo>
                      <a:pt x="25" y="46"/>
                    </a:lnTo>
                    <a:close/>
                    <a:moveTo>
                      <a:pt x="22" y="52"/>
                    </a:moveTo>
                    <a:lnTo>
                      <a:pt x="22" y="54"/>
                    </a:lnTo>
                    <a:lnTo>
                      <a:pt x="22" y="52"/>
                    </a:lnTo>
                    <a:close/>
                    <a:moveTo>
                      <a:pt x="23" y="52"/>
                    </a:moveTo>
                    <a:lnTo>
                      <a:pt x="25" y="52"/>
                    </a:lnTo>
                    <a:lnTo>
                      <a:pt x="25" y="54"/>
                    </a:lnTo>
                    <a:lnTo>
                      <a:pt x="23" y="54"/>
                    </a:lnTo>
                    <a:lnTo>
                      <a:pt x="23" y="52"/>
                    </a:lnTo>
                    <a:close/>
                    <a:moveTo>
                      <a:pt x="25" y="52"/>
                    </a:moveTo>
                    <a:lnTo>
                      <a:pt x="25" y="54"/>
                    </a:lnTo>
                    <a:lnTo>
                      <a:pt x="25" y="52"/>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5" name="Freeform 21">
                <a:extLst>
                  <a:ext uri="{FF2B5EF4-FFF2-40B4-BE49-F238E27FC236}">
                    <a16:creationId xmlns:a16="http://schemas.microsoft.com/office/drawing/2014/main" id="{EA6AF1AC-84C2-42B5-921E-CC635D461506}"/>
                  </a:ext>
                </a:extLst>
              </p:cNvPr>
              <p:cNvSpPr>
                <a:spLocks/>
              </p:cNvSpPr>
              <p:nvPr/>
            </p:nvSpPr>
            <p:spPr bwMode="gray">
              <a:xfrm>
                <a:off x="5470525" y="3154363"/>
                <a:ext cx="604837" cy="704850"/>
              </a:xfrm>
              <a:custGeom>
                <a:avLst/>
                <a:gdLst>
                  <a:gd name="T0" fmla="*/ 361 w 381"/>
                  <a:gd name="T1" fmla="*/ 61 h 444"/>
                  <a:gd name="T2" fmla="*/ 347 w 381"/>
                  <a:gd name="T3" fmla="*/ 119 h 444"/>
                  <a:gd name="T4" fmla="*/ 342 w 381"/>
                  <a:gd name="T5" fmla="*/ 160 h 444"/>
                  <a:gd name="T6" fmla="*/ 334 w 381"/>
                  <a:gd name="T7" fmla="*/ 216 h 444"/>
                  <a:gd name="T8" fmla="*/ 295 w 381"/>
                  <a:gd name="T9" fmla="*/ 248 h 444"/>
                  <a:gd name="T10" fmla="*/ 259 w 381"/>
                  <a:gd name="T11" fmla="*/ 298 h 444"/>
                  <a:gd name="T12" fmla="*/ 257 w 381"/>
                  <a:gd name="T13" fmla="*/ 350 h 444"/>
                  <a:gd name="T14" fmla="*/ 225 w 381"/>
                  <a:gd name="T15" fmla="*/ 393 h 444"/>
                  <a:gd name="T16" fmla="*/ 203 w 381"/>
                  <a:gd name="T17" fmla="*/ 415 h 444"/>
                  <a:gd name="T18" fmla="*/ 165 w 381"/>
                  <a:gd name="T19" fmla="*/ 434 h 444"/>
                  <a:gd name="T20" fmla="*/ 170 w 381"/>
                  <a:gd name="T21" fmla="*/ 413 h 444"/>
                  <a:gd name="T22" fmla="*/ 145 w 381"/>
                  <a:gd name="T23" fmla="*/ 415 h 444"/>
                  <a:gd name="T24" fmla="*/ 130 w 381"/>
                  <a:gd name="T25" fmla="*/ 427 h 444"/>
                  <a:gd name="T26" fmla="*/ 121 w 381"/>
                  <a:gd name="T27" fmla="*/ 430 h 444"/>
                  <a:gd name="T28" fmla="*/ 109 w 381"/>
                  <a:gd name="T29" fmla="*/ 430 h 444"/>
                  <a:gd name="T30" fmla="*/ 96 w 381"/>
                  <a:gd name="T31" fmla="*/ 422 h 444"/>
                  <a:gd name="T32" fmla="*/ 82 w 381"/>
                  <a:gd name="T33" fmla="*/ 415 h 444"/>
                  <a:gd name="T34" fmla="*/ 55 w 381"/>
                  <a:gd name="T35" fmla="*/ 430 h 444"/>
                  <a:gd name="T36" fmla="*/ 34 w 381"/>
                  <a:gd name="T37" fmla="*/ 420 h 444"/>
                  <a:gd name="T38" fmla="*/ 4 w 381"/>
                  <a:gd name="T39" fmla="*/ 379 h 444"/>
                  <a:gd name="T40" fmla="*/ 41 w 381"/>
                  <a:gd name="T41" fmla="*/ 374 h 444"/>
                  <a:gd name="T42" fmla="*/ 31 w 381"/>
                  <a:gd name="T43" fmla="*/ 337 h 444"/>
                  <a:gd name="T44" fmla="*/ 24 w 381"/>
                  <a:gd name="T45" fmla="*/ 309 h 444"/>
                  <a:gd name="T46" fmla="*/ 40 w 381"/>
                  <a:gd name="T47" fmla="*/ 308 h 444"/>
                  <a:gd name="T48" fmla="*/ 68 w 381"/>
                  <a:gd name="T49" fmla="*/ 306 h 444"/>
                  <a:gd name="T50" fmla="*/ 67 w 381"/>
                  <a:gd name="T51" fmla="*/ 289 h 444"/>
                  <a:gd name="T52" fmla="*/ 75 w 381"/>
                  <a:gd name="T53" fmla="*/ 281 h 444"/>
                  <a:gd name="T54" fmla="*/ 87 w 381"/>
                  <a:gd name="T55" fmla="*/ 289 h 444"/>
                  <a:gd name="T56" fmla="*/ 97 w 381"/>
                  <a:gd name="T57" fmla="*/ 304 h 444"/>
                  <a:gd name="T58" fmla="*/ 119 w 381"/>
                  <a:gd name="T59" fmla="*/ 311 h 444"/>
                  <a:gd name="T60" fmla="*/ 140 w 381"/>
                  <a:gd name="T61" fmla="*/ 306 h 444"/>
                  <a:gd name="T62" fmla="*/ 152 w 381"/>
                  <a:gd name="T63" fmla="*/ 316 h 444"/>
                  <a:gd name="T64" fmla="*/ 157 w 381"/>
                  <a:gd name="T65" fmla="*/ 299 h 444"/>
                  <a:gd name="T66" fmla="*/ 167 w 381"/>
                  <a:gd name="T67" fmla="*/ 284 h 444"/>
                  <a:gd name="T68" fmla="*/ 167 w 381"/>
                  <a:gd name="T69" fmla="*/ 269 h 444"/>
                  <a:gd name="T70" fmla="*/ 170 w 381"/>
                  <a:gd name="T71" fmla="*/ 250 h 444"/>
                  <a:gd name="T72" fmla="*/ 169 w 381"/>
                  <a:gd name="T73" fmla="*/ 230 h 444"/>
                  <a:gd name="T74" fmla="*/ 169 w 381"/>
                  <a:gd name="T75" fmla="*/ 214 h 444"/>
                  <a:gd name="T76" fmla="*/ 150 w 381"/>
                  <a:gd name="T77" fmla="*/ 201 h 444"/>
                  <a:gd name="T78" fmla="*/ 147 w 381"/>
                  <a:gd name="T79" fmla="*/ 190 h 444"/>
                  <a:gd name="T80" fmla="*/ 145 w 381"/>
                  <a:gd name="T81" fmla="*/ 170 h 444"/>
                  <a:gd name="T82" fmla="*/ 160 w 381"/>
                  <a:gd name="T83" fmla="*/ 160 h 444"/>
                  <a:gd name="T84" fmla="*/ 165 w 381"/>
                  <a:gd name="T85" fmla="*/ 133 h 444"/>
                  <a:gd name="T86" fmla="*/ 147 w 381"/>
                  <a:gd name="T87" fmla="*/ 116 h 444"/>
                  <a:gd name="T88" fmla="*/ 126 w 381"/>
                  <a:gd name="T89" fmla="*/ 121 h 444"/>
                  <a:gd name="T90" fmla="*/ 114 w 381"/>
                  <a:gd name="T91" fmla="*/ 124 h 444"/>
                  <a:gd name="T92" fmla="*/ 106 w 381"/>
                  <a:gd name="T93" fmla="*/ 124 h 444"/>
                  <a:gd name="T94" fmla="*/ 102 w 381"/>
                  <a:gd name="T95" fmla="*/ 110 h 444"/>
                  <a:gd name="T96" fmla="*/ 106 w 381"/>
                  <a:gd name="T97" fmla="*/ 95 h 444"/>
                  <a:gd name="T98" fmla="*/ 111 w 381"/>
                  <a:gd name="T99" fmla="*/ 80 h 444"/>
                  <a:gd name="T100" fmla="*/ 170 w 381"/>
                  <a:gd name="T101" fmla="*/ 78 h 444"/>
                  <a:gd name="T102" fmla="*/ 184 w 381"/>
                  <a:gd name="T103" fmla="*/ 83 h 444"/>
                  <a:gd name="T104" fmla="*/ 191 w 381"/>
                  <a:gd name="T105" fmla="*/ 87 h 444"/>
                  <a:gd name="T106" fmla="*/ 204 w 381"/>
                  <a:gd name="T107" fmla="*/ 87 h 444"/>
                  <a:gd name="T108" fmla="*/ 225 w 381"/>
                  <a:gd name="T109" fmla="*/ 90 h 444"/>
                  <a:gd name="T110" fmla="*/ 245 w 381"/>
                  <a:gd name="T111" fmla="*/ 99 h 444"/>
                  <a:gd name="T112" fmla="*/ 254 w 381"/>
                  <a:gd name="T113" fmla="*/ 97 h 444"/>
                  <a:gd name="T114" fmla="*/ 254 w 381"/>
                  <a:gd name="T115" fmla="*/ 76 h 444"/>
                  <a:gd name="T116" fmla="*/ 272 w 381"/>
                  <a:gd name="T117" fmla="*/ 31 h 444"/>
                  <a:gd name="T118" fmla="*/ 312 w 381"/>
                  <a:gd name="T119" fmla="*/ 5 h 444"/>
                  <a:gd name="T120" fmla="*/ 340 w 381"/>
                  <a:gd name="T121" fmla="*/ 8 h 444"/>
                  <a:gd name="T122" fmla="*/ 364 w 381"/>
                  <a:gd name="T123" fmla="*/ 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444">
                    <a:moveTo>
                      <a:pt x="380" y="12"/>
                    </a:moveTo>
                    <a:lnTo>
                      <a:pt x="381" y="20"/>
                    </a:lnTo>
                    <a:lnTo>
                      <a:pt x="381" y="27"/>
                    </a:lnTo>
                    <a:lnTo>
                      <a:pt x="378" y="31"/>
                    </a:lnTo>
                    <a:lnTo>
                      <a:pt x="376" y="32"/>
                    </a:lnTo>
                    <a:lnTo>
                      <a:pt x="371" y="41"/>
                    </a:lnTo>
                    <a:lnTo>
                      <a:pt x="369" y="48"/>
                    </a:lnTo>
                    <a:lnTo>
                      <a:pt x="366" y="54"/>
                    </a:lnTo>
                    <a:lnTo>
                      <a:pt x="366" y="56"/>
                    </a:lnTo>
                    <a:lnTo>
                      <a:pt x="361" y="61"/>
                    </a:lnTo>
                    <a:lnTo>
                      <a:pt x="359" y="65"/>
                    </a:lnTo>
                    <a:lnTo>
                      <a:pt x="357" y="70"/>
                    </a:lnTo>
                    <a:lnTo>
                      <a:pt x="352" y="75"/>
                    </a:lnTo>
                    <a:lnTo>
                      <a:pt x="352" y="82"/>
                    </a:lnTo>
                    <a:lnTo>
                      <a:pt x="351" y="85"/>
                    </a:lnTo>
                    <a:lnTo>
                      <a:pt x="352" y="90"/>
                    </a:lnTo>
                    <a:lnTo>
                      <a:pt x="351" y="95"/>
                    </a:lnTo>
                    <a:lnTo>
                      <a:pt x="352" y="102"/>
                    </a:lnTo>
                    <a:lnTo>
                      <a:pt x="352" y="110"/>
                    </a:lnTo>
                    <a:lnTo>
                      <a:pt x="347" y="119"/>
                    </a:lnTo>
                    <a:lnTo>
                      <a:pt x="346" y="124"/>
                    </a:lnTo>
                    <a:lnTo>
                      <a:pt x="346" y="129"/>
                    </a:lnTo>
                    <a:lnTo>
                      <a:pt x="342" y="134"/>
                    </a:lnTo>
                    <a:lnTo>
                      <a:pt x="340" y="139"/>
                    </a:lnTo>
                    <a:lnTo>
                      <a:pt x="342" y="150"/>
                    </a:lnTo>
                    <a:lnTo>
                      <a:pt x="342" y="151"/>
                    </a:lnTo>
                    <a:lnTo>
                      <a:pt x="342" y="153"/>
                    </a:lnTo>
                    <a:lnTo>
                      <a:pt x="342" y="155"/>
                    </a:lnTo>
                    <a:lnTo>
                      <a:pt x="342" y="158"/>
                    </a:lnTo>
                    <a:lnTo>
                      <a:pt x="342" y="160"/>
                    </a:lnTo>
                    <a:lnTo>
                      <a:pt x="346" y="161"/>
                    </a:lnTo>
                    <a:lnTo>
                      <a:pt x="346" y="165"/>
                    </a:lnTo>
                    <a:lnTo>
                      <a:pt x="346" y="170"/>
                    </a:lnTo>
                    <a:lnTo>
                      <a:pt x="340" y="175"/>
                    </a:lnTo>
                    <a:lnTo>
                      <a:pt x="337" y="180"/>
                    </a:lnTo>
                    <a:lnTo>
                      <a:pt x="335" y="192"/>
                    </a:lnTo>
                    <a:lnTo>
                      <a:pt x="332" y="197"/>
                    </a:lnTo>
                    <a:lnTo>
                      <a:pt x="332" y="204"/>
                    </a:lnTo>
                    <a:lnTo>
                      <a:pt x="334" y="207"/>
                    </a:lnTo>
                    <a:lnTo>
                      <a:pt x="334" y="216"/>
                    </a:lnTo>
                    <a:lnTo>
                      <a:pt x="329" y="219"/>
                    </a:lnTo>
                    <a:lnTo>
                      <a:pt x="329" y="223"/>
                    </a:lnTo>
                    <a:lnTo>
                      <a:pt x="323" y="226"/>
                    </a:lnTo>
                    <a:lnTo>
                      <a:pt x="320" y="231"/>
                    </a:lnTo>
                    <a:lnTo>
                      <a:pt x="318" y="233"/>
                    </a:lnTo>
                    <a:lnTo>
                      <a:pt x="317" y="236"/>
                    </a:lnTo>
                    <a:lnTo>
                      <a:pt x="308" y="241"/>
                    </a:lnTo>
                    <a:lnTo>
                      <a:pt x="301" y="243"/>
                    </a:lnTo>
                    <a:lnTo>
                      <a:pt x="298" y="245"/>
                    </a:lnTo>
                    <a:lnTo>
                      <a:pt x="295" y="248"/>
                    </a:lnTo>
                    <a:lnTo>
                      <a:pt x="288" y="253"/>
                    </a:lnTo>
                    <a:lnTo>
                      <a:pt x="286" y="258"/>
                    </a:lnTo>
                    <a:lnTo>
                      <a:pt x="281" y="264"/>
                    </a:lnTo>
                    <a:lnTo>
                      <a:pt x="281" y="267"/>
                    </a:lnTo>
                    <a:lnTo>
                      <a:pt x="276" y="277"/>
                    </a:lnTo>
                    <a:lnTo>
                      <a:pt x="276" y="282"/>
                    </a:lnTo>
                    <a:lnTo>
                      <a:pt x="271" y="284"/>
                    </a:lnTo>
                    <a:lnTo>
                      <a:pt x="267" y="289"/>
                    </a:lnTo>
                    <a:lnTo>
                      <a:pt x="266" y="291"/>
                    </a:lnTo>
                    <a:lnTo>
                      <a:pt x="259" y="298"/>
                    </a:lnTo>
                    <a:lnTo>
                      <a:pt x="257" y="301"/>
                    </a:lnTo>
                    <a:lnTo>
                      <a:pt x="255" y="306"/>
                    </a:lnTo>
                    <a:lnTo>
                      <a:pt x="257" y="315"/>
                    </a:lnTo>
                    <a:lnTo>
                      <a:pt x="259" y="320"/>
                    </a:lnTo>
                    <a:lnTo>
                      <a:pt x="259" y="325"/>
                    </a:lnTo>
                    <a:lnTo>
                      <a:pt x="257" y="328"/>
                    </a:lnTo>
                    <a:lnTo>
                      <a:pt x="255" y="337"/>
                    </a:lnTo>
                    <a:lnTo>
                      <a:pt x="257" y="342"/>
                    </a:lnTo>
                    <a:lnTo>
                      <a:pt x="255" y="345"/>
                    </a:lnTo>
                    <a:lnTo>
                      <a:pt x="257" y="350"/>
                    </a:lnTo>
                    <a:lnTo>
                      <a:pt x="255" y="354"/>
                    </a:lnTo>
                    <a:lnTo>
                      <a:pt x="257" y="355"/>
                    </a:lnTo>
                    <a:lnTo>
                      <a:pt x="257" y="359"/>
                    </a:lnTo>
                    <a:lnTo>
                      <a:pt x="254" y="364"/>
                    </a:lnTo>
                    <a:lnTo>
                      <a:pt x="252" y="369"/>
                    </a:lnTo>
                    <a:lnTo>
                      <a:pt x="249" y="372"/>
                    </a:lnTo>
                    <a:lnTo>
                      <a:pt x="242" y="388"/>
                    </a:lnTo>
                    <a:lnTo>
                      <a:pt x="238" y="389"/>
                    </a:lnTo>
                    <a:lnTo>
                      <a:pt x="232" y="391"/>
                    </a:lnTo>
                    <a:lnTo>
                      <a:pt x="225" y="393"/>
                    </a:lnTo>
                    <a:lnTo>
                      <a:pt x="223" y="396"/>
                    </a:lnTo>
                    <a:lnTo>
                      <a:pt x="221" y="398"/>
                    </a:lnTo>
                    <a:lnTo>
                      <a:pt x="221" y="401"/>
                    </a:lnTo>
                    <a:lnTo>
                      <a:pt x="220" y="403"/>
                    </a:lnTo>
                    <a:lnTo>
                      <a:pt x="216" y="406"/>
                    </a:lnTo>
                    <a:lnTo>
                      <a:pt x="211" y="405"/>
                    </a:lnTo>
                    <a:lnTo>
                      <a:pt x="210" y="406"/>
                    </a:lnTo>
                    <a:lnTo>
                      <a:pt x="206" y="408"/>
                    </a:lnTo>
                    <a:lnTo>
                      <a:pt x="204" y="412"/>
                    </a:lnTo>
                    <a:lnTo>
                      <a:pt x="203" y="415"/>
                    </a:lnTo>
                    <a:lnTo>
                      <a:pt x="198" y="418"/>
                    </a:lnTo>
                    <a:lnTo>
                      <a:pt x="191" y="427"/>
                    </a:lnTo>
                    <a:lnTo>
                      <a:pt x="189" y="432"/>
                    </a:lnTo>
                    <a:lnTo>
                      <a:pt x="181" y="437"/>
                    </a:lnTo>
                    <a:lnTo>
                      <a:pt x="179" y="439"/>
                    </a:lnTo>
                    <a:lnTo>
                      <a:pt x="176" y="437"/>
                    </a:lnTo>
                    <a:lnTo>
                      <a:pt x="174" y="435"/>
                    </a:lnTo>
                    <a:lnTo>
                      <a:pt x="170" y="434"/>
                    </a:lnTo>
                    <a:lnTo>
                      <a:pt x="167" y="437"/>
                    </a:lnTo>
                    <a:lnTo>
                      <a:pt x="165" y="434"/>
                    </a:lnTo>
                    <a:lnTo>
                      <a:pt x="165" y="432"/>
                    </a:lnTo>
                    <a:lnTo>
                      <a:pt x="167" y="430"/>
                    </a:lnTo>
                    <a:lnTo>
                      <a:pt x="165" y="429"/>
                    </a:lnTo>
                    <a:lnTo>
                      <a:pt x="167" y="427"/>
                    </a:lnTo>
                    <a:lnTo>
                      <a:pt x="165" y="423"/>
                    </a:lnTo>
                    <a:lnTo>
                      <a:pt x="165" y="420"/>
                    </a:lnTo>
                    <a:lnTo>
                      <a:pt x="165" y="418"/>
                    </a:lnTo>
                    <a:lnTo>
                      <a:pt x="165" y="417"/>
                    </a:lnTo>
                    <a:lnTo>
                      <a:pt x="167" y="417"/>
                    </a:lnTo>
                    <a:lnTo>
                      <a:pt x="170" y="413"/>
                    </a:lnTo>
                    <a:lnTo>
                      <a:pt x="167" y="412"/>
                    </a:lnTo>
                    <a:lnTo>
                      <a:pt x="165" y="408"/>
                    </a:lnTo>
                    <a:lnTo>
                      <a:pt x="167" y="405"/>
                    </a:lnTo>
                    <a:lnTo>
                      <a:pt x="164" y="406"/>
                    </a:lnTo>
                    <a:lnTo>
                      <a:pt x="160" y="408"/>
                    </a:lnTo>
                    <a:lnTo>
                      <a:pt x="159" y="410"/>
                    </a:lnTo>
                    <a:lnTo>
                      <a:pt x="155" y="412"/>
                    </a:lnTo>
                    <a:lnTo>
                      <a:pt x="150" y="412"/>
                    </a:lnTo>
                    <a:lnTo>
                      <a:pt x="147" y="413"/>
                    </a:lnTo>
                    <a:lnTo>
                      <a:pt x="145" y="415"/>
                    </a:lnTo>
                    <a:lnTo>
                      <a:pt x="145" y="417"/>
                    </a:lnTo>
                    <a:lnTo>
                      <a:pt x="143" y="417"/>
                    </a:lnTo>
                    <a:lnTo>
                      <a:pt x="140" y="417"/>
                    </a:lnTo>
                    <a:lnTo>
                      <a:pt x="138" y="413"/>
                    </a:lnTo>
                    <a:lnTo>
                      <a:pt x="136" y="413"/>
                    </a:lnTo>
                    <a:lnTo>
                      <a:pt x="133" y="413"/>
                    </a:lnTo>
                    <a:lnTo>
                      <a:pt x="133" y="420"/>
                    </a:lnTo>
                    <a:lnTo>
                      <a:pt x="131" y="423"/>
                    </a:lnTo>
                    <a:lnTo>
                      <a:pt x="131" y="427"/>
                    </a:lnTo>
                    <a:lnTo>
                      <a:pt x="130" y="427"/>
                    </a:lnTo>
                    <a:lnTo>
                      <a:pt x="130" y="429"/>
                    </a:lnTo>
                    <a:lnTo>
                      <a:pt x="130" y="430"/>
                    </a:lnTo>
                    <a:lnTo>
                      <a:pt x="128" y="429"/>
                    </a:lnTo>
                    <a:lnTo>
                      <a:pt x="126" y="429"/>
                    </a:lnTo>
                    <a:lnTo>
                      <a:pt x="128" y="430"/>
                    </a:lnTo>
                    <a:lnTo>
                      <a:pt x="126" y="430"/>
                    </a:lnTo>
                    <a:lnTo>
                      <a:pt x="126" y="432"/>
                    </a:lnTo>
                    <a:lnTo>
                      <a:pt x="123" y="432"/>
                    </a:lnTo>
                    <a:lnTo>
                      <a:pt x="123" y="430"/>
                    </a:lnTo>
                    <a:lnTo>
                      <a:pt x="121" y="430"/>
                    </a:lnTo>
                    <a:lnTo>
                      <a:pt x="121" y="432"/>
                    </a:lnTo>
                    <a:lnTo>
                      <a:pt x="121" y="434"/>
                    </a:lnTo>
                    <a:lnTo>
                      <a:pt x="119" y="435"/>
                    </a:lnTo>
                    <a:lnTo>
                      <a:pt x="116" y="435"/>
                    </a:lnTo>
                    <a:lnTo>
                      <a:pt x="116" y="437"/>
                    </a:lnTo>
                    <a:lnTo>
                      <a:pt x="114" y="435"/>
                    </a:lnTo>
                    <a:lnTo>
                      <a:pt x="114" y="432"/>
                    </a:lnTo>
                    <a:lnTo>
                      <a:pt x="113" y="430"/>
                    </a:lnTo>
                    <a:lnTo>
                      <a:pt x="111" y="430"/>
                    </a:lnTo>
                    <a:lnTo>
                      <a:pt x="109" y="430"/>
                    </a:lnTo>
                    <a:lnTo>
                      <a:pt x="108" y="429"/>
                    </a:lnTo>
                    <a:lnTo>
                      <a:pt x="108" y="427"/>
                    </a:lnTo>
                    <a:lnTo>
                      <a:pt x="102" y="423"/>
                    </a:lnTo>
                    <a:lnTo>
                      <a:pt x="102" y="422"/>
                    </a:lnTo>
                    <a:lnTo>
                      <a:pt x="101" y="420"/>
                    </a:lnTo>
                    <a:lnTo>
                      <a:pt x="101" y="422"/>
                    </a:lnTo>
                    <a:lnTo>
                      <a:pt x="101" y="423"/>
                    </a:lnTo>
                    <a:lnTo>
                      <a:pt x="99" y="423"/>
                    </a:lnTo>
                    <a:lnTo>
                      <a:pt x="97" y="423"/>
                    </a:lnTo>
                    <a:lnTo>
                      <a:pt x="96" y="422"/>
                    </a:lnTo>
                    <a:lnTo>
                      <a:pt x="94" y="418"/>
                    </a:lnTo>
                    <a:lnTo>
                      <a:pt x="89" y="415"/>
                    </a:lnTo>
                    <a:lnTo>
                      <a:pt x="91" y="412"/>
                    </a:lnTo>
                    <a:lnTo>
                      <a:pt x="85" y="412"/>
                    </a:lnTo>
                    <a:lnTo>
                      <a:pt x="82" y="410"/>
                    </a:lnTo>
                    <a:lnTo>
                      <a:pt x="80" y="413"/>
                    </a:lnTo>
                    <a:lnTo>
                      <a:pt x="84" y="415"/>
                    </a:lnTo>
                    <a:lnTo>
                      <a:pt x="84" y="417"/>
                    </a:lnTo>
                    <a:lnTo>
                      <a:pt x="82" y="417"/>
                    </a:lnTo>
                    <a:lnTo>
                      <a:pt x="82" y="415"/>
                    </a:lnTo>
                    <a:lnTo>
                      <a:pt x="79" y="415"/>
                    </a:lnTo>
                    <a:lnTo>
                      <a:pt x="77" y="417"/>
                    </a:lnTo>
                    <a:lnTo>
                      <a:pt x="75" y="418"/>
                    </a:lnTo>
                    <a:lnTo>
                      <a:pt x="67" y="422"/>
                    </a:lnTo>
                    <a:lnTo>
                      <a:pt x="65" y="422"/>
                    </a:lnTo>
                    <a:lnTo>
                      <a:pt x="65" y="425"/>
                    </a:lnTo>
                    <a:lnTo>
                      <a:pt x="62" y="432"/>
                    </a:lnTo>
                    <a:lnTo>
                      <a:pt x="60" y="432"/>
                    </a:lnTo>
                    <a:lnTo>
                      <a:pt x="57" y="432"/>
                    </a:lnTo>
                    <a:lnTo>
                      <a:pt x="55" y="430"/>
                    </a:lnTo>
                    <a:lnTo>
                      <a:pt x="53" y="437"/>
                    </a:lnTo>
                    <a:lnTo>
                      <a:pt x="45" y="444"/>
                    </a:lnTo>
                    <a:lnTo>
                      <a:pt x="36" y="432"/>
                    </a:lnTo>
                    <a:lnTo>
                      <a:pt x="36" y="430"/>
                    </a:lnTo>
                    <a:lnTo>
                      <a:pt x="36" y="432"/>
                    </a:lnTo>
                    <a:lnTo>
                      <a:pt x="36" y="430"/>
                    </a:lnTo>
                    <a:lnTo>
                      <a:pt x="33" y="425"/>
                    </a:lnTo>
                    <a:lnTo>
                      <a:pt x="34" y="425"/>
                    </a:lnTo>
                    <a:lnTo>
                      <a:pt x="36" y="422"/>
                    </a:lnTo>
                    <a:lnTo>
                      <a:pt x="34" y="420"/>
                    </a:lnTo>
                    <a:lnTo>
                      <a:pt x="29" y="415"/>
                    </a:lnTo>
                    <a:lnTo>
                      <a:pt x="31" y="415"/>
                    </a:lnTo>
                    <a:lnTo>
                      <a:pt x="29" y="415"/>
                    </a:lnTo>
                    <a:lnTo>
                      <a:pt x="14" y="401"/>
                    </a:lnTo>
                    <a:lnTo>
                      <a:pt x="12" y="400"/>
                    </a:lnTo>
                    <a:lnTo>
                      <a:pt x="12" y="398"/>
                    </a:lnTo>
                    <a:lnTo>
                      <a:pt x="11" y="396"/>
                    </a:lnTo>
                    <a:lnTo>
                      <a:pt x="0" y="389"/>
                    </a:lnTo>
                    <a:lnTo>
                      <a:pt x="6" y="383"/>
                    </a:lnTo>
                    <a:lnTo>
                      <a:pt x="4" y="379"/>
                    </a:lnTo>
                    <a:lnTo>
                      <a:pt x="6" y="376"/>
                    </a:lnTo>
                    <a:lnTo>
                      <a:pt x="11" y="371"/>
                    </a:lnTo>
                    <a:lnTo>
                      <a:pt x="16" y="371"/>
                    </a:lnTo>
                    <a:lnTo>
                      <a:pt x="17" y="369"/>
                    </a:lnTo>
                    <a:lnTo>
                      <a:pt x="19" y="362"/>
                    </a:lnTo>
                    <a:lnTo>
                      <a:pt x="23" y="362"/>
                    </a:lnTo>
                    <a:lnTo>
                      <a:pt x="28" y="367"/>
                    </a:lnTo>
                    <a:lnTo>
                      <a:pt x="31" y="374"/>
                    </a:lnTo>
                    <a:lnTo>
                      <a:pt x="36" y="378"/>
                    </a:lnTo>
                    <a:lnTo>
                      <a:pt x="41" y="374"/>
                    </a:lnTo>
                    <a:lnTo>
                      <a:pt x="38" y="369"/>
                    </a:lnTo>
                    <a:lnTo>
                      <a:pt x="38" y="366"/>
                    </a:lnTo>
                    <a:lnTo>
                      <a:pt x="41" y="366"/>
                    </a:lnTo>
                    <a:lnTo>
                      <a:pt x="43" y="362"/>
                    </a:lnTo>
                    <a:lnTo>
                      <a:pt x="43" y="354"/>
                    </a:lnTo>
                    <a:lnTo>
                      <a:pt x="38" y="352"/>
                    </a:lnTo>
                    <a:lnTo>
                      <a:pt x="31" y="347"/>
                    </a:lnTo>
                    <a:lnTo>
                      <a:pt x="31" y="344"/>
                    </a:lnTo>
                    <a:lnTo>
                      <a:pt x="34" y="342"/>
                    </a:lnTo>
                    <a:lnTo>
                      <a:pt x="31" y="337"/>
                    </a:lnTo>
                    <a:lnTo>
                      <a:pt x="28" y="332"/>
                    </a:lnTo>
                    <a:lnTo>
                      <a:pt x="26" y="330"/>
                    </a:lnTo>
                    <a:lnTo>
                      <a:pt x="24" y="335"/>
                    </a:lnTo>
                    <a:lnTo>
                      <a:pt x="23" y="333"/>
                    </a:lnTo>
                    <a:lnTo>
                      <a:pt x="21" y="333"/>
                    </a:lnTo>
                    <a:lnTo>
                      <a:pt x="23" y="332"/>
                    </a:lnTo>
                    <a:lnTo>
                      <a:pt x="26" y="326"/>
                    </a:lnTo>
                    <a:lnTo>
                      <a:pt x="28" y="321"/>
                    </a:lnTo>
                    <a:lnTo>
                      <a:pt x="24" y="316"/>
                    </a:lnTo>
                    <a:lnTo>
                      <a:pt x="24" y="309"/>
                    </a:lnTo>
                    <a:lnTo>
                      <a:pt x="23" y="308"/>
                    </a:lnTo>
                    <a:lnTo>
                      <a:pt x="24" y="308"/>
                    </a:lnTo>
                    <a:lnTo>
                      <a:pt x="26" y="306"/>
                    </a:lnTo>
                    <a:lnTo>
                      <a:pt x="26" y="308"/>
                    </a:lnTo>
                    <a:lnTo>
                      <a:pt x="28" y="308"/>
                    </a:lnTo>
                    <a:lnTo>
                      <a:pt x="29" y="311"/>
                    </a:lnTo>
                    <a:lnTo>
                      <a:pt x="31" y="311"/>
                    </a:lnTo>
                    <a:lnTo>
                      <a:pt x="31" y="313"/>
                    </a:lnTo>
                    <a:lnTo>
                      <a:pt x="34" y="309"/>
                    </a:lnTo>
                    <a:lnTo>
                      <a:pt x="40" y="308"/>
                    </a:lnTo>
                    <a:lnTo>
                      <a:pt x="43" y="306"/>
                    </a:lnTo>
                    <a:lnTo>
                      <a:pt x="45" y="308"/>
                    </a:lnTo>
                    <a:lnTo>
                      <a:pt x="46" y="311"/>
                    </a:lnTo>
                    <a:lnTo>
                      <a:pt x="51" y="311"/>
                    </a:lnTo>
                    <a:lnTo>
                      <a:pt x="70" y="311"/>
                    </a:lnTo>
                    <a:lnTo>
                      <a:pt x="70" y="309"/>
                    </a:lnTo>
                    <a:lnTo>
                      <a:pt x="70" y="308"/>
                    </a:lnTo>
                    <a:lnTo>
                      <a:pt x="70" y="306"/>
                    </a:lnTo>
                    <a:lnTo>
                      <a:pt x="68" y="308"/>
                    </a:lnTo>
                    <a:lnTo>
                      <a:pt x="68" y="306"/>
                    </a:lnTo>
                    <a:lnTo>
                      <a:pt x="68" y="304"/>
                    </a:lnTo>
                    <a:lnTo>
                      <a:pt x="68" y="303"/>
                    </a:lnTo>
                    <a:lnTo>
                      <a:pt x="70" y="301"/>
                    </a:lnTo>
                    <a:lnTo>
                      <a:pt x="68" y="301"/>
                    </a:lnTo>
                    <a:lnTo>
                      <a:pt x="70" y="299"/>
                    </a:lnTo>
                    <a:lnTo>
                      <a:pt x="68" y="298"/>
                    </a:lnTo>
                    <a:lnTo>
                      <a:pt x="70" y="296"/>
                    </a:lnTo>
                    <a:lnTo>
                      <a:pt x="67" y="292"/>
                    </a:lnTo>
                    <a:lnTo>
                      <a:pt x="68" y="291"/>
                    </a:lnTo>
                    <a:lnTo>
                      <a:pt x="67" y="289"/>
                    </a:lnTo>
                    <a:lnTo>
                      <a:pt x="68" y="287"/>
                    </a:lnTo>
                    <a:lnTo>
                      <a:pt x="67" y="286"/>
                    </a:lnTo>
                    <a:lnTo>
                      <a:pt x="67" y="284"/>
                    </a:lnTo>
                    <a:lnTo>
                      <a:pt x="68" y="284"/>
                    </a:lnTo>
                    <a:lnTo>
                      <a:pt x="70" y="286"/>
                    </a:lnTo>
                    <a:lnTo>
                      <a:pt x="72" y="286"/>
                    </a:lnTo>
                    <a:lnTo>
                      <a:pt x="72" y="284"/>
                    </a:lnTo>
                    <a:lnTo>
                      <a:pt x="74" y="282"/>
                    </a:lnTo>
                    <a:lnTo>
                      <a:pt x="74" y="281"/>
                    </a:lnTo>
                    <a:lnTo>
                      <a:pt x="75" y="281"/>
                    </a:lnTo>
                    <a:lnTo>
                      <a:pt x="77" y="281"/>
                    </a:lnTo>
                    <a:lnTo>
                      <a:pt x="79" y="282"/>
                    </a:lnTo>
                    <a:lnTo>
                      <a:pt x="80" y="282"/>
                    </a:lnTo>
                    <a:lnTo>
                      <a:pt x="82" y="286"/>
                    </a:lnTo>
                    <a:lnTo>
                      <a:pt x="84" y="284"/>
                    </a:lnTo>
                    <a:lnTo>
                      <a:pt x="85" y="286"/>
                    </a:lnTo>
                    <a:lnTo>
                      <a:pt x="87" y="286"/>
                    </a:lnTo>
                    <a:lnTo>
                      <a:pt x="85" y="286"/>
                    </a:lnTo>
                    <a:lnTo>
                      <a:pt x="87" y="287"/>
                    </a:lnTo>
                    <a:lnTo>
                      <a:pt x="87" y="289"/>
                    </a:lnTo>
                    <a:lnTo>
                      <a:pt x="89" y="292"/>
                    </a:lnTo>
                    <a:lnTo>
                      <a:pt x="91" y="294"/>
                    </a:lnTo>
                    <a:lnTo>
                      <a:pt x="89" y="294"/>
                    </a:lnTo>
                    <a:lnTo>
                      <a:pt x="91" y="296"/>
                    </a:lnTo>
                    <a:lnTo>
                      <a:pt x="91" y="298"/>
                    </a:lnTo>
                    <a:lnTo>
                      <a:pt x="92" y="299"/>
                    </a:lnTo>
                    <a:lnTo>
                      <a:pt x="92" y="301"/>
                    </a:lnTo>
                    <a:lnTo>
                      <a:pt x="94" y="299"/>
                    </a:lnTo>
                    <a:lnTo>
                      <a:pt x="96" y="304"/>
                    </a:lnTo>
                    <a:lnTo>
                      <a:pt x="97" y="304"/>
                    </a:lnTo>
                    <a:lnTo>
                      <a:pt x="96" y="306"/>
                    </a:lnTo>
                    <a:lnTo>
                      <a:pt x="96" y="309"/>
                    </a:lnTo>
                    <a:lnTo>
                      <a:pt x="97" y="306"/>
                    </a:lnTo>
                    <a:lnTo>
                      <a:pt x="102" y="309"/>
                    </a:lnTo>
                    <a:lnTo>
                      <a:pt x="106" y="308"/>
                    </a:lnTo>
                    <a:lnTo>
                      <a:pt x="108" y="309"/>
                    </a:lnTo>
                    <a:lnTo>
                      <a:pt x="113" y="309"/>
                    </a:lnTo>
                    <a:lnTo>
                      <a:pt x="114" y="311"/>
                    </a:lnTo>
                    <a:lnTo>
                      <a:pt x="118" y="311"/>
                    </a:lnTo>
                    <a:lnTo>
                      <a:pt x="119" y="311"/>
                    </a:lnTo>
                    <a:lnTo>
                      <a:pt x="125" y="308"/>
                    </a:lnTo>
                    <a:lnTo>
                      <a:pt x="126" y="306"/>
                    </a:lnTo>
                    <a:lnTo>
                      <a:pt x="131" y="301"/>
                    </a:lnTo>
                    <a:lnTo>
                      <a:pt x="133" y="296"/>
                    </a:lnTo>
                    <a:lnTo>
                      <a:pt x="135" y="294"/>
                    </a:lnTo>
                    <a:lnTo>
                      <a:pt x="135" y="296"/>
                    </a:lnTo>
                    <a:lnTo>
                      <a:pt x="136" y="298"/>
                    </a:lnTo>
                    <a:lnTo>
                      <a:pt x="138" y="303"/>
                    </a:lnTo>
                    <a:lnTo>
                      <a:pt x="140" y="304"/>
                    </a:lnTo>
                    <a:lnTo>
                      <a:pt x="140" y="306"/>
                    </a:lnTo>
                    <a:lnTo>
                      <a:pt x="143" y="308"/>
                    </a:lnTo>
                    <a:lnTo>
                      <a:pt x="140" y="311"/>
                    </a:lnTo>
                    <a:lnTo>
                      <a:pt x="140" y="315"/>
                    </a:lnTo>
                    <a:lnTo>
                      <a:pt x="142" y="315"/>
                    </a:lnTo>
                    <a:lnTo>
                      <a:pt x="143" y="313"/>
                    </a:lnTo>
                    <a:lnTo>
                      <a:pt x="145" y="313"/>
                    </a:lnTo>
                    <a:lnTo>
                      <a:pt x="147" y="315"/>
                    </a:lnTo>
                    <a:lnTo>
                      <a:pt x="148" y="315"/>
                    </a:lnTo>
                    <a:lnTo>
                      <a:pt x="150" y="315"/>
                    </a:lnTo>
                    <a:lnTo>
                      <a:pt x="152" y="316"/>
                    </a:lnTo>
                    <a:lnTo>
                      <a:pt x="152" y="315"/>
                    </a:lnTo>
                    <a:lnTo>
                      <a:pt x="153" y="313"/>
                    </a:lnTo>
                    <a:lnTo>
                      <a:pt x="153" y="311"/>
                    </a:lnTo>
                    <a:lnTo>
                      <a:pt x="153" y="309"/>
                    </a:lnTo>
                    <a:lnTo>
                      <a:pt x="157" y="308"/>
                    </a:lnTo>
                    <a:lnTo>
                      <a:pt x="159" y="308"/>
                    </a:lnTo>
                    <a:lnTo>
                      <a:pt x="155" y="304"/>
                    </a:lnTo>
                    <a:lnTo>
                      <a:pt x="155" y="303"/>
                    </a:lnTo>
                    <a:lnTo>
                      <a:pt x="153" y="301"/>
                    </a:lnTo>
                    <a:lnTo>
                      <a:pt x="157" y="299"/>
                    </a:lnTo>
                    <a:lnTo>
                      <a:pt x="157" y="298"/>
                    </a:lnTo>
                    <a:lnTo>
                      <a:pt x="160" y="296"/>
                    </a:lnTo>
                    <a:lnTo>
                      <a:pt x="159" y="294"/>
                    </a:lnTo>
                    <a:lnTo>
                      <a:pt x="160" y="292"/>
                    </a:lnTo>
                    <a:lnTo>
                      <a:pt x="159" y="291"/>
                    </a:lnTo>
                    <a:lnTo>
                      <a:pt x="159" y="289"/>
                    </a:lnTo>
                    <a:lnTo>
                      <a:pt x="160" y="289"/>
                    </a:lnTo>
                    <a:lnTo>
                      <a:pt x="162" y="287"/>
                    </a:lnTo>
                    <a:lnTo>
                      <a:pt x="165" y="286"/>
                    </a:lnTo>
                    <a:lnTo>
                      <a:pt x="167" y="284"/>
                    </a:lnTo>
                    <a:lnTo>
                      <a:pt x="167" y="282"/>
                    </a:lnTo>
                    <a:lnTo>
                      <a:pt x="169" y="279"/>
                    </a:lnTo>
                    <a:lnTo>
                      <a:pt x="167" y="279"/>
                    </a:lnTo>
                    <a:lnTo>
                      <a:pt x="167" y="277"/>
                    </a:lnTo>
                    <a:lnTo>
                      <a:pt x="170" y="274"/>
                    </a:lnTo>
                    <a:lnTo>
                      <a:pt x="169" y="274"/>
                    </a:lnTo>
                    <a:lnTo>
                      <a:pt x="167" y="274"/>
                    </a:lnTo>
                    <a:lnTo>
                      <a:pt x="167" y="272"/>
                    </a:lnTo>
                    <a:lnTo>
                      <a:pt x="165" y="270"/>
                    </a:lnTo>
                    <a:lnTo>
                      <a:pt x="167" y="269"/>
                    </a:lnTo>
                    <a:lnTo>
                      <a:pt x="169" y="267"/>
                    </a:lnTo>
                    <a:lnTo>
                      <a:pt x="170" y="267"/>
                    </a:lnTo>
                    <a:lnTo>
                      <a:pt x="169" y="265"/>
                    </a:lnTo>
                    <a:lnTo>
                      <a:pt x="170" y="265"/>
                    </a:lnTo>
                    <a:lnTo>
                      <a:pt x="170" y="264"/>
                    </a:lnTo>
                    <a:lnTo>
                      <a:pt x="172" y="260"/>
                    </a:lnTo>
                    <a:lnTo>
                      <a:pt x="169" y="257"/>
                    </a:lnTo>
                    <a:lnTo>
                      <a:pt x="170" y="255"/>
                    </a:lnTo>
                    <a:lnTo>
                      <a:pt x="172" y="252"/>
                    </a:lnTo>
                    <a:lnTo>
                      <a:pt x="170" y="250"/>
                    </a:lnTo>
                    <a:lnTo>
                      <a:pt x="169" y="248"/>
                    </a:lnTo>
                    <a:lnTo>
                      <a:pt x="170" y="245"/>
                    </a:lnTo>
                    <a:lnTo>
                      <a:pt x="169" y="241"/>
                    </a:lnTo>
                    <a:lnTo>
                      <a:pt x="167" y="241"/>
                    </a:lnTo>
                    <a:lnTo>
                      <a:pt x="169" y="238"/>
                    </a:lnTo>
                    <a:lnTo>
                      <a:pt x="169" y="236"/>
                    </a:lnTo>
                    <a:lnTo>
                      <a:pt x="167" y="236"/>
                    </a:lnTo>
                    <a:lnTo>
                      <a:pt x="170" y="233"/>
                    </a:lnTo>
                    <a:lnTo>
                      <a:pt x="170" y="231"/>
                    </a:lnTo>
                    <a:lnTo>
                      <a:pt x="169" y="230"/>
                    </a:lnTo>
                    <a:lnTo>
                      <a:pt x="170" y="228"/>
                    </a:lnTo>
                    <a:lnTo>
                      <a:pt x="169" y="226"/>
                    </a:lnTo>
                    <a:lnTo>
                      <a:pt x="172" y="223"/>
                    </a:lnTo>
                    <a:lnTo>
                      <a:pt x="172" y="221"/>
                    </a:lnTo>
                    <a:lnTo>
                      <a:pt x="172" y="219"/>
                    </a:lnTo>
                    <a:lnTo>
                      <a:pt x="170" y="219"/>
                    </a:lnTo>
                    <a:lnTo>
                      <a:pt x="170" y="218"/>
                    </a:lnTo>
                    <a:lnTo>
                      <a:pt x="169" y="216"/>
                    </a:lnTo>
                    <a:lnTo>
                      <a:pt x="167" y="216"/>
                    </a:lnTo>
                    <a:lnTo>
                      <a:pt x="169" y="214"/>
                    </a:lnTo>
                    <a:lnTo>
                      <a:pt x="167" y="213"/>
                    </a:lnTo>
                    <a:lnTo>
                      <a:pt x="165" y="213"/>
                    </a:lnTo>
                    <a:lnTo>
                      <a:pt x="162" y="211"/>
                    </a:lnTo>
                    <a:lnTo>
                      <a:pt x="160" y="213"/>
                    </a:lnTo>
                    <a:lnTo>
                      <a:pt x="157" y="211"/>
                    </a:lnTo>
                    <a:lnTo>
                      <a:pt x="155" y="211"/>
                    </a:lnTo>
                    <a:lnTo>
                      <a:pt x="155" y="207"/>
                    </a:lnTo>
                    <a:lnTo>
                      <a:pt x="153" y="202"/>
                    </a:lnTo>
                    <a:lnTo>
                      <a:pt x="152" y="202"/>
                    </a:lnTo>
                    <a:lnTo>
                      <a:pt x="150" y="201"/>
                    </a:lnTo>
                    <a:lnTo>
                      <a:pt x="148" y="202"/>
                    </a:lnTo>
                    <a:lnTo>
                      <a:pt x="148" y="201"/>
                    </a:lnTo>
                    <a:lnTo>
                      <a:pt x="147" y="202"/>
                    </a:lnTo>
                    <a:lnTo>
                      <a:pt x="145" y="201"/>
                    </a:lnTo>
                    <a:lnTo>
                      <a:pt x="145" y="202"/>
                    </a:lnTo>
                    <a:lnTo>
                      <a:pt x="143" y="201"/>
                    </a:lnTo>
                    <a:lnTo>
                      <a:pt x="142" y="197"/>
                    </a:lnTo>
                    <a:lnTo>
                      <a:pt x="142" y="196"/>
                    </a:lnTo>
                    <a:lnTo>
                      <a:pt x="147" y="194"/>
                    </a:lnTo>
                    <a:lnTo>
                      <a:pt x="147" y="190"/>
                    </a:lnTo>
                    <a:lnTo>
                      <a:pt x="145" y="189"/>
                    </a:lnTo>
                    <a:lnTo>
                      <a:pt x="143" y="189"/>
                    </a:lnTo>
                    <a:lnTo>
                      <a:pt x="143" y="187"/>
                    </a:lnTo>
                    <a:lnTo>
                      <a:pt x="142" y="185"/>
                    </a:lnTo>
                    <a:lnTo>
                      <a:pt x="142" y="182"/>
                    </a:lnTo>
                    <a:lnTo>
                      <a:pt x="140" y="178"/>
                    </a:lnTo>
                    <a:lnTo>
                      <a:pt x="140" y="177"/>
                    </a:lnTo>
                    <a:lnTo>
                      <a:pt x="143" y="175"/>
                    </a:lnTo>
                    <a:lnTo>
                      <a:pt x="143" y="172"/>
                    </a:lnTo>
                    <a:lnTo>
                      <a:pt x="145" y="170"/>
                    </a:lnTo>
                    <a:lnTo>
                      <a:pt x="148" y="167"/>
                    </a:lnTo>
                    <a:lnTo>
                      <a:pt x="150" y="165"/>
                    </a:lnTo>
                    <a:lnTo>
                      <a:pt x="150" y="163"/>
                    </a:lnTo>
                    <a:lnTo>
                      <a:pt x="150" y="161"/>
                    </a:lnTo>
                    <a:lnTo>
                      <a:pt x="153" y="160"/>
                    </a:lnTo>
                    <a:lnTo>
                      <a:pt x="155" y="161"/>
                    </a:lnTo>
                    <a:lnTo>
                      <a:pt x="157" y="160"/>
                    </a:lnTo>
                    <a:lnTo>
                      <a:pt x="157" y="161"/>
                    </a:lnTo>
                    <a:lnTo>
                      <a:pt x="160" y="161"/>
                    </a:lnTo>
                    <a:lnTo>
                      <a:pt x="160" y="160"/>
                    </a:lnTo>
                    <a:lnTo>
                      <a:pt x="160" y="158"/>
                    </a:lnTo>
                    <a:lnTo>
                      <a:pt x="165" y="156"/>
                    </a:lnTo>
                    <a:lnTo>
                      <a:pt x="164" y="155"/>
                    </a:lnTo>
                    <a:lnTo>
                      <a:pt x="164" y="153"/>
                    </a:lnTo>
                    <a:lnTo>
                      <a:pt x="170" y="146"/>
                    </a:lnTo>
                    <a:lnTo>
                      <a:pt x="169" y="144"/>
                    </a:lnTo>
                    <a:lnTo>
                      <a:pt x="170" y="144"/>
                    </a:lnTo>
                    <a:lnTo>
                      <a:pt x="170" y="141"/>
                    </a:lnTo>
                    <a:lnTo>
                      <a:pt x="167" y="139"/>
                    </a:lnTo>
                    <a:lnTo>
                      <a:pt x="165" y="133"/>
                    </a:lnTo>
                    <a:lnTo>
                      <a:pt x="164" y="131"/>
                    </a:lnTo>
                    <a:lnTo>
                      <a:pt x="162" y="127"/>
                    </a:lnTo>
                    <a:lnTo>
                      <a:pt x="160" y="126"/>
                    </a:lnTo>
                    <a:lnTo>
                      <a:pt x="162" y="122"/>
                    </a:lnTo>
                    <a:lnTo>
                      <a:pt x="160" y="121"/>
                    </a:lnTo>
                    <a:lnTo>
                      <a:pt x="155" y="119"/>
                    </a:lnTo>
                    <a:lnTo>
                      <a:pt x="155" y="117"/>
                    </a:lnTo>
                    <a:lnTo>
                      <a:pt x="152" y="117"/>
                    </a:lnTo>
                    <a:lnTo>
                      <a:pt x="150" y="119"/>
                    </a:lnTo>
                    <a:lnTo>
                      <a:pt x="147" y="116"/>
                    </a:lnTo>
                    <a:lnTo>
                      <a:pt x="145" y="117"/>
                    </a:lnTo>
                    <a:lnTo>
                      <a:pt x="136" y="116"/>
                    </a:lnTo>
                    <a:lnTo>
                      <a:pt x="136" y="117"/>
                    </a:lnTo>
                    <a:lnTo>
                      <a:pt x="135" y="117"/>
                    </a:lnTo>
                    <a:lnTo>
                      <a:pt x="135" y="119"/>
                    </a:lnTo>
                    <a:lnTo>
                      <a:pt x="133" y="121"/>
                    </a:lnTo>
                    <a:lnTo>
                      <a:pt x="133" y="119"/>
                    </a:lnTo>
                    <a:lnTo>
                      <a:pt x="131" y="121"/>
                    </a:lnTo>
                    <a:lnTo>
                      <a:pt x="128" y="121"/>
                    </a:lnTo>
                    <a:lnTo>
                      <a:pt x="126" y="121"/>
                    </a:lnTo>
                    <a:lnTo>
                      <a:pt x="125" y="122"/>
                    </a:lnTo>
                    <a:lnTo>
                      <a:pt x="123" y="124"/>
                    </a:lnTo>
                    <a:lnTo>
                      <a:pt x="121" y="124"/>
                    </a:lnTo>
                    <a:lnTo>
                      <a:pt x="119" y="124"/>
                    </a:lnTo>
                    <a:lnTo>
                      <a:pt x="118" y="122"/>
                    </a:lnTo>
                    <a:lnTo>
                      <a:pt x="118" y="124"/>
                    </a:lnTo>
                    <a:lnTo>
                      <a:pt x="118" y="122"/>
                    </a:lnTo>
                    <a:lnTo>
                      <a:pt x="116" y="122"/>
                    </a:lnTo>
                    <a:lnTo>
                      <a:pt x="116" y="124"/>
                    </a:lnTo>
                    <a:lnTo>
                      <a:pt x="114" y="124"/>
                    </a:lnTo>
                    <a:lnTo>
                      <a:pt x="113" y="126"/>
                    </a:lnTo>
                    <a:lnTo>
                      <a:pt x="111" y="124"/>
                    </a:lnTo>
                    <a:lnTo>
                      <a:pt x="111" y="126"/>
                    </a:lnTo>
                    <a:lnTo>
                      <a:pt x="111" y="127"/>
                    </a:lnTo>
                    <a:lnTo>
                      <a:pt x="109" y="126"/>
                    </a:lnTo>
                    <a:lnTo>
                      <a:pt x="104" y="127"/>
                    </a:lnTo>
                    <a:lnTo>
                      <a:pt x="102" y="126"/>
                    </a:lnTo>
                    <a:lnTo>
                      <a:pt x="104" y="126"/>
                    </a:lnTo>
                    <a:lnTo>
                      <a:pt x="104" y="122"/>
                    </a:lnTo>
                    <a:lnTo>
                      <a:pt x="106" y="124"/>
                    </a:lnTo>
                    <a:lnTo>
                      <a:pt x="109" y="121"/>
                    </a:lnTo>
                    <a:lnTo>
                      <a:pt x="108" y="121"/>
                    </a:lnTo>
                    <a:lnTo>
                      <a:pt x="108" y="119"/>
                    </a:lnTo>
                    <a:lnTo>
                      <a:pt x="108" y="117"/>
                    </a:lnTo>
                    <a:lnTo>
                      <a:pt x="106" y="114"/>
                    </a:lnTo>
                    <a:lnTo>
                      <a:pt x="104" y="114"/>
                    </a:lnTo>
                    <a:lnTo>
                      <a:pt x="104" y="112"/>
                    </a:lnTo>
                    <a:lnTo>
                      <a:pt x="104" y="110"/>
                    </a:lnTo>
                    <a:lnTo>
                      <a:pt x="102" y="112"/>
                    </a:lnTo>
                    <a:lnTo>
                      <a:pt x="102" y="110"/>
                    </a:lnTo>
                    <a:lnTo>
                      <a:pt x="102" y="109"/>
                    </a:lnTo>
                    <a:lnTo>
                      <a:pt x="101" y="109"/>
                    </a:lnTo>
                    <a:lnTo>
                      <a:pt x="102" y="109"/>
                    </a:lnTo>
                    <a:lnTo>
                      <a:pt x="102" y="107"/>
                    </a:lnTo>
                    <a:lnTo>
                      <a:pt x="102" y="102"/>
                    </a:lnTo>
                    <a:lnTo>
                      <a:pt x="102" y="100"/>
                    </a:lnTo>
                    <a:lnTo>
                      <a:pt x="104" y="100"/>
                    </a:lnTo>
                    <a:lnTo>
                      <a:pt x="104" y="99"/>
                    </a:lnTo>
                    <a:lnTo>
                      <a:pt x="104" y="97"/>
                    </a:lnTo>
                    <a:lnTo>
                      <a:pt x="106" y="95"/>
                    </a:lnTo>
                    <a:lnTo>
                      <a:pt x="104" y="93"/>
                    </a:lnTo>
                    <a:lnTo>
                      <a:pt x="102" y="93"/>
                    </a:lnTo>
                    <a:lnTo>
                      <a:pt x="106" y="90"/>
                    </a:lnTo>
                    <a:lnTo>
                      <a:pt x="106" y="88"/>
                    </a:lnTo>
                    <a:lnTo>
                      <a:pt x="108" y="87"/>
                    </a:lnTo>
                    <a:lnTo>
                      <a:pt x="109" y="85"/>
                    </a:lnTo>
                    <a:lnTo>
                      <a:pt x="111" y="83"/>
                    </a:lnTo>
                    <a:lnTo>
                      <a:pt x="111" y="82"/>
                    </a:lnTo>
                    <a:lnTo>
                      <a:pt x="109" y="80"/>
                    </a:lnTo>
                    <a:lnTo>
                      <a:pt x="111" y="80"/>
                    </a:lnTo>
                    <a:lnTo>
                      <a:pt x="109" y="80"/>
                    </a:lnTo>
                    <a:lnTo>
                      <a:pt x="111" y="78"/>
                    </a:lnTo>
                    <a:lnTo>
                      <a:pt x="133" y="78"/>
                    </a:lnTo>
                    <a:lnTo>
                      <a:pt x="135" y="78"/>
                    </a:lnTo>
                    <a:lnTo>
                      <a:pt x="145" y="78"/>
                    </a:lnTo>
                    <a:lnTo>
                      <a:pt x="159" y="78"/>
                    </a:lnTo>
                    <a:lnTo>
                      <a:pt x="162" y="78"/>
                    </a:lnTo>
                    <a:lnTo>
                      <a:pt x="165" y="78"/>
                    </a:lnTo>
                    <a:lnTo>
                      <a:pt x="167" y="80"/>
                    </a:lnTo>
                    <a:lnTo>
                      <a:pt x="170" y="78"/>
                    </a:lnTo>
                    <a:lnTo>
                      <a:pt x="174" y="76"/>
                    </a:lnTo>
                    <a:lnTo>
                      <a:pt x="176" y="76"/>
                    </a:lnTo>
                    <a:lnTo>
                      <a:pt x="177" y="76"/>
                    </a:lnTo>
                    <a:lnTo>
                      <a:pt x="177" y="80"/>
                    </a:lnTo>
                    <a:lnTo>
                      <a:pt x="179" y="80"/>
                    </a:lnTo>
                    <a:lnTo>
                      <a:pt x="181" y="80"/>
                    </a:lnTo>
                    <a:lnTo>
                      <a:pt x="181" y="82"/>
                    </a:lnTo>
                    <a:lnTo>
                      <a:pt x="182" y="82"/>
                    </a:lnTo>
                    <a:lnTo>
                      <a:pt x="184" y="82"/>
                    </a:lnTo>
                    <a:lnTo>
                      <a:pt x="184" y="83"/>
                    </a:lnTo>
                    <a:lnTo>
                      <a:pt x="184" y="82"/>
                    </a:lnTo>
                    <a:lnTo>
                      <a:pt x="184" y="83"/>
                    </a:lnTo>
                    <a:lnTo>
                      <a:pt x="186" y="83"/>
                    </a:lnTo>
                    <a:lnTo>
                      <a:pt x="187" y="85"/>
                    </a:lnTo>
                    <a:lnTo>
                      <a:pt x="187" y="83"/>
                    </a:lnTo>
                    <a:lnTo>
                      <a:pt x="189" y="83"/>
                    </a:lnTo>
                    <a:lnTo>
                      <a:pt x="189" y="82"/>
                    </a:lnTo>
                    <a:lnTo>
                      <a:pt x="191" y="83"/>
                    </a:lnTo>
                    <a:lnTo>
                      <a:pt x="193" y="83"/>
                    </a:lnTo>
                    <a:lnTo>
                      <a:pt x="191" y="87"/>
                    </a:lnTo>
                    <a:lnTo>
                      <a:pt x="193" y="87"/>
                    </a:lnTo>
                    <a:lnTo>
                      <a:pt x="194" y="87"/>
                    </a:lnTo>
                    <a:lnTo>
                      <a:pt x="196" y="85"/>
                    </a:lnTo>
                    <a:lnTo>
                      <a:pt x="198" y="88"/>
                    </a:lnTo>
                    <a:lnTo>
                      <a:pt x="199" y="87"/>
                    </a:lnTo>
                    <a:lnTo>
                      <a:pt x="199" y="88"/>
                    </a:lnTo>
                    <a:lnTo>
                      <a:pt x="201" y="88"/>
                    </a:lnTo>
                    <a:lnTo>
                      <a:pt x="203" y="87"/>
                    </a:lnTo>
                    <a:lnTo>
                      <a:pt x="204" y="85"/>
                    </a:lnTo>
                    <a:lnTo>
                      <a:pt x="204" y="87"/>
                    </a:lnTo>
                    <a:lnTo>
                      <a:pt x="206" y="85"/>
                    </a:lnTo>
                    <a:lnTo>
                      <a:pt x="210" y="87"/>
                    </a:lnTo>
                    <a:lnTo>
                      <a:pt x="211" y="88"/>
                    </a:lnTo>
                    <a:lnTo>
                      <a:pt x="211" y="90"/>
                    </a:lnTo>
                    <a:lnTo>
                      <a:pt x="213" y="90"/>
                    </a:lnTo>
                    <a:lnTo>
                      <a:pt x="215" y="92"/>
                    </a:lnTo>
                    <a:lnTo>
                      <a:pt x="221" y="88"/>
                    </a:lnTo>
                    <a:lnTo>
                      <a:pt x="223" y="90"/>
                    </a:lnTo>
                    <a:lnTo>
                      <a:pt x="223" y="88"/>
                    </a:lnTo>
                    <a:lnTo>
                      <a:pt x="225" y="90"/>
                    </a:lnTo>
                    <a:lnTo>
                      <a:pt x="230" y="90"/>
                    </a:lnTo>
                    <a:lnTo>
                      <a:pt x="232" y="90"/>
                    </a:lnTo>
                    <a:lnTo>
                      <a:pt x="233" y="92"/>
                    </a:lnTo>
                    <a:lnTo>
                      <a:pt x="235" y="92"/>
                    </a:lnTo>
                    <a:lnTo>
                      <a:pt x="237" y="95"/>
                    </a:lnTo>
                    <a:lnTo>
                      <a:pt x="240" y="95"/>
                    </a:lnTo>
                    <a:lnTo>
                      <a:pt x="242" y="99"/>
                    </a:lnTo>
                    <a:lnTo>
                      <a:pt x="242" y="97"/>
                    </a:lnTo>
                    <a:lnTo>
                      <a:pt x="242" y="99"/>
                    </a:lnTo>
                    <a:lnTo>
                      <a:pt x="245" y="99"/>
                    </a:lnTo>
                    <a:lnTo>
                      <a:pt x="249" y="99"/>
                    </a:lnTo>
                    <a:lnTo>
                      <a:pt x="247" y="102"/>
                    </a:lnTo>
                    <a:lnTo>
                      <a:pt x="249" y="104"/>
                    </a:lnTo>
                    <a:lnTo>
                      <a:pt x="250" y="105"/>
                    </a:lnTo>
                    <a:lnTo>
                      <a:pt x="252" y="102"/>
                    </a:lnTo>
                    <a:lnTo>
                      <a:pt x="254" y="102"/>
                    </a:lnTo>
                    <a:lnTo>
                      <a:pt x="254" y="104"/>
                    </a:lnTo>
                    <a:lnTo>
                      <a:pt x="254" y="102"/>
                    </a:lnTo>
                    <a:lnTo>
                      <a:pt x="254" y="100"/>
                    </a:lnTo>
                    <a:lnTo>
                      <a:pt x="254" y="97"/>
                    </a:lnTo>
                    <a:lnTo>
                      <a:pt x="252" y="93"/>
                    </a:lnTo>
                    <a:lnTo>
                      <a:pt x="250" y="90"/>
                    </a:lnTo>
                    <a:lnTo>
                      <a:pt x="249" y="88"/>
                    </a:lnTo>
                    <a:lnTo>
                      <a:pt x="250" y="87"/>
                    </a:lnTo>
                    <a:lnTo>
                      <a:pt x="250" y="85"/>
                    </a:lnTo>
                    <a:lnTo>
                      <a:pt x="250" y="83"/>
                    </a:lnTo>
                    <a:lnTo>
                      <a:pt x="252" y="83"/>
                    </a:lnTo>
                    <a:lnTo>
                      <a:pt x="250" y="78"/>
                    </a:lnTo>
                    <a:lnTo>
                      <a:pt x="252" y="76"/>
                    </a:lnTo>
                    <a:lnTo>
                      <a:pt x="254" y="76"/>
                    </a:lnTo>
                    <a:lnTo>
                      <a:pt x="254" y="78"/>
                    </a:lnTo>
                    <a:lnTo>
                      <a:pt x="257" y="76"/>
                    </a:lnTo>
                    <a:lnTo>
                      <a:pt x="267" y="56"/>
                    </a:lnTo>
                    <a:lnTo>
                      <a:pt x="271" y="46"/>
                    </a:lnTo>
                    <a:lnTo>
                      <a:pt x="272" y="44"/>
                    </a:lnTo>
                    <a:lnTo>
                      <a:pt x="272" y="42"/>
                    </a:lnTo>
                    <a:lnTo>
                      <a:pt x="271" y="39"/>
                    </a:lnTo>
                    <a:lnTo>
                      <a:pt x="272" y="37"/>
                    </a:lnTo>
                    <a:lnTo>
                      <a:pt x="272" y="34"/>
                    </a:lnTo>
                    <a:lnTo>
                      <a:pt x="272" y="31"/>
                    </a:lnTo>
                    <a:lnTo>
                      <a:pt x="276" y="19"/>
                    </a:lnTo>
                    <a:lnTo>
                      <a:pt x="276" y="12"/>
                    </a:lnTo>
                    <a:lnTo>
                      <a:pt x="281" y="10"/>
                    </a:lnTo>
                    <a:lnTo>
                      <a:pt x="289" y="10"/>
                    </a:lnTo>
                    <a:lnTo>
                      <a:pt x="293" y="7"/>
                    </a:lnTo>
                    <a:lnTo>
                      <a:pt x="298" y="8"/>
                    </a:lnTo>
                    <a:lnTo>
                      <a:pt x="310" y="8"/>
                    </a:lnTo>
                    <a:lnTo>
                      <a:pt x="310" y="7"/>
                    </a:lnTo>
                    <a:lnTo>
                      <a:pt x="310" y="5"/>
                    </a:lnTo>
                    <a:lnTo>
                      <a:pt x="312" y="5"/>
                    </a:lnTo>
                    <a:lnTo>
                      <a:pt x="315" y="5"/>
                    </a:lnTo>
                    <a:lnTo>
                      <a:pt x="317" y="5"/>
                    </a:lnTo>
                    <a:lnTo>
                      <a:pt x="318" y="3"/>
                    </a:lnTo>
                    <a:lnTo>
                      <a:pt x="322" y="0"/>
                    </a:lnTo>
                    <a:lnTo>
                      <a:pt x="325" y="2"/>
                    </a:lnTo>
                    <a:lnTo>
                      <a:pt x="329" y="5"/>
                    </a:lnTo>
                    <a:lnTo>
                      <a:pt x="334" y="3"/>
                    </a:lnTo>
                    <a:lnTo>
                      <a:pt x="339" y="5"/>
                    </a:lnTo>
                    <a:lnTo>
                      <a:pt x="340" y="7"/>
                    </a:lnTo>
                    <a:lnTo>
                      <a:pt x="340" y="8"/>
                    </a:lnTo>
                    <a:lnTo>
                      <a:pt x="344" y="8"/>
                    </a:lnTo>
                    <a:lnTo>
                      <a:pt x="346" y="7"/>
                    </a:lnTo>
                    <a:lnTo>
                      <a:pt x="347" y="8"/>
                    </a:lnTo>
                    <a:lnTo>
                      <a:pt x="349" y="7"/>
                    </a:lnTo>
                    <a:lnTo>
                      <a:pt x="354" y="8"/>
                    </a:lnTo>
                    <a:lnTo>
                      <a:pt x="356" y="8"/>
                    </a:lnTo>
                    <a:lnTo>
                      <a:pt x="357" y="12"/>
                    </a:lnTo>
                    <a:lnTo>
                      <a:pt x="361" y="12"/>
                    </a:lnTo>
                    <a:lnTo>
                      <a:pt x="363" y="7"/>
                    </a:lnTo>
                    <a:lnTo>
                      <a:pt x="364" y="7"/>
                    </a:lnTo>
                    <a:lnTo>
                      <a:pt x="366" y="5"/>
                    </a:lnTo>
                    <a:lnTo>
                      <a:pt x="369" y="7"/>
                    </a:lnTo>
                    <a:lnTo>
                      <a:pt x="369" y="5"/>
                    </a:lnTo>
                    <a:lnTo>
                      <a:pt x="371" y="7"/>
                    </a:lnTo>
                    <a:lnTo>
                      <a:pt x="373" y="3"/>
                    </a:lnTo>
                    <a:lnTo>
                      <a:pt x="376" y="7"/>
                    </a:lnTo>
                    <a:lnTo>
                      <a:pt x="378" y="12"/>
                    </a:lnTo>
                    <a:lnTo>
                      <a:pt x="380" y="12"/>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6" name="Freeform 22">
                <a:extLst>
                  <a:ext uri="{FF2B5EF4-FFF2-40B4-BE49-F238E27FC236}">
                    <a16:creationId xmlns:a16="http://schemas.microsoft.com/office/drawing/2014/main" id="{1A5B1834-4BE0-445E-A351-5376DE903655}"/>
                  </a:ext>
                </a:extLst>
              </p:cNvPr>
              <p:cNvSpPr>
                <a:spLocks noEditPoints="1"/>
              </p:cNvSpPr>
              <p:nvPr/>
            </p:nvSpPr>
            <p:spPr bwMode="gray">
              <a:xfrm>
                <a:off x="5557838" y="3019425"/>
                <a:ext cx="1538287" cy="1517650"/>
              </a:xfrm>
              <a:custGeom>
                <a:avLst/>
                <a:gdLst>
                  <a:gd name="T0" fmla="*/ 809 w 969"/>
                  <a:gd name="T1" fmla="*/ 53 h 956"/>
                  <a:gd name="T2" fmla="*/ 865 w 969"/>
                  <a:gd name="T3" fmla="*/ 53 h 956"/>
                  <a:gd name="T4" fmla="*/ 903 w 969"/>
                  <a:gd name="T5" fmla="*/ 63 h 956"/>
                  <a:gd name="T6" fmla="*/ 945 w 969"/>
                  <a:gd name="T7" fmla="*/ 92 h 956"/>
                  <a:gd name="T8" fmla="*/ 938 w 969"/>
                  <a:gd name="T9" fmla="*/ 150 h 956"/>
                  <a:gd name="T10" fmla="*/ 918 w 969"/>
                  <a:gd name="T11" fmla="*/ 216 h 956"/>
                  <a:gd name="T12" fmla="*/ 896 w 969"/>
                  <a:gd name="T13" fmla="*/ 241 h 956"/>
                  <a:gd name="T14" fmla="*/ 884 w 969"/>
                  <a:gd name="T15" fmla="*/ 306 h 956"/>
                  <a:gd name="T16" fmla="*/ 867 w 969"/>
                  <a:gd name="T17" fmla="*/ 354 h 956"/>
                  <a:gd name="T18" fmla="*/ 850 w 969"/>
                  <a:gd name="T19" fmla="*/ 415 h 956"/>
                  <a:gd name="T20" fmla="*/ 862 w 969"/>
                  <a:gd name="T21" fmla="*/ 461 h 956"/>
                  <a:gd name="T22" fmla="*/ 914 w 969"/>
                  <a:gd name="T23" fmla="*/ 629 h 956"/>
                  <a:gd name="T24" fmla="*/ 835 w 969"/>
                  <a:gd name="T25" fmla="*/ 759 h 956"/>
                  <a:gd name="T26" fmla="*/ 833 w 969"/>
                  <a:gd name="T27" fmla="*/ 815 h 956"/>
                  <a:gd name="T28" fmla="*/ 819 w 969"/>
                  <a:gd name="T29" fmla="*/ 861 h 956"/>
                  <a:gd name="T30" fmla="*/ 852 w 969"/>
                  <a:gd name="T31" fmla="*/ 896 h 956"/>
                  <a:gd name="T32" fmla="*/ 886 w 969"/>
                  <a:gd name="T33" fmla="*/ 893 h 956"/>
                  <a:gd name="T34" fmla="*/ 869 w 969"/>
                  <a:gd name="T35" fmla="*/ 951 h 956"/>
                  <a:gd name="T36" fmla="*/ 836 w 969"/>
                  <a:gd name="T37" fmla="*/ 927 h 956"/>
                  <a:gd name="T38" fmla="*/ 801 w 969"/>
                  <a:gd name="T39" fmla="*/ 900 h 956"/>
                  <a:gd name="T40" fmla="*/ 761 w 969"/>
                  <a:gd name="T41" fmla="*/ 864 h 956"/>
                  <a:gd name="T42" fmla="*/ 709 w 969"/>
                  <a:gd name="T43" fmla="*/ 878 h 956"/>
                  <a:gd name="T44" fmla="*/ 663 w 969"/>
                  <a:gd name="T45" fmla="*/ 849 h 956"/>
                  <a:gd name="T46" fmla="*/ 617 w 969"/>
                  <a:gd name="T47" fmla="*/ 844 h 956"/>
                  <a:gd name="T48" fmla="*/ 554 w 969"/>
                  <a:gd name="T49" fmla="*/ 835 h 956"/>
                  <a:gd name="T50" fmla="*/ 505 w 969"/>
                  <a:gd name="T51" fmla="*/ 825 h 956"/>
                  <a:gd name="T52" fmla="*/ 493 w 969"/>
                  <a:gd name="T53" fmla="*/ 765 h 956"/>
                  <a:gd name="T54" fmla="*/ 493 w 969"/>
                  <a:gd name="T55" fmla="*/ 709 h 956"/>
                  <a:gd name="T56" fmla="*/ 486 w 969"/>
                  <a:gd name="T57" fmla="*/ 662 h 956"/>
                  <a:gd name="T58" fmla="*/ 421 w 969"/>
                  <a:gd name="T59" fmla="*/ 636 h 956"/>
                  <a:gd name="T60" fmla="*/ 362 w 969"/>
                  <a:gd name="T61" fmla="*/ 658 h 956"/>
                  <a:gd name="T62" fmla="*/ 301 w 969"/>
                  <a:gd name="T63" fmla="*/ 680 h 956"/>
                  <a:gd name="T64" fmla="*/ 262 w 969"/>
                  <a:gd name="T65" fmla="*/ 670 h 956"/>
                  <a:gd name="T66" fmla="*/ 248 w 969"/>
                  <a:gd name="T67" fmla="*/ 646 h 956"/>
                  <a:gd name="T68" fmla="*/ 231 w 969"/>
                  <a:gd name="T69" fmla="*/ 609 h 956"/>
                  <a:gd name="T70" fmla="*/ 224 w 969"/>
                  <a:gd name="T71" fmla="*/ 580 h 956"/>
                  <a:gd name="T72" fmla="*/ 109 w 969"/>
                  <a:gd name="T73" fmla="*/ 571 h 956"/>
                  <a:gd name="T74" fmla="*/ 46 w 969"/>
                  <a:gd name="T75" fmla="*/ 571 h 956"/>
                  <a:gd name="T76" fmla="*/ 5 w 969"/>
                  <a:gd name="T77" fmla="*/ 565 h 956"/>
                  <a:gd name="T78" fmla="*/ 34 w 969"/>
                  <a:gd name="T79" fmla="*/ 515 h 956"/>
                  <a:gd name="T80" fmla="*/ 59 w 969"/>
                  <a:gd name="T81" fmla="*/ 520 h 956"/>
                  <a:gd name="T82" fmla="*/ 78 w 969"/>
                  <a:gd name="T83" fmla="*/ 498 h 956"/>
                  <a:gd name="T84" fmla="*/ 110 w 969"/>
                  <a:gd name="T85" fmla="*/ 505 h 956"/>
                  <a:gd name="T86" fmla="*/ 156 w 969"/>
                  <a:gd name="T87" fmla="*/ 490 h 956"/>
                  <a:gd name="T88" fmla="*/ 202 w 969"/>
                  <a:gd name="T89" fmla="*/ 413 h 956"/>
                  <a:gd name="T90" fmla="*/ 262 w 969"/>
                  <a:gd name="T91" fmla="*/ 321 h 956"/>
                  <a:gd name="T92" fmla="*/ 287 w 969"/>
                  <a:gd name="T93" fmla="*/ 236 h 956"/>
                  <a:gd name="T94" fmla="*/ 316 w 969"/>
                  <a:gd name="T95" fmla="*/ 126 h 956"/>
                  <a:gd name="T96" fmla="*/ 338 w 969"/>
                  <a:gd name="T97" fmla="*/ 41 h 956"/>
                  <a:gd name="T98" fmla="*/ 403 w 969"/>
                  <a:gd name="T99" fmla="*/ 25 h 956"/>
                  <a:gd name="T100" fmla="*/ 461 w 969"/>
                  <a:gd name="T101" fmla="*/ 54 h 956"/>
                  <a:gd name="T102" fmla="*/ 525 w 969"/>
                  <a:gd name="T103" fmla="*/ 51 h 956"/>
                  <a:gd name="T104" fmla="*/ 556 w 969"/>
                  <a:gd name="T105" fmla="*/ 34 h 956"/>
                  <a:gd name="T106" fmla="*/ 595 w 969"/>
                  <a:gd name="T107" fmla="*/ 27 h 956"/>
                  <a:gd name="T108" fmla="*/ 620 w 969"/>
                  <a:gd name="T109" fmla="*/ 15 h 956"/>
                  <a:gd name="T110" fmla="*/ 656 w 969"/>
                  <a:gd name="T111" fmla="*/ 19 h 956"/>
                  <a:gd name="T112" fmla="*/ 675 w 969"/>
                  <a:gd name="T113" fmla="*/ 2 h 956"/>
                  <a:gd name="T114" fmla="*/ 692 w 969"/>
                  <a:gd name="T115" fmla="*/ 10 h 956"/>
                  <a:gd name="T116" fmla="*/ 710 w 969"/>
                  <a:gd name="T117" fmla="*/ 12 h 956"/>
                  <a:gd name="T118" fmla="*/ 726 w 969"/>
                  <a:gd name="T119" fmla="*/ 19 h 956"/>
                  <a:gd name="T120" fmla="*/ 772 w 969"/>
                  <a:gd name="T121" fmla="*/ 17 h 956"/>
                  <a:gd name="T122" fmla="*/ 39 w 969"/>
                  <a:gd name="T123" fmla="*/ 570 h 956"/>
                  <a:gd name="T124" fmla="*/ 34 w 969"/>
                  <a:gd name="T125" fmla="*/ 575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9" h="956">
                    <a:moveTo>
                      <a:pt x="772" y="17"/>
                    </a:moveTo>
                    <a:lnTo>
                      <a:pt x="772" y="20"/>
                    </a:lnTo>
                    <a:lnTo>
                      <a:pt x="777" y="25"/>
                    </a:lnTo>
                    <a:lnTo>
                      <a:pt x="778" y="27"/>
                    </a:lnTo>
                    <a:lnTo>
                      <a:pt x="784" y="27"/>
                    </a:lnTo>
                    <a:lnTo>
                      <a:pt x="784" y="29"/>
                    </a:lnTo>
                    <a:lnTo>
                      <a:pt x="785" y="32"/>
                    </a:lnTo>
                    <a:lnTo>
                      <a:pt x="787" y="32"/>
                    </a:lnTo>
                    <a:lnTo>
                      <a:pt x="789" y="32"/>
                    </a:lnTo>
                    <a:lnTo>
                      <a:pt x="789" y="37"/>
                    </a:lnTo>
                    <a:lnTo>
                      <a:pt x="787" y="39"/>
                    </a:lnTo>
                    <a:lnTo>
                      <a:pt x="789" y="42"/>
                    </a:lnTo>
                    <a:lnTo>
                      <a:pt x="792" y="42"/>
                    </a:lnTo>
                    <a:lnTo>
                      <a:pt x="794" y="44"/>
                    </a:lnTo>
                    <a:lnTo>
                      <a:pt x="795" y="42"/>
                    </a:lnTo>
                    <a:lnTo>
                      <a:pt x="801" y="44"/>
                    </a:lnTo>
                    <a:lnTo>
                      <a:pt x="802" y="47"/>
                    </a:lnTo>
                    <a:lnTo>
                      <a:pt x="804" y="49"/>
                    </a:lnTo>
                    <a:lnTo>
                      <a:pt x="807" y="49"/>
                    </a:lnTo>
                    <a:lnTo>
                      <a:pt x="809" y="53"/>
                    </a:lnTo>
                    <a:lnTo>
                      <a:pt x="811" y="54"/>
                    </a:lnTo>
                    <a:lnTo>
                      <a:pt x="818" y="54"/>
                    </a:lnTo>
                    <a:lnTo>
                      <a:pt x="819" y="56"/>
                    </a:lnTo>
                    <a:lnTo>
                      <a:pt x="821" y="58"/>
                    </a:lnTo>
                    <a:lnTo>
                      <a:pt x="824" y="56"/>
                    </a:lnTo>
                    <a:lnTo>
                      <a:pt x="826" y="53"/>
                    </a:lnTo>
                    <a:lnTo>
                      <a:pt x="828" y="53"/>
                    </a:lnTo>
                    <a:lnTo>
                      <a:pt x="829" y="51"/>
                    </a:lnTo>
                    <a:lnTo>
                      <a:pt x="833" y="51"/>
                    </a:lnTo>
                    <a:lnTo>
                      <a:pt x="836" y="44"/>
                    </a:lnTo>
                    <a:lnTo>
                      <a:pt x="840" y="42"/>
                    </a:lnTo>
                    <a:lnTo>
                      <a:pt x="841" y="42"/>
                    </a:lnTo>
                    <a:lnTo>
                      <a:pt x="841" y="47"/>
                    </a:lnTo>
                    <a:lnTo>
                      <a:pt x="848" y="47"/>
                    </a:lnTo>
                    <a:lnTo>
                      <a:pt x="850" y="46"/>
                    </a:lnTo>
                    <a:lnTo>
                      <a:pt x="852" y="46"/>
                    </a:lnTo>
                    <a:lnTo>
                      <a:pt x="857" y="51"/>
                    </a:lnTo>
                    <a:lnTo>
                      <a:pt x="858" y="53"/>
                    </a:lnTo>
                    <a:lnTo>
                      <a:pt x="862" y="53"/>
                    </a:lnTo>
                    <a:lnTo>
                      <a:pt x="865" y="53"/>
                    </a:lnTo>
                    <a:lnTo>
                      <a:pt x="869" y="47"/>
                    </a:lnTo>
                    <a:lnTo>
                      <a:pt x="870" y="47"/>
                    </a:lnTo>
                    <a:lnTo>
                      <a:pt x="872" y="44"/>
                    </a:lnTo>
                    <a:lnTo>
                      <a:pt x="874" y="44"/>
                    </a:lnTo>
                    <a:lnTo>
                      <a:pt x="875" y="36"/>
                    </a:lnTo>
                    <a:lnTo>
                      <a:pt x="879" y="37"/>
                    </a:lnTo>
                    <a:lnTo>
                      <a:pt x="880" y="39"/>
                    </a:lnTo>
                    <a:lnTo>
                      <a:pt x="882" y="37"/>
                    </a:lnTo>
                    <a:lnTo>
                      <a:pt x="886" y="41"/>
                    </a:lnTo>
                    <a:lnTo>
                      <a:pt x="889" y="41"/>
                    </a:lnTo>
                    <a:lnTo>
                      <a:pt x="892" y="44"/>
                    </a:lnTo>
                    <a:lnTo>
                      <a:pt x="891" y="46"/>
                    </a:lnTo>
                    <a:lnTo>
                      <a:pt x="891" y="51"/>
                    </a:lnTo>
                    <a:lnTo>
                      <a:pt x="894" y="53"/>
                    </a:lnTo>
                    <a:lnTo>
                      <a:pt x="896" y="53"/>
                    </a:lnTo>
                    <a:lnTo>
                      <a:pt x="899" y="54"/>
                    </a:lnTo>
                    <a:lnTo>
                      <a:pt x="899" y="56"/>
                    </a:lnTo>
                    <a:lnTo>
                      <a:pt x="899" y="59"/>
                    </a:lnTo>
                    <a:lnTo>
                      <a:pt x="901" y="59"/>
                    </a:lnTo>
                    <a:lnTo>
                      <a:pt x="903" y="63"/>
                    </a:lnTo>
                    <a:lnTo>
                      <a:pt x="909" y="64"/>
                    </a:lnTo>
                    <a:lnTo>
                      <a:pt x="909" y="70"/>
                    </a:lnTo>
                    <a:lnTo>
                      <a:pt x="911" y="70"/>
                    </a:lnTo>
                    <a:lnTo>
                      <a:pt x="911" y="75"/>
                    </a:lnTo>
                    <a:lnTo>
                      <a:pt x="914" y="73"/>
                    </a:lnTo>
                    <a:lnTo>
                      <a:pt x="923" y="76"/>
                    </a:lnTo>
                    <a:lnTo>
                      <a:pt x="925" y="78"/>
                    </a:lnTo>
                    <a:lnTo>
                      <a:pt x="928" y="78"/>
                    </a:lnTo>
                    <a:lnTo>
                      <a:pt x="930" y="80"/>
                    </a:lnTo>
                    <a:lnTo>
                      <a:pt x="930" y="83"/>
                    </a:lnTo>
                    <a:lnTo>
                      <a:pt x="930" y="88"/>
                    </a:lnTo>
                    <a:lnTo>
                      <a:pt x="928" y="90"/>
                    </a:lnTo>
                    <a:lnTo>
                      <a:pt x="931" y="92"/>
                    </a:lnTo>
                    <a:lnTo>
                      <a:pt x="935" y="88"/>
                    </a:lnTo>
                    <a:lnTo>
                      <a:pt x="938" y="88"/>
                    </a:lnTo>
                    <a:lnTo>
                      <a:pt x="938" y="87"/>
                    </a:lnTo>
                    <a:lnTo>
                      <a:pt x="940" y="87"/>
                    </a:lnTo>
                    <a:lnTo>
                      <a:pt x="942" y="87"/>
                    </a:lnTo>
                    <a:lnTo>
                      <a:pt x="942" y="92"/>
                    </a:lnTo>
                    <a:lnTo>
                      <a:pt x="945" y="92"/>
                    </a:lnTo>
                    <a:lnTo>
                      <a:pt x="943" y="95"/>
                    </a:lnTo>
                    <a:lnTo>
                      <a:pt x="945" y="97"/>
                    </a:lnTo>
                    <a:lnTo>
                      <a:pt x="947" y="95"/>
                    </a:lnTo>
                    <a:lnTo>
                      <a:pt x="948" y="97"/>
                    </a:lnTo>
                    <a:lnTo>
                      <a:pt x="948" y="100"/>
                    </a:lnTo>
                    <a:lnTo>
                      <a:pt x="947" y="104"/>
                    </a:lnTo>
                    <a:lnTo>
                      <a:pt x="945" y="107"/>
                    </a:lnTo>
                    <a:lnTo>
                      <a:pt x="943" y="107"/>
                    </a:lnTo>
                    <a:lnTo>
                      <a:pt x="942" y="109"/>
                    </a:lnTo>
                    <a:lnTo>
                      <a:pt x="943" y="110"/>
                    </a:lnTo>
                    <a:lnTo>
                      <a:pt x="940" y="119"/>
                    </a:lnTo>
                    <a:lnTo>
                      <a:pt x="945" y="124"/>
                    </a:lnTo>
                    <a:lnTo>
                      <a:pt x="947" y="126"/>
                    </a:lnTo>
                    <a:lnTo>
                      <a:pt x="947" y="129"/>
                    </a:lnTo>
                    <a:lnTo>
                      <a:pt x="942" y="138"/>
                    </a:lnTo>
                    <a:lnTo>
                      <a:pt x="942" y="139"/>
                    </a:lnTo>
                    <a:lnTo>
                      <a:pt x="940" y="143"/>
                    </a:lnTo>
                    <a:lnTo>
                      <a:pt x="940" y="146"/>
                    </a:lnTo>
                    <a:lnTo>
                      <a:pt x="938" y="148"/>
                    </a:lnTo>
                    <a:lnTo>
                      <a:pt x="938" y="150"/>
                    </a:lnTo>
                    <a:lnTo>
                      <a:pt x="943" y="150"/>
                    </a:lnTo>
                    <a:lnTo>
                      <a:pt x="945" y="151"/>
                    </a:lnTo>
                    <a:lnTo>
                      <a:pt x="945" y="153"/>
                    </a:lnTo>
                    <a:lnTo>
                      <a:pt x="947" y="155"/>
                    </a:lnTo>
                    <a:lnTo>
                      <a:pt x="948" y="153"/>
                    </a:lnTo>
                    <a:lnTo>
                      <a:pt x="950" y="151"/>
                    </a:lnTo>
                    <a:lnTo>
                      <a:pt x="954" y="151"/>
                    </a:lnTo>
                    <a:lnTo>
                      <a:pt x="955" y="155"/>
                    </a:lnTo>
                    <a:lnTo>
                      <a:pt x="957" y="156"/>
                    </a:lnTo>
                    <a:lnTo>
                      <a:pt x="964" y="158"/>
                    </a:lnTo>
                    <a:lnTo>
                      <a:pt x="965" y="161"/>
                    </a:lnTo>
                    <a:lnTo>
                      <a:pt x="969" y="165"/>
                    </a:lnTo>
                    <a:lnTo>
                      <a:pt x="964" y="175"/>
                    </a:lnTo>
                    <a:lnTo>
                      <a:pt x="954" y="184"/>
                    </a:lnTo>
                    <a:lnTo>
                      <a:pt x="938" y="197"/>
                    </a:lnTo>
                    <a:lnTo>
                      <a:pt x="931" y="206"/>
                    </a:lnTo>
                    <a:lnTo>
                      <a:pt x="926" y="207"/>
                    </a:lnTo>
                    <a:lnTo>
                      <a:pt x="923" y="211"/>
                    </a:lnTo>
                    <a:lnTo>
                      <a:pt x="920" y="212"/>
                    </a:lnTo>
                    <a:lnTo>
                      <a:pt x="918" y="216"/>
                    </a:lnTo>
                    <a:lnTo>
                      <a:pt x="916" y="216"/>
                    </a:lnTo>
                    <a:lnTo>
                      <a:pt x="916" y="214"/>
                    </a:lnTo>
                    <a:lnTo>
                      <a:pt x="913" y="216"/>
                    </a:lnTo>
                    <a:lnTo>
                      <a:pt x="913" y="218"/>
                    </a:lnTo>
                    <a:lnTo>
                      <a:pt x="913" y="221"/>
                    </a:lnTo>
                    <a:lnTo>
                      <a:pt x="913" y="223"/>
                    </a:lnTo>
                    <a:lnTo>
                      <a:pt x="911" y="224"/>
                    </a:lnTo>
                    <a:lnTo>
                      <a:pt x="913" y="224"/>
                    </a:lnTo>
                    <a:lnTo>
                      <a:pt x="911" y="224"/>
                    </a:lnTo>
                    <a:lnTo>
                      <a:pt x="909" y="226"/>
                    </a:lnTo>
                    <a:lnTo>
                      <a:pt x="909" y="228"/>
                    </a:lnTo>
                    <a:lnTo>
                      <a:pt x="909" y="229"/>
                    </a:lnTo>
                    <a:lnTo>
                      <a:pt x="906" y="228"/>
                    </a:lnTo>
                    <a:lnTo>
                      <a:pt x="899" y="231"/>
                    </a:lnTo>
                    <a:lnTo>
                      <a:pt x="899" y="233"/>
                    </a:lnTo>
                    <a:lnTo>
                      <a:pt x="897" y="233"/>
                    </a:lnTo>
                    <a:lnTo>
                      <a:pt x="899" y="233"/>
                    </a:lnTo>
                    <a:lnTo>
                      <a:pt x="897" y="236"/>
                    </a:lnTo>
                    <a:lnTo>
                      <a:pt x="897" y="238"/>
                    </a:lnTo>
                    <a:lnTo>
                      <a:pt x="896" y="241"/>
                    </a:lnTo>
                    <a:lnTo>
                      <a:pt x="897" y="243"/>
                    </a:lnTo>
                    <a:lnTo>
                      <a:pt x="897" y="248"/>
                    </a:lnTo>
                    <a:lnTo>
                      <a:pt x="899" y="252"/>
                    </a:lnTo>
                    <a:lnTo>
                      <a:pt x="897" y="255"/>
                    </a:lnTo>
                    <a:lnTo>
                      <a:pt x="894" y="257"/>
                    </a:lnTo>
                    <a:lnTo>
                      <a:pt x="894" y="258"/>
                    </a:lnTo>
                    <a:lnTo>
                      <a:pt x="892" y="262"/>
                    </a:lnTo>
                    <a:lnTo>
                      <a:pt x="892" y="265"/>
                    </a:lnTo>
                    <a:lnTo>
                      <a:pt x="889" y="267"/>
                    </a:lnTo>
                    <a:lnTo>
                      <a:pt x="887" y="270"/>
                    </a:lnTo>
                    <a:lnTo>
                      <a:pt x="887" y="274"/>
                    </a:lnTo>
                    <a:lnTo>
                      <a:pt x="887" y="275"/>
                    </a:lnTo>
                    <a:lnTo>
                      <a:pt x="887" y="277"/>
                    </a:lnTo>
                    <a:lnTo>
                      <a:pt x="887" y="281"/>
                    </a:lnTo>
                    <a:lnTo>
                      <a:pt x="887" y="282"/>
                    </a:lnTo>
                    <a:lnTo>
                      <a:pt x="886" y="284"/>
                    </a:lnTo>
                    <a:lnTo>
                      <a:pt x="880" y="289"/>
                    </a:lnTo>
                    <a:lnTo>
                      <a:pt x="886" y="296"/>
                    </a:lnTo>
                    <a:lnTo>
                      <a:pt x="884" y="301"/>
                    </a:lnTo>
                    <a:lnTo>
                      <a:pt x="884" y="306"/>
                    </a:lnTo>
                    <a:lnTo>
                      <a:pt x="882" y="309"/>
                    </a:lnTo>
                    <a:lnTo>
                      <a:pt x="882" y="316"/>
                    </a:lnTo>
                    <a:lnTo>
                      <a:pt x="882" y="318"/>
                    </a:lnTo>
                    <a:lnTo>
                      <a:pt x="882" y="320"/>
                    </a:lnTo>
                    <a:lnTo>
                      <a:pt x="880" y="320"/>
                    </a:lnTo>
                    <a:lnTo>
                      <a:pt x="879" y="320"/>
                    </a:lnTo>
                    <a:lnTo>
                      <a:pt x="880" y="323"/>
                    </a:lnTo>
                    <a:lnTo>
                      <a:pt x="879" y="325"/>
                    </a:lnTo>
                    <a:lnTo>
                      <a:pt x="879" y="328"/>
                    </a:lnTo>
                    <a:lnTo>
                      <a:pt x="879" y="330"/>
                    </a:lnTo>
                    <a:lnTo>
                      <a:pt x="879" y="333"/>
                    </a:lnTo>
                    <a:lnTo>
                      <a:pt x="880" y="337"/>
                    </a:lnTo>
                    <a:lnTo>
                      <a:pt x="879" y="338"/>
                    </a:lnTo>
                    <a:lnTo>
                      <a:pt x="880" y="343"/>
                    </a:lnTo>
                    <a:lnTo>
                      <a:pt x="879" y="343"/>
                    </a:lnTo>
                    <a:lnTo>
                      <a:pt x="877" y="345"/>
                    </a:lnTo>
                    <a:lnTo>
                      <a:pt x="875" y="349"/>
                    </a:lnTo>
                    <a:lnTo>
                      <a:pt x="872" y="350"/>
                    </a:lnTo>
                    <a:lnTo>
                      <a:pt x="869" y="352"/>
                    </a:lnTo>
                    <a:lnTo>
                      <a:pt x="867" y="354"/>
                    </a:lnTo>
                    <a:lnTo>
                      <a:pt x="863" y="357"/>
                    </a:lnTo>
                    <a:lnTo>
                      <a:pt x="863" y="360"/>
                    </a:lnTo>
                    <a:lnTo>
                      <a:pt x="862" y="362"/>
                    </a:lnTo>
                    <a:lnTo>
                      <a:pt x="858" y="381"/>
                    </a:lnTo>
                    <a:lnTo>
                      <a:pt x="855" y="388"/>
                    </a:lnTo>
                    <a:lnTo>
                      <a:pt x="853" y="389"/>
                    </a:lnTo>
                    <a:lnTo>
                      <a:pt x="850" y="389"/>
                    </a:lnTo>
                    <a:lnTo>
                      <a:pt x="850" y="391"/>
                    </a:lnTo>
                    <a:lnTo>
                      <a:pt x="845" y="393"/>
                    </a:lnTo>
                    <a:lnTo>
                      <a:pt x="843" y="394"/>
                    </a:lnTo>
                    <a:lnTo>
                      <a:pt x="843" y="398"/>
                    </a:lnTo>
                    <a:lnTo>
                      <a:pt x="845" y="400"/>
                    </a:lnTo>
                    <a:lnTo>
                      <a:pt x="843" y="401"/>
                    </a:lnTo>
                    <a:lnTo>
                      <a:pt x="845" y="405"/>
                    </a:lnTo>
                    <a:lnTo>
                      <a:pt x="845" y="408"/>
                    </a:lnTo>
                    <a:lnTo>
                      <a:pt x="848" y="410"/>
                    </a:lnTo>
                    <a:lnTo>
                      <a:pt x="850" y="410"/>
                    </a:lnTo>
                    <a:lnTo>
                      <a:pt x="853" y="413"/>
                    </a:lnTo>
                    <a:lnTo>
                      <a:pt x="852" y="413"/>
                    </a:lnTo>
                    <a:lnTo>
                      <a:pt x="850" y="415"/>
                    </a:lnTo>
                    <a:lnTo>
                      <a:pt x="850" y="417"/>
                    </a:lnTo>
                    <a:lnTo>
                      <a:pt x="853" y="417"/>
                    </a:lnTo>
                    <a:lnTo>
                      <a:pt x="853" y="418"/>
                    </a:lnTo>
                    <a:lnTo>
                      <a:pt x="855" y="418"/>
                    </a:lnTo>
                    <a:lnTo>
                      <a:pt x="855" y="422"/>
                    </a:lnTo>
                    <a:lnTo>
                      <a:pt x="858" y="423"/>
                    </a:lnTo>
                    <a:lnTo>
                      <a:pt x="858" y="425"/>
                    </a:lnTo>
                    <a:lnTo>
                      <a:pt x="860" y="425"/>
                    </a:lnTo>
                    <a:lnTo>
                      <a:pt x="860" y="427"/>
                    </a:lnTo>
                    <a:lnTo>
                      <a:pt x="862" y="427"/>
                    </a:lnTo>
                    <a:lnTo>
                      <a:pt x="863" y="429"/>
                    </a:lnTo>
                    <a:lnTo>
                      <a:pt x="863" y="430"/>
                    </a:lnTo>
                    <a:lnTo>
                      <a:pt x="863" y="432"/>
                    </a:lnTo>
                    <a:lnTo>
                      <a:pt x="862" y="434"/>
                    </a:lnTo>
                    <a:lnTo>
                      <a:pt x="862" y="435"/>
                    </a:lnTo>
                    <a:lnTo>
                      <a:pt x="862" y="437"/>
                    </a:lnTo>
                    <a:lnTo>
                      <a:pt x="862" y="439"/>
                    </a:lnTo>
                    <a:lnTo>
                      <a:pt x="865" y="442"/>
                    </a:lnTo>
                    <a:lnTo>
                      <a:pt x="863" y="447"/>
                    </a:lnTo>
                    <a:lnTo>
                      <a:pt x="862" y="461"/>
                    </a:lnTo>
                    <a:lnTo>
                      <a:pt x="862" y="466"/>
                    </a:lnTo>
                    <a:lnTo>
                      <a:pt x="865" y="473"/>
                    </a:lnTo>
                    <a:lnTo>
                      <a:pt x="869" y="480"/>
                    </a:lnTo>
                    <a:lnTo>
                      <a:pt x="870" y="485"/>
                    </a:lnTo>
                    <a:lnTo>
                      <a:pt x="870" y="498"/>
                    </a:lnTo>
                    <a:lnTo>
                      <a:pt x="870" y="514"/>
                    </a:lnTo>
                    <a:lnTo>
                      <a:pt x="870" y="525"/>
                    </a:lnTo>
                    <a:lnTo>
                      <a:pt x="877" y="546"/>
                    </a:lnTo>
                    <a:lnTo>
                      <a:pt x="884" y="558"/>
                    </a:lnTo>
                    <a:lnTo>
                      <a:pt x="886" y="563"/>
                    </a:lnTo>
                    <a:lnTo>
                      <a:pt x="882" y="570"/>
                    </a:lnTo>
                    <a:lnTo>
                      <a:pt x="879" y="576"/>
                    </a:lnTo>
                    <a:lnTo>
                      <a:pt x="877" y="582"/>
                    </a:lnTo>
                    <a:lnTo>
                      <a:pt x="877" y="587"/>
                    </a:lnTo>
                    <a:lnTo>
                      <a:pt x="880" y="597"/>
                    </a:lnTo>
                    <a:lnTo>
                      <a:pt x="884" y="600"/>
                    </a:lnTo>
                    <a:lnTo>
                      <a:pt x="889" y="605"/>
                    </a:lnTo>
                    <a:lnTo>
                      <a:pt x="897" y="612"/>
                    </a:lnTo>
                    <a:lnTo>
                      <a:pt x="906" y="621"/>
                    </a:lnTo>
                    <a:lnTo>
                      <a:pt x="914" y="629"/>
                    </a:lnTo>
                    <a:lnTo>
                      <a:pt x="918" y="636"/>
                    </a:lnTo>
                    <a:lnTo>
                      <a:pt x="921" y="656"/>
                    </a:lnTo>
                    <a:lnTo>
                      <a:pt x="926" y="665"/>
                    </a:lnTo>
                    <a:lnTo>
                      <a:pt x="933" y="677"/>
                    </a:lnTo>
                    <a:lnTo>
                      <a:pt x="942" y="690"/>
                    </a:lnTo>
                    <a:lnTo>
                      <a:pt x="930" y="692"/>
                    </a:lnTo>
                    <a:lnTo>
                      <a:pt x="916" y="694"/>
                    </a:lnTo>
                    <a:lnTo>
                      <a:pt x="901" y="696"/>
                    </a:lnTo>
                    <a:lnTo>
                      <a:pt x="894" y="696"/>
                    </a:lnTo>
                    <a:lnTo>
                      <a:pt x="884" y="697"/>
                    </a:lnTo>
                    <a:lnTo>
                      <a:pt x="867" y="701"/>
                    </a:lnTo>
                    <a:lnTo>
                      <a:pt x="850" y="702"/>
                    </a:lnTo>
                    <a:lnTo>
                      <a:pt x="848" y="702"/>
                    </a:lnTo>
                    <a:lnTo>
                      <a:pt x="846" y="704"/>
                    </a:lnTo>
                    <a:lnTo>
                      <a:pt x="845" y="718"/>
                    </a:lnTo>
                    <a:lnTo>
                      <a:pt x="828" y="743"/>
                    </a:lnTo>
                    <a:lnTo>
                      <a:pt x="826" y="747"/>
                    </a:lnTo>
                    <a:lnTo>
                      <a:pt x="831" y="752"/>
                    </a:lnTo>
                    <a:lnTo>
                      <a:pt x="831" y="753"/>
                    </a:lnTo>
                    <a:lnTo>
                      <a:pt x="835" y="759"/>
                    </a:lnTo>
                    <a:lnTo>
                      <a:pt x="835" y="764"/>
                    </a:lnTo>
                    <a:lnTo>
                      <a:pt x="836" y="770"/>
                    </a:lnTo>
                    <a:lnTo>
                      <a:pt x="835" y="774"/>
                    </a:lnTo>
                    <a:lnTo>
                      <a:pt x="831" y="781"/>
                    </a:lnTo>
                    <a:lnTo>
                      <a:pt x="833" y="782"/>
                    </a:lnTo>
                    <a:lnTo>
                      <a:pt x="831" y="784"/>
                    </a:lnTo>
                    <a:lnTo>
                      <a:pt x="831" y="789"/>
                    </a:lnTo>
                    <a:lnTo>
                      <a:pt x="829" y="793"/>
                    </a:lnTo>
                    <a:lnTo>
                      <a:pt x="831" y="796"/>
                    </a:lnTo>
                    <a:lnTo>
                      <a:pt x="831" y="799"/>
                    </a:lnTo>
                    <a:lnTo>
                      <a:pt x="833" y="803"/>
                    </a:lnTo>
                    <a:lnTo>
                      <a:pt x="831" y="804"/>
                    </a:lnTo>
                    <a:lnTo>
                      <a:pt x="833" y="806"/>
                    </a:lnTo>
                    <a:lnTo>
                      <a:pt x="831" y="806"/>
                    </a:lnTo>
                    <a:lnTo>
                      <a:pt x="833" y="808"/>
                    </a:lnTo>
                    <a:lnTo>
                      <a:pt x="835" y="810"/>
                    </a:lnTo>
                    <a:lnTo>
                      <a:pt x="833" y="811"/>
                    </a:lnTo>
                    <a:lnTo>
                      <a:pt x="835" y="813"/>
                    </a:lnTo>
                    <a:lnTo>
                      <a:pt x="835" y="815"/>
                    </a:lnTo>
                    <a:lnTo>
                      <a:pt x="833" y="815"/>
                    </a:lnTo>
                    <a:lnTo>
                      <a:pt x="833" y="816"/>
                    </a:lnTo>
                    <a:lnTo>
                      <a:pt x="831" y="816"/>
                    </a:lnTo>
                    <a:lnTo>
                      <a:pt x="831" y="818"/>
                    </a:lnTo>
                    <a:lnTo>
                      <a:pt x="831" y="820"/>
                    </a:lnTo>
                    <a:lnTo>
                      <a:pt x="828" y="823"/>
                    </a:lnTo>
                    <a:lnTo>
                      <a:pt x="828" y="828"/>
                    </a:lnTo>
                    <a:lnTo>
                      <a:pt x="826" y="830"/>
                    </a:lnTo>
                    <a:lnTo>
                      <a:pt x="826" y="832"/>
                    </a:lnTo>
                    <a:lnTo>
                      <a:pt x="824" y="837"/>
                    </a:lnTo>
                    <a:lnTo>
                      <a:pt x="824" y="838"/>
                    </a:lnTo>
                    <a:lnTo>
                      <a:pt x="824" y="842"/>
                    </a:lnTo>
                    <a:lnTo>
                      <a:pt x="824" y="844"/>
                    </a:lnTo>
                    <a:lnTo>
                      <a:pt x="824" y="845"/>
                    </a:lnTo>
                    <a:lnTo>
                      <a:pt x="823" y="845"/>
                    </a:lnTo>
                    <a:lnTo>
                      <a:pt x="823" y="850"/>
                    </a:lnTo>
                    <a:lnTo>
                      <a:pt x="821" y="850"/>
                    </a:lnTo>
                    <a:lnTo>
                      <a:pt x="821" y="852"/>
                    </a:lnTo>
                    <a:lnTo>
                      <a:pt x="819" y="855"/>
                    </a:lnTo>
                    <a:lnTo>
                      <a:pt x="819" y="859"/>
                    </a:lnTo>
                    <a:lnTo>
                      <a:pt x="819" y="861"/>
                    </a:lnTo>
                    <a:lnTo>
                      <a:pt x="821" y="864"/>
                    </a:lnTo>
                    <a:lnTo>
                      <a:pt x="821" y="866"/>
                    </a:lnTo>
                    <a:lnTo>
                      <a:pt x="823" y="867"/>
                    </a:lnTo>
                    <a:lnTo>
                      <a:pt x="821" y="867"/>
                    </a:lnTo>
                    <a:lnTo>
                      <a:pt x="823" y="871"/>
                    </a:lnTo>
                    <a:lnTo>
                      <a:pt x="823" y="872"/>
                    </a:lnTo>
                    <a:lnTo>
                      <a:pt x="823" y="874"/>
                    </a:lnTo>
                    <a:lnTo>
                      <a:pt x="824" y="872"/>
                    </a:lnTo>
                    <a:lnTo>
                      <a:pt x="824" y="876"/>
                    </a:lnTo>
                    <a:lnTo>
                      <a:pt x="829" y="878"/>
                    </a:lnTo>
                    <a:lnTo>
                      <a:pt x="831" y="878"/>
                    </a:lnTo>
                    <a:lnTo>
                      <a:pt x="831" y="879"/>
                    </a:lnTo>
                    <a:lnTo>
                      <a:pt x="835" y="881"/>
                    </a:lnTo>
                    <a:lnTo>
                      <a:pt x="836" y="881"/>
                    </a:lnTo>
                    <a:lnTo>
                      <a:pt x="838" y="881"/>
                    </a:lnTo>
                    <a:lnTo>
                      <a:pt x="840" y="884"/>
                    </a:lnTo>
                    <a:lnTo>
                      <a:pt x="841" y="886"/>
                    </a:lnTo>
                    <a:lnTo>
                      <a:pt x="843" y="889"/>
                    </a:lnTo>
                    <a:lnTo>
                      <a:pt x="846" y="891"/>
                    </a:lnTo>
                    <a:lnTo>
                      <a:pt x="852" y="896"/>
                    </a:lnTo>
                    <a:lnTo>
                      <a:pt x="853" y="901"/>
                    </a:lnTo>
                    <a:lnTo>
                      <a:pt x="855" y="901"/>
                    </a:lnTo>
                    <a:lnTo>
                      <a:pt x="857" y="901"/>
                    </a:lnTo>
                    <a:lnTo>
                      <a:pt x="860" y="900"/>
                    </a:lnTo>
                    <a:lnTo>
                      <a:pt x="863" y="901"/>
                    </a:lnTo>
                    <a:lnTo>
                      <a:pt x="863" y="900"/>
                    </a:lnTo>
                    <a:lnTo>
                      <a:pt x="865" y="901"/>
                    </a:lnTo>
                    <a:lnTo>
                      <a:pt x="865" y="903"/>
                    </a:lnTo>
                    <a:lnTo>
                      <a:pt x="867" y="903"/>
                    </a:lnTo>
                    <a:lnTo>
                      <a:pt x="870" y="903"/>
                    </a:lnTo>
                    <a:lnTo>
                      <a:pt x="875" y="905"/>
                    </a:lnTo>
                    <a:lnTo>
                      <a:pt x="877" y="903"/>
                    </a:lnTo>
                    <a:lnTo>
                      <a:pt x="877" y="901"/>
                    </a:lnTo>
                    <a:lnTo>
                      <a:pt x="875" y="901"/>
                    </a:lnTo>
                    <a:lnTo>
                      <a:pt x="874" y="898"/>
                    </a:lnTo>
                    <a:lnTo>
                      <a:pt x="875" y="895"/>
                    </a:lnTo>
                    <a:lnTo>
                      <a:pt x="877" y="893"/>
                    </a:lnTo>
                    <a:lnTo>
                      <a:pt x="879" y="891"/>
                    </a:lnTo>
                    <a:lnTo>
                      <a:pt x="884" y="893"/>
                    </a:lnTo>
                    <a:lnTo>
                      <a:pt x="886" y="893"/>
                    </a:lnTo>
                    <a:lnTo>
                      <a:pt x="887" y="891"/>
                    </a:lnTo>
                    <a:lnTo>
                      <a:pt x="889" y="889"/>
                    </a:lnTo>
                    <a:lnTo>
                      <a:pt x="892" y="889"/>
                    </a:lnTo>
                    <a:lnTo>
                      <a:pt x="892" y="898"/>
                    </a:lnTo>
                    <a:lnTo>
                      <a:pt x="892" y="939"/>
                    </a:lnTo>
                    <a:lnTo>
                      <a:pt x="892" y="956"/>
                    </a:lnTo>
                    <a:lnTo>
                      <a:pt x="891" y="954"/>
                    </a:lnTo>
                    <a:lnTo>
                      <a:pt x="887" y="956"/>
                    </a:lnTo>
                    <a:lnTo>
                      <a:pt x="884" y="954"/>
                    </a:lnTo>
                    <a:lnTo>
                      <a:pt x="882" y="952"/>
                    </a:lnTo>
                    <a:lnTo>
                      <a:pt x="880" y="951"/>
                    </a:lnTo>
                    <a:lnTo>
                      <a:pt x="884" y="949"/>
                    </a:lnTo>
                    <a:lnTo>
                      <a:pt x="884" y="947"/>
                    </a:lnTo>
                    <a:lnTo>
                      <a:pt x="886" y="946"/>
                    </a:lnTo>
                    <a:lnTo>
                      <a:pt x="884" y="944"/>
                    </a:lnTo>
                    <a:lnTo>
                      <a:pt x="880" y="944"/>
                    </a:lnTo>
                    <a:lnTo>
                      <a:pt x="877" y="944"/>
                    </a:lnTo>
                    <a:lnTo>
                      <a:pt x="872" y="949"/>
                    </a:lnTo>
                    <a:lnTo>
                      <a:pt x="869" y="949"/>
                    </a:lnTo>
                    <a:lnTo>
                      <a:pt x="869" y="951"/>
                    </a:lnTo>
                    <a:lnTo>
                      <a:pt x="867" y="949"/>
                    </a:lnTo>
                    <a:lnTo>
                      <a:pt x="865" y="951"/>
                    </a:lnTo>
                    <a:lnTo>
                      <a:pt x="862" y="954"/>
                    </a:lnTo>
                    <a:lnTo>
                      <a:pt x="860" y="954"/>
                    </a:lnTo>
                    <a:lnTo>
                      <a:pt x="858" y="952"/>
                    </a:lnTo>
                    <a:lnTo>
                      <a:pt x="857" y="951"/>
                    </a:lnTo>
                    <a:lnTo>
                      <a:pt x="852" y="954"/>
                    </a:lnTo>
                    <a:lnTo>
                      <a:pt x="850" y="954"/>
                    </a:lnTo>
                    <a:lnTo>
                      <a:pt x="850" y="951"/>
                    </a:lnTo>
                    <a:lnTo>
                      <a:pt x="848" y="951"/>
                    </a:lnTo>
                    <a:lnTo>
                      <a:pt x="846" y="941"/>
                    </a:lnTo>
                    <a:lnTo>
                      <a:pt x="843" y="941"/>
                    </a:lnTo>
                    <a:lnTo>
                      <a:pt x="843" y="937"/>
                    </a:lnTo>
                    <a:lnTo>
                      <a:pt x="841" y="937"/>
                    </a:lnTo>
                    <a:lnTo>
                      <a:pt x="843" y="935"/>
                    </a:lnTo>
                    <a:lnTo>
                      <a:pt x="841" y="932"/>
                    </a:lnTo>
                    <a:lnTo>
                      <a:pt x="840" y="930"/>
                    </a:lnTo>
                    <a:lnTo>
                      <a:pt x="840" y="929"/>
                    </a:lnTo>
                    <a:lnTo>
                      <a:pt x="838" y="929"/>
                    </a:lnTo>
                    <a:lnTo>
                      <a:pt x="836" y="927"/>
                    </a:lnTo>
                    <a:lnTo>
                      <a:pt x="833" y="924"/>
                    </a:lnTo>
                    <a:lnTo>
                      <a:pt x="831" y="924"/>
                    </a:lnTo>
                    <a:lnTo>
                      <a:pt x="829" y="927"/>
                    </a:lnTo>
                    <a:lnTo>
                      <a:pt x="828" y="927"/>
                    </a:lnTo>
                    <a:lnTo>
                      <a:pt x="828" y="924"/>
                    </a:lnTo>
                    <a:lnTo>
                      <a:pt x="823" y="918"/>
                    </a:lnTo>
                    <a:lnTo>
                      <a:pt x="824" y="917"/>
                    </a:lnTo>
                    <a:lnTo>
                      <a:pt x="826" y="917"/>
                    </a:lnTo>
                    <a:lnTo>
                      <a:pt x="826" y="913"/>
                    </a:lnTo>
                    <a:lnTo>
                      <a:pt x="823" y="910"/>
                    </a:lnTo>
                    <a:lnTo>
                      <a:pt x="823" y="908"/>
                    </a:lnTo>
                    <a:lnTo>
                      <a:pt x="821" y="907"/>
                    </a:lnTo>
                    <a:lnTo>
                      <a:pt x="816" y="903"/>
                    </a:lnTo>
                    <a:lnTo>
                      <a:pt x="814" y="903"/>
                    </a:lnTo>
                    <a:lnTo>
                      <a:pt x="812" y="903"/>
                    </a:lnTo>
                    <a:lnTo>
                      <a:pt x="811" y="903"/>
                    </a:lnTo>
                    <a:lnTo>
                      <a:pt x="809" y="901"/>
                    </a:lnTo>
                    <a:lnTo>
                      <a:pt x="806" y="903"/>
                    </a:lnTo>
                    <a:lnTo>
                      <a:pt x="804" y="900"/>
                    </a:lnTo>
                    <a:lnTo>
                      <a:pt x="801" y="900"/>
                    </a:lnTo>
                    <a:lnTo>
                      <a:pt x="799" y="898"/>
                    </a:lnTo>
                    <a:lnTo>
                      <a:pt x="797" y="900"/>
                    </a:lnTo>
                    <a:lnTo>
                      <a:pt x="797" y="898"/>
                    </a:lnTo>
                    <a:lnTo>
                      <a:pt x="795" y="896"/>
                    </a:lnTo>
                    <a:lnTo>
                      <a:pt x="795" y="895"/>
                    </a:lnTo>
                    <a:lnTo>
                      <a:pt x="790" y="893"/>
                    </a:lnTo>
                    <a:lnTo>
                      <a:pt x="790" y="895"/>
                    </a:lnTo>
                    <a:lnTo>
                      <a:pt x="789" y="895"/>
                    </a:lnTo>
                    <a:lnTo>
                      <a:pt x="787" y="896"/>
                    </a:lnTo>
                    <a:lnTo>
                      <a:pt x="782" y="895"/>
                    </a:lnTo>
                    <a:lnTo>
                      <a:pt x="780" y="893"/>
                    </a:lnTo>
                    <a:lnTo>
                      <a:pt x="777" y="891"/>
                    </a:lnTo>
                    <a:lnTo>
                      <a:pt x="775" y="888"/>
                    </a:lnTo>
                    <a:lnTo>
                      <a:pt x="775" y="886"/>
                    </a:lnTo>
                    <a:lnTo>
                      <a:pt x="773" y="883"/>
                    </a:lnTo>
                    <a:lnTo>
                      <a:pt x="773" y="879"/>
                    </a:lnTo>
                    <a:lnTo>
                      <a:pt x="767" y="874"/>
                    </a:lnTo>
                    <a:lnTo>
                      <a:pt x="763" y="872"/>
                    </a:lnTo>
                    <a:lnTo>
                      <a:pt x="760" y="871"/>
                    </a:lnTo>
                    <a:lnTo>
                      <a:pt x="761" y="864"/>
                    </a:lnTo>
                    <a:lnTo>
                      <a:pt x="760" y="861"/>
                    </a:lnTo>
                    <a:lnTo>
                      <a:pt x="756" y="862"/>
                    </a:lnTo>
                    <a:lnTo>
                      <a:pt x="755" y="861"/>
                    </a:lnTo>
                    <a:lnTo>
                      <a:pt x="750" y="862"/>
                    </a:lnTo>
                    <a:lnTo>
                      <a:pt x="751" y="867"/>
                    </a:lnTo>
                    <a:lnTo>
                      <a:pt x="750" y="871"/>
                    </a:lnTo>
                    <a:lnTo>
                      <a:pt x="750" y="874"/>
                    </a:lnTo>
                    <a:lnTo>
                      <a:pt x="746" y="878"/>
                    </a:lnTo>
                    <a:lnTo>
                      <a:pt x="743" y="881"/>
                    </a:lnTo>
                    <a:lnTo>
                      <a:pt x="739" y="881"/>
                    </a:lnTo>
                    <a:lnTo>
                      <a:pt x="738" y="879"/>
                    </a:lnTo>
                    <a:lnTo>
                      <a:pt x="734" y="881"/>
                    </a:lnTo>
                    <a:lnTo>
                      <a:pt x="729" y="881"/>
                    </a:lnTo>
                    <a:lnTo>
                      <a:pt x="726" y="881"/>
                    </a:lnTo>
                    <a:lnTo>
                      <a:pt x="724" y="879"/>
                    </a:lnTo>
                    <a:lnTo>
                      <a:pt x="722" y="878"/>
                    </a:lnTo>
                    <a:lnTo>
                      <a:pt x="719" y="878"/>
                    </a:lnTo>
                    <a:lnTo>
                      <a:pt x="716" y="879"/>
                    </a:lnTo>
                    <a:lnTo>
                      <a:pt x="714" y="879"/>
                    </a:lnTo>
                    <a:lnTo>
                      <a:pt x="709" y="878"/>
                    </a:lnTo>
                    <a:lnTo>
                      <a:pt x="699" y="879"/>
                    </a:lnTo>
                    <a:lnTo>
                      <a:pt x="697" y="876"/>
                    </a:lnTo>
                    <a:lnTo>
                      <a:pt x="693" y="876"/>
                    </a:lnTo>
                    <a:lnTo>
                      <a:pt x="692" y="872"/>
                    </a:lnTo>
                    <a:lnTo>
                      <a:pt x="688" y="872"/>
                    </a:lnTo>
                    <a:lnTo>
                      <a:pt x="685" y="872"/>
                    </a:lnTo>
                    <a:lnTo>
                      <a:pt x="682" y="871"/>
                    </a:lnTo>
                    <a:lnTo>
                      <a:pt x="682" y="867"/>
                    </a:lnTo>
                    <a:lnTo>
                      <a:pt x="673" y="871"/>
                    </a:lnTo>
                    <a:lnTo>
                      <a:pt x="673" y="867"/>
                    </a:lnTo>
                    <a:lnTo>
                      <a:pt x="673" y="866"/>
                    </a:lnTo>
                    <a:lnTo>
                      <a:pt x="670" y="866"/>
                    </a:lnTo>
                    <a:lnTo>
                      <a:pt x="668" y="864"/>
                    </a:lnTo>
                    <a:lnTo>
                      <a:pt x="666" y="864"/>
                    </a:lnTo>
                    <a:lnTo>
                      <a:pt x="665" y="862"/>
                    </a:lnTo>
                    <a:lnTo>
                      <a:pt x="663" y="859"/>
                    </a:lnTo>
                    <a:lnTo>
                      <a:pt x="663" y="857"/>
                    </a:lnTo>
                    <a:lnTo>
                      <a:pt x="665" y="855"/>
                    </a:lnTo>
                    <a:lnTo>
                      <a:pt x="661" y="850"/>
                    </a:lnTo>
                    <a:lnTo>
                      <a:pt x="663" y="849"/>
                    </a:lnTo>
                    <a:lnTo>
                      <a:pt x="663" y="847"/>
                    </a:lnTo>
                    <a:lnTo>
                      <a:pt x="665" y="845"/>
                    </a:lnTo>
                    <a:lnTo>
                      <a:pt x="665" y="844"/>
                    </a:lnTo>
                    <a:lnTo>
                      <a:pt x="666" y="840"/>
                    </a:lnTo>
                    <a:lnTo>
                      <a:pt x="663" y="840"/>
                    </a:lnTo>
                    <a:lnTo>
                      <a:pt x="659" y="842"/>
                    </a:lnTo>
                    <a:lnTo>
                      <a:pt x="653" y="844"/>
                    </a:lnTo>
                    <a:lnTo>
                      <a:pt x="641" y="844"/>
                    </a:lnTo>
                    <a:lnTo>
                      <a:pt x="641" y="845"/>
                    </a:lnTo>
                    <a:lnTo>
                      <a:pt x="636" y="847"/>
                    </a:lnTo>
                    <a:lnTo>
                      <a:pt x="634" y="847"/>
                    </a:lnTo>
                    <a:lnTo>
                      <a:pt x="632" y="849"/>
                    </a:lnTo>
                    <a:lnTo>
                      <a:pt x="631" y="850"/>
                    </a:lnTo>
                    <a:lnTo>
                      <a:pt x="627" y="852"/>
                    </a:lnTo>
                    <a:lnTo>
                      <a:pt x="627" y="854"/>
                    </a:lnTo>
                    <a:lnTo>
                      <a:pt x="619" y="854"/>
                    </a:lnTo>
                    <a:lnTo>
                      <a:pt x="617" y="852"/>
                    </a:lnTo>
                    <a:lnTo>
                      <a:pt x="612" y="850"/>
                    </a:lnTo>
                    <a:lnTo>
                      <a:pt x="615" y="849"/>
                    </a:lnTo>
                    <a:lnTo>
                      <a:pt x="617" y="844"/>
                    </a:lnTo>
                    <a:lnTo>
                      <a:pt x="617" y="835"/>
                    </a:lnTo>
                    <a:lnTo>
                      <a:pt x="614" y="833"/>
                    </a:lnTo>
                    <a:lnTo>
                      <a:pt x="610" y="833"/>
                    </a:lnTo>
                    <a:lnTo>
                      <a:pt x="607" y="832"/>
                    </a:lnTo>
                    <a:lnTo>
                      <a:pt x="605" y="833"/>
                    </a:lnTo>
                    <a:lnTo>
                      <a:pt x="603" y="827"/>
                    </a:lnTo>
                    <a:lnTo>
                      <a:pt x="600" y="825"/>
                    </a:lnTo>
                    <a:lnTo>
                      <a:pt x="597" y="825"/>
                    </a:lnTo>
                    <a:lnTo>
                      <a:pt x="595" y="828"/>
                    </a:lnTo>
                    <a:lnTo>
                      <a:pt x="591" y="830"/>
                    </a:lnTo>
                    <a:lnTo>
                      <a:pt x="590" y="833"/>
                    </a:lnTo>
                    <a:lnTo>
                      <a:pt x="585" y="830"/>
                    </a:lnTo>
                    <a:lnTo>
                      <a:pt x="580" y="832"/>
                    </a:lnTo>
                    <a:lnTo>
                      <a:pt x="580" y="830"/>
                    </a:lnTo>
                    <a:lnTo>
                      <a:pt x="576" y="830"/>
                    </a:lnTo>
                    <a:lnTo>
                      <a:pt x="573" y="828"/>
                    </a:lnTo>
                    <a:lnTo>
                      <a:pt x="571" y="828"/>
                    </a:lnTo>
                    <a:lnTo>
                      <a:pt x="566" y="828"/>
                    </a:lnTo>
                    <a:lnTo>
                      <a:pt x="556" y="837"/>
                    </a:lnTo>
                    <a:lnTo>
                      <a:pt x="554" y="835"/>
                    </a:lnTo>
                    <a:lnTo>
                      <a:pt x="551" y="837"/>
                    </a:lnTo>
                    <a:lnTo>
                      <a:pt x="549" y="835"/>
                    </a:lnTo>
                    <a:lnTo>
                      <a:pt x="542" y="835"/>
                    </a:lnTo>
                    <a:lnTo>
                      <a:pt x="540" y="833"/>
                    </a:lnTo>
                    <a:lnTo>
                      <a:pt x="535" y="837"/>
                    </a:lnTo>
                    <a:lnTo>
                      <a:pt x="532" y="837"/>
                    </a:lnTo>
                    <a:lnTo>
                      <a:pt x="530" y="835"/>
                    </a:lnTo>
                    <a:lnTo>
                      <a:pt x="527" y="833"/>
                    </a:lnTo>
                    <a:lnTo>
                      <a:pt x="522" y="833"/>
                    </a:lnTo>
                    <a:lnTo>
                      <a:pt x="520" y="833"/>
                    </a:lnTo>
                    <a:lnTo>
                      <a:pt x="522" y="837"/>
                    </a:lnTo>
                    <a:lnTo>
                      <a:pt x="518" y="840"/>
                    </a:lnTo>
                    <a:lnTo>
                      <a:pt x="513" y="840"/>
                    </a:lnTo>
                    <a:lnTo>
                      <a:pt x="512" y="844"/>
                    </a:lnTo>
                    <a:lnTo>
                      <a:pt x="508" y="844"/>
                    </a:lnTo>
                    <a:lnTo>
                      <a:pt x="510" y="840"/>
                    </a:lnTo>
                    <a:lnTo>
                      <a:pt x="508" y="838"/>
                    </a:lnTo>
                    <a:lnTo>
                      <a:pt x="506" y="837"/>
                    </a:lnTo>
                    <a:lnTo>
                      <a:pt x="506" y="828"/>
                    </a:lnTo>
                    <a:lnTo>
                      <a:pt x="505" y="825"/>
                    </a:lnTo>
                    <a:lnTo>
                      <a:pt x="506" y="821"/>
                    </a:lnTo>
                    <a:lnTo>
                      <a:pt x="510" y="820"/>
                    </a:lnTo>
                    <a:lnTo>
                      <a:pt x="512" y="820"/>
                    </a:lnTo>
                    <a:lnTo>
                      <a:pt x="513" y="818"/>
                    </a:lnTo>
                    <a:lnTo>
                      <a:pt x="512" y="815"/>
                    </a:lnTo>
                    <a:lnTo>
                      <a:pt x="512" y="813"/>
                    </a:lnTo>
                    <a:lnTo>
                      <a:pt x="512" y="808"/>
                    </a:lnTo>
                    <a:lnTo>
                      <a:pt x="510" y="806"/>
                    </a:lnTo>
                    <a:lnTo>
                      <a:pt x="512" y="799"/>
                    </a:lnTo>
                    <a:lnTo>
                      <a:pt x="506" y="789"/>
                    </a:lnTo>
                    <a:lnTo>
                      <a:pt x="506" y="781"/>
                    </a:lnTo>
                    <a:lnTo>
                      <a:pt x="505" y="776"/>
                    </a:lnTo>
                    <a:lnTo>
                      <a:pt x="501" y="774"/>
                    </a:lnTo>
                    <a:lnTo>
                      <a:pt x="500" y="774"/>
                    </a:lnTo>
                    <a:lnTo>
                      <a:pt x="498" y="772"/>
                    </a:lnTo>
                    <a:lnTo>
                      <a:pt x="496" y="770"/>
                    </a:lnTo>
                    <a:lnTo>
                      <a:pt x="496" y="767"/>
                    </a:lnTo>
                    <a:lnTo>
                      <a:pt x="495" y="769"/>
                    </a:lnTo>
                    <a:lnTo>
                      <a:pt x="495" y="767"/>
                    </a:lnTo>
                    <a:lnTo>
                      <a:pt x="493" y="765"/>
                    </a:lnTo>
                    <a:lnTo>
                      <a:pt x="493" y="764"/>
                    </a:lnTo>
                    <a:lnTo>
                      <a:pt x="489" y="762"/>
                    </a:lnTo>
                    <a:lnTo>
                      <a:pt x="489" y="759"/>
                    </a:lnTo>
                    <a:lnTo>
                      <a:pt x="488" y="755"/>
                    </a:lnTo>
                    <a:lnTo>
                      <a:pt x="488" y="753"/>
                    </a:lnTo>
                    <a:lnTo>
                      <a:pt x="486" y="750"/>
                    </a:lnTo>
                    <a:lnTo>
                      <a:pt x="486" y="748"/>
                    </a:lnTo>
                    <a:lnTo>
                      <a:pt x="486" y="747"/>
                    </a:lnTo>
                    <a:lnTo>
                      <a:pt x="489" y="742"/>
                    </a:lnTo>
                    <a:lnTo>
                      <a:pt x="489" y="738"/>
                    </a:lnTo>
                    <a:lnTo>
                      <a:pt x="488" y="735"/>
                    </a:lnTo>
                    <a:lnTo>
                      <a:pt x="488" y="733"/>
                    </a:lnTo>
                    <a:lnTo>
                      <a:pt x="488" y="731"/>
                    </a:lnTo>
                    <a:lnTo>
                      <a:pt x="488" y="724"/>
                    </a:lnTo>
                    <a:lnTo>
                      <a:pt x="489" y="723"/>
                    </a:lnTo>
                    <a:lnTo>
                      <a:pt x="491" y="719"/>
                    </a:lnTo>
                    <a:lnTo>
                      <a:pt x="491" y="714"/>
                    </a:lnTo>
                    <a:lnTo>
                      <a:pt x="491" y="713"/>
                    </a:lnTo>
                    <a:lnTo>
                      <a:pt x="491" y="711"/>
                    </a:lnTo>
                    <a:lnTo>
                      <a:pt x="493" y="709"/>
                    </a:lnTo>
                    <a:lnTo>
                      <a:pt x="491" y="709"/>
                    </a:lnTo>
                    <a:lnTo>
                      <a:pt x="493" y="707"/>
                    </a:lnTo>
                    <a:lnTo>
                      <a:pt x="493" y="706"/>
                    </a:lnTo>
                    <a:lnTo>
                      <a:pt x="493" y="704"/>
                    </a:lnTo>
                    <a:lnTo>
                      <a:pt x="493" y="701"/>
                    </a:lnTo>
                    <a:lnTo>
                      <a:pt x="491" y="699"/>
                    </a:lnTo>
                    <a:lnTo>
                      <a:pt x="491" y="697"/>
                    </a:lnTo>
                    <a:lnTo>
                      <a:pt x="493" y="696"/>
                    </a:lnTo>
                    <a:lnTo>
                      <a:pt x="493" y="694"/>
                    </a:lnTo>
                    <a:lnTo>
                      <a:pt x="491" y="694"/>
                    </a:lnTo>
                    <a:lnTo>
                      <a:pt x="489" y="689"/>
                    </a:lnTo>
                    <a:lnTo>
                      <a:pt x="488" y="685"/>
                    </a:lnTo>
                    <a:lnTo>
                      <a:pt x="486" y="682"/>
                    </a:lnTo>
                    <a:lnTo>
                      <a:pt x="484" y="680"/>
                    </a:lnTo>
                    <a:lnTo>
                      <a:pt x="484" y="677"/>
                    </a:lnTo>
                    <a:lnTo>
                      <a:pt x="483" y="675"/>
                    </a:lnTo>
                    <a:lnTo>
                      <a:pt x="484" y="673"/>
                    </a:lnTo>
                    <a:lnTo>
                      <a:pt x="484" y="668"/>
                    </a:lnTo>
                    <a:lnTo>
                      <a:pt x="486" y="665"/>
                    </a:lnTo>
                    <a:lnTo>
                      <a:pt x="486" y="662"/>
                    </a:lnTo>
                    <a:lnTo>
                      <a:pt x="488" y="662"/>
                    </a:lnTo>
                    <a:lnTo>
                      <a:pt x="488" y="660"/>
                    </a:lnTo>
                    <a:lnTo>
                      <a:pt x="488" y="658"/>
                    </a:lnTo>
                    <a:lnTo>
                      <a:pt x="489" y="656"/>
                    </a:lnTo>
                    <a:lnTo>
                      <a:pt x="488" y="655"/>
                    </a:lnTo>
                    <a:lnTo>
                      <a:pt x="489" y="653"/>
                    </a:lnTo>
                    <a:lnTo>
                      <a:pt x="488" y="651"/>
                    </a:lnTo>
                    <a:lnTo>
                      <a:pt x="489" y="650"/>
                    </a:lnTo>
                    <a:lnTo>
                      <a:pt x="488" y="650"/>
                    </a:lnTo>
                    <a:lnTo>
                      <a:pt x="488" y="648"/>
                    </a:lnTo>
                    <a:lnTo>
                      <a:pt x="488" y="645"/>
                    </a:lnTo>
                    <a:lnTo>
                      <a:pt x="486" y="645"/>
                    </a:lnTo>
                    <a:lnTo>
                      <a:pt x="486" y="643"/>
                    </a:lnTo>
                    <a:lnTo>
                      <a:pt x="461" y="643"/>
                    </a:lnTo>
                    <a:lnTo>
                      <a:pt x="445" y="643"/>
                    </a:lnTo>
                    <a:lnTo>
                      <a:pt x="437" y="643"/>
                    </a:lnTo>
                    <a:lnTo>
                      <a:pt x="423" y="643"/>
                    </a:lnTo>
                    <a:lnTo>
                      <a:pt x="423" y="639"/>
                    </a:lnTo>
                    <a:lnTo>
                      <a:pt x="423" y="636"/>
                    </a:lnTo>
                    <a:lnTo>
                      <a:pt x="421" y="636"/>
                    </a:lnTo>
                    <a:lnTo>
                      <a:pt x="425" y="631"/>
                    </a:lnTo>
                    <a:lnTo>
                      <a:pt x="427" y="624"/>
                    </a:lnTo>
                    <a:lnTo>
                      <a:pt x="411" y="624"/>
                    </a:lnTo>
                    <a:lnTo>
                      <a:pt x="410" y="628"/>
                    </a:lnTo>
                    <a:lnTo>
                      <a:pt x="393" y="628"/>
                    </a:lnTo>
                    <a:lnTo>
                      <a:pt x="372" y="628"/>
                    </a:lnTo>
                    <a:lnTo>
                      <a:pt x="372" y="631"/>
                    </a:lnTo>
                    <a:lnTo>
                      <a:pt x="369" y="636"/>
                    </a:lnTo>
                    <a:lnTo>
                      <a:pt x="370" y="641"/>
                    </a:lnTo>
                    <a:lnTo>
                      <a:pt x="369" y="645"/>
                    </a:lnTo>
                    <a:lnTo>
                      <a:pt x="369" y="646"/>
                    </a:lnTo>
                    <a:lnTo>
                      <a:pt x="369" y="648"/>
                    </a:lnTo>
                    <a:lnTo>
                      <a:pt x="370" y="648"/>
                    </a:lnTo>
                    <a:lnTo>
                      <a:pt x="370" y="650"/>
                    </a:lnTo>
                    <a:lnTo>
                      <a:pt x="370" y="651"/>
                    </a:lnTo>
                    <a:lnTo>
                      <a:pt x="369" y="653"/>
                    </a:lnTo>
                    <a:lnTo>
                      <a:pt x="369" y="655"/>
                    </a:lnTo>
                    <a:lnTo>
                      <a:pt x="369" y="658"/>
                    </a:lnTo>
                    <a:lnTo>
                      <a:pt x="364" y="658"/>
                    </a:lnTo>
                    <a:lnTo>
                      <a:pt x="362" y="658"/>
                    </a:lnTo>
                    <a:lnTo>
                      <a:pt x="365" y="663"/>
                    </a:lnTo>
                    <a:lnTo>
                      <a:pt x="364" y="668"/>
                    </a:lnTo>
                    <a:lnTo>
                      <a:pt x="362" y="670"/>
                    </a:lnTo>
                    <a:lnTo>
                      <a:pt x="362" y="672"/>
                    </a:lnTo>
                    <a:lnTo>
                      <a:pt x="362" y="673"/>
                    </a:lnTo>
                    <a:lnTo>
                      <a:pt x="362" y="675"/>
                    </a:lnTo>
                    <a:lnTo>
                      <a:pt x="362" y="677"/>
                    </a:lnTo>
                    <a:lnTo>
                      <a:pt x="364" y="679"/>
                    </a:lnTo>
                    <a:lnTo>
                      <a:pt x="333" y="679"/>
                    </a:lnTo>
                    <a:lnTo>
                      <a:pt x="333" y="677"/>
                    </a:lnTo>
                    <a:lnTo>
                      <a:pt x="333" y="675"/>
                    </a:lnTo>
                    <a:lnTo>
                      <a:pt x="321" y="675"/>
                    </a:lnTo>
                    <a:lnTo>
                      <a:pt x="319" y="679"/>
                    </a:lnTo>
                    <a:lnTo>
                      <a:pt x="314" y="679"/>
                    </a:lnTo>
                    <a:lnTo>
                      <a:pt x="311" y="680"/>
                    </a:lnTo>
                    <a:lnTo>
                      <a:pt x="309" y="680"/>
                    </a:lnTo>
                    <a:lnTo>
                      <a:pt x="308" y="679"/>
                    </a:lnTo>
                    <a:lnTo>
                      <a:pt x="304" y="677"/>
                    </a:lnTo>
                    <a:lnTo>
                      <a:pt x="302" y="679"/>
                    </a:lnTo>
                    <a:lnTo>
                      <a:pt x="301" y="680"/>
                    </a:lnTo>
                    <a:lnTo>
                      <a:pt x="299" y="680"/>
                    </a:lnTo>
                    <a:lnTo>
                      <a:pt x="297" y="682"/>
                    </a:lnTo>
                    <a:lnTo>
                      <a:pt x="299" y="684"/>
                    </a:lnTo>
                    <a:lnTo>
                      <a:pt x="292" y="684"/>
                    </a:lnTo>
                    <a:lnTo>
                      <a:pt x="287" y="684"/>
                    </a:lnTo>
                    <a:lnTo>
                      <a:pt x="284" y="685"/>
                    </a:lnTo>
                    <a:lnTo>
                      <a:pt x="279" y="684"/>
                    </a:lnTo>
                    <a:lnTo>
                      <a:pt x="274" y="685"/>
                    </a:lnTo>
                    <a:lnTo>
                      <a:pt x="272" y="685"/>
                    </a:lnTo>
                    <a:lnTo>
                      <a:pt x="268" y="684"/>
                    </a:lnTo>
                    <a:lnTo>
                      <a:pt x="268" y="682"/>
                    </a:lnTo>
                    <a:lnTo>
                      <a:pt x="270" y="682"/>
                    </a:lnTo>
                    <a:lnTo>
                      <a:pt x="268" y="679"/>
                    </a:lnTo>
                    <a:lnTo>
                      <a:pt x="267" y="679"/>
                    </a:lnTo>
                    <a:lnTo>
                      <a:pt x="267" y="677"/>
                    </a:lnTo>
                    <a:lnTo>
                      <a:pt x="265" y="675"/>
                    </a:lnTo>
                    <a:lnTo>
                      <a:pt x="265" y="672"/>
                    </a:lnTo>
                    <a:lnTo>
                      <a:pt x="263" y="672"/>
                    </a:lnTo>
                    <a:lnTo>
                      <a:pt x="263" y="670"/>
                    </a:lnTo>
                    <a:lnTo>
                      <a:pt x="262" y="670"/>
                    </a:lnTo>
                    <a:lnTo>
                      <a:pt x="263" y="670"/>
                    </a:lnTo>
                    <a:lnTo>
                      <a:pt x="262" y="670"/>
                    </a:lnTo>
                    <a:lnTo>
                      <a:pt x="262" y="668"/>
                    </a:lnTo>
                    <a:lnTo>
                      <a:pt x="260" y="668"/>
                    </a:lnTo>
                    <a:lnTo>
                      <a:pt x="260" y="667"/>
                    </a:lnTo>
                    <a:lnTo>
                      <a:pt x="258" y="667"/>
                    </a:lnTo>
                    <a:lnTo>
                      <a:pt x="260" y="665"/>
                    </a:lnTo>
                    <a:lnTo>
                      <a:pt x="257" y="663"/>
                    </a:lnTo>
                    <a:lnTo>
                      <a:pt x="258" y="663"/>
                    </a:lnTo>
                    <a:lnTo>
                      <a:pt x="258" y="660"/>
                    </a:lnTo>
                    <a:lnTo>
                      <a:pt x="255" y="658"/>
                    </a:lnTo>
                    <a:lnTo>
                      <a:pt x="253" y="658"/>
                    </a:lnTo>
                    <a:lnTo>
                      <a:pt x="253" y="655"/>
                    </a:lnTo>
                    <a:lnTo>
                      <a:pt x="253" y="653"/>
                    </a:lnTo>
                    <a:lnTo>
                      <a:pt x="250" y="651"/>
                    </a:lnTo>
                    <a:lnTo>
                      <a:pt x="251" y="650"/>
                    </a:lnTo>
                    <a:lnTo>
                      <a:pt x="250" y="648"/>
                    </a:lnTo>
                    <a:lnTo>
                      <a:pt x="250" y="650"/>
                    </a:lnTo>
                    <a:lnTo>
                      <a:pt x="248" y="650"/>
                    </a:lnTo>
                    <a:lnTo>
                      <a:pt x="248" y="646"/>
                    </a:lnTo>
                    <a:lnTo>
                      <a:pt x="245" y="645"/>
                    </a:lnTo>
                    <a:lnTo>
                      <a:pt x="245" y="643"/>
                    </a:lnTo>
                    <a:lnTo>
                      <a:pt x="241" y="643"/>
                    </a:lnTo>
                    <a:lnTo>
                      <a:pt x="241" y="641"/>
                    </a:lnTo>
                    <a:lnTo>
                      <a:pt x="240" y="639"/>
                    </a:lnTo>
                    <a:lnTo>
                      <a:pt x="240" y="638"/>
                    </a:lnTo>
                    <a:lnTo>
                      <a:pt x="238" y="633"/>
                    </a:lnTo>
                    <a:lnTo>
                      <a:pt x="240" y="634"/>
                    </a:lnTo>
                    <a:lnTo>
                      <a:pt x="241" y="631"/>
                    </a:lnTo>
                    <a:lnTo>
                      <a:pt x="240" y="631"/>
                    </a:lnTo>
                    <a:lnTo>
                      <a:pt x="240" y="629"/>
                    </a:lnTo>
                    <a:lnTo>
                      <a:pt x="238" y="629"/>
                    </a:lnTo>
                    <a:lnTo>
                      <a:pt x="238" y="624"/>
                    </a:lnTo>
                    <a:lnTo>
                      <a:pt x="236" y="622"/>
                    </a:lnTo>
                    <a:lnTo>
                      <a:pt x="234" y="622"/>
                    </a:lnTo>
                    <a:lnTo>
                      <a:pt x="234" y="619"/>
                    </a:lnTo>
                    <a:lnTo>
                      <a:pt x="233" y="617"/>
                    </a:lnTo>
                    <a:lnTo>
                      <a:pt x="233" y="614"/>
                    </a:lnTo>
                    <a:lnTo>
                      <a:pt x="231" y="614"/>
                    </a:lnTo>
                    <a:lnTo>
                      <a:pt x="231" y="609"/>
                    </a:lnTo>
                    <a:lnTo>
                      <a:pt x="229" y="607"/>
                    </a:lnTo>
                    <a:lnTo>
                      <a:pt x="229" y="604"/>
                    </a:lnTo>
                    <a:lnTo>
                      <a:pt x="228" y="602"/>
                    </a:lnTo>
                    <a:lnTo>
                      <a:pt x="229" y="600"/>
                    </a:lnTo>
                    <a:lnTo>
                      <a:pt x="228" y="599"/>
                    </a:lnTo>
                    <a:lnTo>
                      <a:pt x="229" y="599"/>
                    </a:lnTo>
                    <a:lnTo>
                      <a:pt x="226" y="597"/>
                    </a:lnTo>
                    <a:lnTo>
                      <a:pt x="228" y="595"/>
                    </a:lnTo>
                    <a:lnTo>
                      <a:pt x="226" y="595"/>
                    </a:lnTo>
                    <a:lnTo>
                      <a:pt x="228" y="595"/>
                    </a:lnTo>
                    <a:lnTo>
                      <a:pt x="228" y="594"/>
                    </a:lnTo>
                    <a:lnTo>
                      <a:pt x="228" y="588"/>
                    </a:lnTo>
                    <a:lnTo>
                      <a:pt x="229" y="587"/>
                    </a:lnTo>
                    <a:lnTo>
                      <a:pt x="228" y="583"/>
                    </a:lnTo>
                    <a:lnTo>
                      <a:pt x="226" y="583"/>
                    </a:lnTo>
                    <a:lnTo>
                      <a:pt x="226" y="582"/>
                    </a:lnTo>
                    <a:lnTo>
                      <a:pt x="224" y="583"/>
                    </a:lnTo>
                    <a:lnTo>
                      <a:pt x="224" y="582"/>
                    </a:lnTo>
                    <a:lnTo>
                      <a:pt x="223" y="580"/>
                    </a:lnTo>
                    <a:lnTo>
                      <a:pt x="224" y="580"/>
                    </a:lnTo>
                    <a:lnTo>
                      <a:pt x="223" y="580"/>
                    </a:lnTo>
                    <a:lnTo>
                      <a:pt x="223" y="576"/>
                    </a:lnTo>
                    <a:lnTo>
                      <a:pt x="223" y="575"/>
                    </a:lnTo>
                    <a:lnTo>
                      <a:pt x="221" y="575"/>
                    </a:lnTo>
                    <a:lnTo>
                      <a:pt x="221" y="571"/>
                    </a:lnTo>
                    <a:lnTo>
                      <a:pt x="217" y="570"/>
                    </a:lnTo>
                    <a:lnTo>
                      <a:pt x="214" y="571"/>
                    </a:lnTo>
                    <a:lnTo>
                      <a:pt x="211" y="570"/>
                    </a:lnTo>
                    <a:lnTo>
                      <a:pt x="209" y="571"/>
                    </a:lnTo>
                    <a:lnTo>
                      <a:pt x="200" y="571"/>
                    </a:lnTo>
                    <a:lnTo>
                      <a:pt x="183" y="571"/>
                    </a:lnTo>
                    <a:lnTo>
                      <a:pt x="175" y="570"/>
                    </a:lnTo>
                    <a:lnTo>
                      <a:pt x="163" y="571"/>
                    </a:lnTo>
                    <a:lnTo>
                      <a:pt x="151" y="571"/>
                    </a:lnTo>
                    <a:lnTo>
                      <a:pt x="139" y="571"/>
                    </a:lnTo>
                    <a:lnTo>
                      <a:pt x="126" y="571"/>
                    </a:lnTo>
                    <a:lnTo>
                      <a:pt x="122" y="573"/>
                    </a:lnTo>
                    <a:lnTo>
                      <a:pt x="115" y="571"/>
                    </a:lnTo>
                    <a:lnTo>
                      <a:pt x="114" y="573"/>
                    </a:lnTo>
                    <a:lnTo>
                      <a:pt x="109" y="571"/>
                    </a:lnTo>
                    <a:lnTo>
                      <a:pt x="107" y="571"/>
                    </a:lnTo>
                    <a:lnTo>
                      <a:pt x="105" y="570"/>
                    </a:lnTo>
                    <a:lnTo>
                      <a:pt x="104" y="571"/>
                    </a:lnTo>
                    <a:lnTo>
                      <a:pt x="102" y="571"/>
                    </a:lnTo>
                    <a:lnTo>
                      <a:pt x="100" y="570"/>
                    </a:lnTo>
                    <a:lnTo>
                      <a:pt x="97" y="570"/>
                    </a:lnTo>
                    <a:lnTo>
                      <a:pt x="93" y="570"/>
                    </a:lnTo>
                    <a:lnTo>
                      <a:pt x="92" y="570"/>
                    </a:lnTo>
                    <a:lnTo>
                      <a:pt x="88" y="570"/>
                    </a:lnTo>
                    <a:lnTo>
                      <a:pt x="80" y="571"/>
                    </a:lnTo>
                    <a:lnTo>
                      <a:pt x="70" y="571"/>
                    </a:lnTo>
                    <a:lnTo>
                      <a:pt x="68" y="571"/>
                    </a:lnTo>
                    <a:lnTo>
                      <a:pt x="66" y="571"/>
                    </a:lnTo>
                    <a:lnTo>
                      <a:pt x="61" y="570"/>
                    </a:lnTo>
                    <a:lnTo>
                      <a:pt x="59" y="571"/>
                    </a:lnTo>
                    <a:lnTo>
                      <a:pt x="58" y="573"/>
                    </a:lnTo>
                    <a:lnTo>
                      <a:pt x="53" y="571"/>
                    </a:lnTo>
                    <a:lnTo>
                      <a:pt x="47" y="571"/>
                    </a:lnTo>
                    <a:lnTo>
                      <a:pt x="46" y="573"/>
                    </a:lnTo>
                    <a:lnTo>
                      <a:pt x="46" y="571"/>
                    </a:lnTo>
                    <a:lnTo>
                      <a:pt x="44" y="571"/>
                    </a:lnTo>
                    <a:lnTo>
                      <a:pt x="36" y="570"/>
                    </a:lnTo>
                    <a:lnTo>
                      <a:pt x="29" y="571"/>
                    </a:lnTo>
                    <a:lnTo>
                      <a:pt x="27" y="575"/>
                    </a:lnTo>
                    <a:lnTo>
                      <a:pt x="27" y="576"/>
                    </a:lnTo>
                    <a:lnTo>
                      <a:pt x="25" y="578"/>
                    </a:lnTo>
                    <a:lnTo>
                      <a:pt x="20" y="578"/>
                    </a:lnTo>
                    <a:lnTo>
                      <a:pt x="20" y="576"/>
                    </a:lnTo>
                    <a:lnTo>
                      <a:pt x="19" y="578"/>
                    </a:lnTo>
                    <a:lnTo>
                      <a:pt x="17" y="580"/>
                    </a:lnTo>
                    <a:lnTo>
                      <a:pt x="12" y="580"/>
                    </a:lnTo>
                    <a:lnTo>
                      <a:pt x="15" y="578"/>
                    </a:lnTo>
                    <a:lnTo>
                      <a:pt x="13" y="576"/>
                    </a:lnTo>
                    <a:lnTo>
                      <a:pt x="10" y="576"/>
                    </a:lnTo>
                    <a:lnTo>
                      <a:pt x="10" y="578"/>
                    </a:lnTo>
                    <a:lnTo>
                      <a:pt x="7" y="573"/>
                    </a:lnTo>
                    <a:lnTo>
                      <a:pt x="5" y="571"/>
                    </a:lnTo>
                    <a:lnTo>
                      <a:pt x="0" y="566"/>
                    </a:lnTo>
                    <a:lnTo>
                      <a:pt x="0" y="565"/>
                    </a:lnTo>
                    <a:lnTo>
                      <a:pt x="5" y="565"/>
                    </a:lnTo>
                    <a:lnTo>
                      <a:pt x="17" y="565"/>
                    </a:lnTo>
                    <a:lnTo>
                      <a:pt x="17" y="559"/>
                    </a:lnTo>
                    <a:lnTo>
                      <a:pt x="17" y="536"/>
                    </a:lnTo>
                    <a:lnTo>
                      <a:pt x="15" y="536"/>
                    </a:lnTo>
                    <a:lnTo>
                      <a:pt x="17" y="534"/>
                    </a:lnTo>
                    <a:lnTo>
                      <a:pt x="15" y="534"/>
                    </a:lnTo>
                    <a:lnTo>
                      <a:pt x="13" y="532"/>
                    </a:lnTo>
                    <a:lnTo>
                      <a:pt x="15" y="529"/>
                    </a:lnTo>
                    <a:lnTo>
                      <a:pt x="17" y="531"/>
                    </a:lnTo>
                    <a:lnTo>
                      <a:pt x="17" y="529"/>
                    </a:lnTo>
                    <a:lnTo>
                      <a:pt x="19" y="529"/>
                    </a:lnTo>
                    <a:lnTo>
                      <a:pt x="20" y="529"/>
                    </a:lnTo>
                    <a:lnTo>
                      <a:pt x="22" y="524"/>
                    </a:lnTo>
                    <a:lnTo>
                      <a:pt x="24" y="525"/>
                    </a:lnTo>
                    <a:lnTo>
                      <a:pt x="25" y="524"/>
                    </a:lnTo>
                    <a:lnTo>
                      <a:pt x="27" y="522"/>
                    </a:lnTo>
                    <a:lnTo>
                      <a:pt x="29" y="520"/>
                    </a:lnTo>
                    <a:lnTo>
                      <a:pt x="30" y="519"/>
                    </a:lnTo>
                    <a:lnTo>
                      <a:pt x="32" y="514"/>
                    </a:lnTo>
                    <a:lnTo>
                      <a:pt x="34" y="515"/>
                    </a:lnTo>
                    <a:lnTo>
                      <a:pt x="34" y="514"/>
                    </a:lnTo>
                    <a:lnTo>
                      <a:pt x="36" y="514"/>
                    </a:lnTo>
                    <a:lnTo>
                      <a:pt x="37" y="514"/>
                    </a:lnTo>
                    <a:lnTo>
                      <a:pt x="39" y="512"/>
                    </a:lnTo>
                    <a:lnTo>
                      <a:pt x="42" y="512"/>
                    </a:lnTo>
                    <a:lnTo>
                      <a:pt x="42" y="510"/>
                    </a:lnTo>
                    <a:lnTo>
                      <a:pt x="46" y="512"/>
                    </a:lnTo>
                    <a:lnTo>
                      <a:pt x="46" y="510"/>
                    </a:lnTo>
                    <a:lnTo>
                      <a:pt x="46" y="508"/>
                    </a:lnTo>
                    <a:lnTo>
                      <a:pt x="46" y="507"/>
                    </a:lnTo>
                    <a:lnTo>
                      <a:pt x="46" y="505"/>
                    </a:lnTo>
                    <a:lnTo>
                      <a:pt x="47" y="507"/>
                    </a:lnTo>
                    <a:lnTo>
                      <a:pt x="47" y="508"/>
                    </a:lnTo>
                    <a:lnTo>
                      <a:pt x="53" y="512"/>
                    </a:lnTo>
                    <a:lnTo>
                      <a:pt x="53" y="514"/>
                    </a:lnTo>
                    <a:lnTo>
                      <a:pt x="54" y="515"/>
                    </a:lnTo>
                    <a:lnTo>
                      <a:pt x="56" y="515"/>
                    </a:lnTo>
                    <a:lnTo>
                      <a:pt x="58" y="515"/>
                    </a:lnTo>
                    <a:lnTo>
                      <a:pt x="59" y="517"/>
                    </a:lnTo>
                    <a:lnTo>
                      <a:pt x="59" y="520"/>
                    </a:lnTo>
                    <a:lnTo>
                      <a:pt x="61" y="522"/>
                    </a:lnTo>
                    <a:lnTo>
                      <a:pt x="61" y="520"/>
                    </a:lnTo>
                    <a:lnTo>
                      <a:pt x="64" y="520"/>
                    </a:lnTo>
                    <a:lnTo>
                      <a:pt x="66" y="519"/>
                    </a:lnTo>
                    <a:lnTo>
                      <a:pt x="66" y="517"/>
                    </a:lnTo>
                    <a:lnTo>
                      <a:pt x="66" y="515"/>
                    </a:lnTo>
                    <a:lnTo>
                      <a:pt x="68" y="515"/>
                    </a:lnTo>
                    <a:lnTo>
                      <a:pt x="68" y="517"/>
                    </a:lnTo>
                    <a:lnTo>
                      <a:pt x="71" y="517"/>
                    </a:lnTo>
                    <a:lnTo>
                      <a:pt x="71" y="515"/>
                    </a:lnTo>
                    <a:lnTo>
                      <a:pt x="73" y="515"/>
                    </a:lnTo>
                    <a:lnTo>
                      <a:pt x="71" y="514"/>
                    </a:lnTo>
                    <a:lnTo>
                      <a:pt x="73" y="514"/>
                    </a:lnTo>
                    <a:lnTo>
                      <a:pt x="75" y="515"/>
                    </a:lnTo>
                    <a:lnTo>
                      <a:pt x="75" y="514"/>
                    </a:lnTo>
                    <a:lnTo>
                      <a:pt x="75" y="512"/>
                    </a:lnTo>
                    <a:lnTo>
                      <a:pt x="76" y="512"/>
                    </a:lnTo>
                    <a:lnTo>
                      <a:pt x="76" y="508"/>
                    </a:lnTo>
                    <a:lnTo>
                      <a:pt x="78" y="505"/>
                    </a:lnTo>
                    <a:lnTo>
                      <a:pt x="78" y="498"/>
                    </a:lnTo>
                    <a:lnTo>
                      <a:pt x="81" y="498"/>
                    </a:lnTo>
                    <a:lnTo>
                      <a:pt x="83" y="498"/>
                    </a:lnTo>
                    <a:lnTo>
                      <a:pt x="85" y="502"/>
                    </a:lnTo>
                    <a:lnTo>
                      <a:pt x="88" y="502"/>
                    </a:lnTo>
                    <a:lnTo>
                      <a:pt x="90" y="502"/>
                    </a:lnTo>
                    <a:lnTo>
                      <a:pt x="90" y="500"/>
                    </a:lnTo>
                    <a:lnTo>
                      <a:pt x="92" y="498"/>
                    </a:lnTo>
                    <a:lnTo>
                      <a:pt x="95" y="497"/>
                    </a:lnTo>
                    <a:lnTo>
                      <a:pt x="100" y="497"/>
                    </a:lnTo>
                    <a:lnTo>
                      <a:pt x="104" y="495"/>
                    </a:lnTo>
                    <a:lnTo>
                      <a:pt x="105" y="493"/>
                    </a:lnTo>
                    <a:lnTo>
                      <a:pt x="109" y="491"/>
                    </a:lnTo>
                    <a:lnTo>
                      <a:pt x="112" y="490"/>
                    </a:lnTo>
                    <a:lnTo>
                      <a:pt x="110" y="493"/>
                    </a:lnTo>
                    <a:lnTo>
                      <a:pt x="112" y="497"/>
                    </a:lnTo>
                    <a:lnTo>
                      <a:pt x="115" y="498"/>
                    </a:lnTo>
                    <a:lnTo>
                      <a:pt x="112" y="502"/>
                    </a:lnTo>
                    <a:lnTo>
                      <a:pt x="110" y="502"/>
                    </a:lnTo>
                    <a:lnTo>
                      <a:pt x="110" y="503"/>
                    </a:lnTo>
                    <a:lnTo>
                      <a:pt x="110" y="505"/>
                    </a:lnTo>
                    <a:lnTo>
                      <a:pt x="110" y="508"/>
                    </a:lnTo>
                    <a:lnTo>
                      <a:pt x="112" y="512"/>
                    </a:lnTo>
                    <a:lnTo>
                      <a:pt x="110" y="514"/>
                    </a:lnTo>
                    <a:lnTo>
                      <a:pt x="112" y="515"/>
                    </a:lnTo>
                    <a:lnTo>
                      <a:pt x="110" y="517"/>
                    </a:lnTo>
                    <a:lnTo>
                      <a:pt x="110" y="519"/>
                    </a:lnTo>
                    <a:lnTo>
                      <a:pt x="112" y="522"/>
                    </a:lnTo>
                    <a:lnTo>
                      <a:pt x="115" y="519"/>
                    </a:lnTo>
                    <a:lnTo>
                      <a:pt x="119" y="520"/>
                    </a:lnTo>
                    <a:lnTo>
                      <a:pt x="121" y="522"/>
                    </a:lnTo>
                    <a:lnTo>
                      <a:pt x="124" y="524"/>
                    </a:lnTo>
                    <a:lnTo>
                      <a:pt x="126" y="522"/>
                    </a:lnTo>
                    <a:lnTo>
                      <a:pt x="134" y="517"/>
                    </a:lnTo>
                    <a:lnTo>
                      <a:pt x="136" y="512"/>
                    </a:lnTo>
                    <a:lnTo>
                      <a:pt x="143" y="503"/>
                    </a:lnTo>
                    <a:lnTo>
                      <a:pt x="148" y="500"/>
                    </a:lnTo>
                    <a:lnTo>
                      <a:pt x="149" y="497"/>
                    </a:lnTo>
                    <a:lnTo>
                      <a:pt x="151" y="493"/>
                    </a:lnTo>
                    <a:lnTo>
                      <a:pt x="155" y="491"/>
                    </a:lnTo>
                    <a:lnTo>
                      <a:pt x="156" y="490"/>
                    </a:lnTo>
                    <a:lnTo>
                      <a:pt x="161" y="491"/>
                    </a:lnTo>
                    <a:lnTo>
                      <a:pt x="165" y="488"/>
                    </a:lnTo>
                    <a:lnTo>
                      <a:pt x="166" y="486"/>
                    </a:lnTo>
                    <a:lnTo>
                      <a:pt x="166" y="483"/>
                    </a:lnTo>
                    <a:lnTo>
                      <a:pt x="168" y="481"/>
                    </a:lnTo>
                    <a:lnTo>
                      <a:pt x="170" y="478"/>
                    </a:lnTo>
                    <a:lnTo>
                      <a:pt x="177" y="476"/>
                    </a:lnTo>
                    <a:lnTo>
                      <a:pt x="183" y="474"/>
                    </a:lnTo>
                    <a:lnTo>
                      <a:pt x="187" y="473"/>
                    </a:lnTo>
                    <a:lnTo>
                      <a:pt x="194" y="457"/>
                    </a:lnTo>
                    <a:lnTo>
                      <a:pt x="197" y="454"/>
                    </a:lnTo>
                    <a:lnTo>
                      <a:pt x="199" y="449"/>
                    </a:lnTo>
                    <a:lnTo>
                      <a:pt x="202" y="444"/>
                    </a:lnTo>
                    <a:lnTo>
                      <a:pt x="202" y="440"/>
                    </a:lnTo>
                    <a:lnTo>
                      <a:pt x="200" y="439"/>
                    </a:lnTo>
                    <a:lnTo>
                      <a:pt x="202" y="435"/>
                    </a:lnTo>
                    <a:lnTo>
                      <a:pt x="200" y="430"/>
                    </a:lnTo>
                    <a:lnTo>
                      <a:pt x="202" y="427"/>
                    </a:lnTo>
                    <a:lnTo>
                      <a:pt x="200" y="422"/>
                    </a:lnTo>
                    <a:lnTo>
                      <a:pt x="202" y="413"/>
                    </a:lnTo>
                    <a:lnTo>
                      <a:pt x="204" y="410"/>
                    </a:lnTo>
                    <a:lnTo>
                      <a:pt x="204" y="405"/>
                    </a:lnTo>
                    <a:lnTo>
                      <a:pt x="202" y="400"/>
                    </a:lnTo>
                    <a:lnTo>
                      <a:pt x="200" y="391"/>
                    </a:lnTo>
                    <a:lnTo>
                      <a:pt x="202" y="386"/>
                    </a:lnTo>
                    <a:lnTo>
                      <a:pt x="204" y="383"/>
                    </a:lnTo>
                    <a:lnTo>
                      <a:pt x="211" y="376"/>
                    </a:lnTo>
                    <a:lnTo>
                      <a:pt x="212" y="374"/>
                    </a:lnTo>
                    <a:lnTo>
                      <a:pt x="216" y="369"/>
                    </a:lnTo>
                    <a:lnTo>
                      <a:pt x="221" y="367"/>
                    </a:lnTo>
                    <a:lnTo>
                      <a:pt x="221" y="362"/>
                    </a:lnTo>
                    <a:lnTo>
                      <a:pt x="226" y="352"/>
                    </a:lnTo>
                    <a:lnTo>
                      <a:pt x="226" y="349"/>
                    </a:lnTo>
                    <a:lnTo>
                      <a:pt x="231" y="343"/>
                    </a:lnTo>
                    <a:lnTo>
                      <a:pt x="233" y="338"/>
                    </a:lnTo>
                    <a:lnTo>
                      <a:pt x="240" y="333"/>
                    </a:lnTo>
                    <a:lnTo>
                      <a:pt x="243" y="330"/>
                    </a:lnTo>
                    <a:lnTo>
                      <a:pt x="246" y="328"/>
                    </a:lnTo>
                    <a:lnTo>
                      <a:pt x="253" y="326"/>
                    </a:lnTo>
                    <a:lnTo>
                      <a:pt x="262" y="321"/>
                    </a:lnTo>
                    <a:lnTo>
                      <a:pt x="263" y="318"/>
                    </a:lnTo>
                    <a:lnTo>
                      <a:pt x="265" y="316"/>
                    </a:lnTo>
                    <a:lnTo>
                      <a:pt x="268" y="311"/>
                    </a:lnTo>
                    <a:lnTo>
                      <a:pt x="274" y="308"/>
                    </a:lnTo>
                    <a:lnTo>
                      <a:pt x="274" y="304"/>
                    </a:lnTo>
                    <a:lnTo>
                      <a:pt x="279" y="301"/>
                    </a:lnTo>
                    <a:lnTo>
                      <a:pt x="279" y="292"/>
                    </a:lnTo>
                    <a:lnTo>
                      <a:pt x="277" y="289"/>
                    </a:lnTo>
                    <a:lnTo>
                      <a:pt x="277" y="282"/>
                    </a:lnTo>
                    <a:lnTo>
                      <a:pt x="280" y="277"/>
                    </a:lnTo>
                    <a:lnTo>
                      <a:pt x="282" y="265"/>
                    </a:lnTo>
                    <a:lnTo>
                      <a:pt x="285" y="260"/>
                    </a:lnTo>
                    <a:lnTo>
                      <a:pt x="291" y="255"/>
                    </a:lnTo>
                    <a:lnTo>
                      <a:pt x="291" y="250"/>
                    </a:lnTo>
                    <a:lnTo>
                      <a:pt x="291" y="246"/>
                    </a:lnTo>
                    <a:lnTo>
                      <a:pt x="287" y="245"/>
                    </a:lnTo>
                    <a:lnTo>
                      <a:pt x="287" y="243"/>
                    </a:lnTo>
                    <a:lnTo>
                      <a:pt x="287" y="240"/>
                    </a:lnTo>
                    <a:lnTo>
                      <a:pt x="287" y="238"/>
                    </a:lnTo>
                    <a:lnTo>
                      <a:pt x="287" y="236"/>
                    </a:lnTo>
                    <a:lnTo>
                      <a:pt x="287" y="235"/>
                    </a:lnTo>
                    <a:lnTo>
                      <a:pt x="285" y="224"/>
                    </a:lnTo>
                    <a:lnTo>
                      <a:pt x="287" y="219"/>
                    </a:lnTo>
                    <a:lnTo>
                      <a:pt x="291" y="214"/>
                    </a:lnTo>
                    <a:lnTo>
                      <a:pt x="291" y="209"/>
                    </a:lnTo>
                    <a:lnTo>
                      <a:pt x="292" y="204"/>
                    </a:lnTo>
                    <a:lnTo>
                      <a:pt x="297" y="195"/>
                    </a:lnTo>
                    <a:lnTo>
                      <a:pt x="297" y="187"/>
                    </a:lnTo>
                    <a:lnTo>
                      <a:pt x="296" y="180"/>
                    </a:lnTo>
                    <a:lnTo>
                      <a:pt x="297" y="175"/>
                    </a:lnTo>
                    <a:lnTo>
                      <a:pt x="296" y="170"/>
                    </a:lnTo>
                    <a:lnTo>
                      <a:pt x="297" y="167"/>
                    </a:lnTo>
                    <a:lnTo>
                      <a:pt x="297" y="160"/>
                    </a:lnTo>
                    <a:lnTo>
                      <a:pt x="302" y="155"/>
                    </a:lnTo>
                    <a:lnTo>
                      <a:pt x="304" y="150"/>
                    </a:lnTo>
                    <a:lnTo>
                      <a:pt x="306" y="146"/>
                    </a:lnTo>
                    <a:lnTo>
                      <a:pt x="311" y="141"/>
                    </a:lnTo>
                    <a:lnTo>
                      <a:pt x="311" y="139"/>
                    </a:lnTo>
                    <a:lnTo>
                      <a:pt x="314" y="133"/>
                    </a:lnTo>
                    <a:lnTo>
                      <a:pt x="316" y="126"/>
                    </a:lnTo>
                    <a:lnTo>
                      <a:pt x="321" y="117"/>
                    </a:lnTo>
                    <a:lnTo>
                      <a:pt x="323" y="116"/>
                    </a:lnTo>
                    <a:lnTo>
                      <a:pt x="326" y="112"/>
                    </a:lnTo>
                    <a:lnTo>
                      <a:pt x="326" y="105"/>
                    </a:lnTo>
                    <a:lnTo>
                      <a:pt x="325" y="97"/>
                    </a:lnTo>
                    <a:lnTo>
                      <a:pt x="325" y="95"/>
                    </a:lnTo>
                    <a:lnTo>
                      <a:pt x="323" y="83"/>
                    </a:lnTo>
                    <a:lnTo>
                      <a:pt x="325" y="76"/>
                    </a:lnTo>
                    <a:lnTo>
                      <a:pt x="326" y="71"/>
                    </a:lnTo>
                    <a:lnTo>
                      <a:pt x="326" y="70"/>
                    </a:lnTo>
                    <a:lnTo>
                      <a:pt x="325" y="61"/>
                    </a:lnTo>
                    <a:lnTo>
                      <a:pt x="321" y="54"/>
                    </a:lnTo>
                    <a:lnTo>
                      <a:pt x="321" y="53"/>
                    </a:lnTo>
                    <a:lnTo>
                      <a:pt x="323" y="53"/>
                    </a:lnTo>
                    <a:lnTo>
                      <a:pt x="325" y="53"/>
                    </a:lnTo>
                    <a:lnTo>
                      <a:pt x="328" y="53"/>
                    </a:lnTo>
                    <a:lnTo>
                      <a:pt x="331" y="51"/>
                    </a:lnTo>
                    <a:lnTo>
                      <a:pt x="335" y="47"/>
                    </a:lnTo>
                    <a:lnTo>
                      <a:pt x="335" y="41"/>
                    </a:lnTo>
                    <a:lnTo>
                      <a:pt x="338" y="41"/>
                    </a:lnTo>
                    <a:lnTo>
                      <a:pt x="340" y="37"/>
                    </a:lnTo>
                    <a:lnTo>
                      <a:pt x="343" y="32"/>
                    </a:lnTo>
                    <a:lnTo>
                      <a:pt x="345" y="32"/>
                    </a:lnTo>
                    <a:lnTo>
                      <a:pt x="348" y="24"/>
                    </a:lnTo>
                    <a:lnTo>
                      <a:pt x="352" y="24"/>
                    </a:lnTo>
                    <a:lnTo>
                      <a:pt x="353" y="24"/>
                    </a:lnTo>
                    <a:lnTo>
                      <a:pt x="355" y="20"/>
                    </a:lnTo>
                    <a:lnTo>
                      <a:pt x="362" y="17"/>
                    </a:lnTo>
                    <a:lnTo>
                      <a:pt x="364" y="15"/>
                    </a:lnTo>
                    <a:lnTo>
                      <a:pt x="365" y="13"/>
                    </a:lnTo>
                    <a:lnTo>
                      <a:pt x="369" y="13"/>
                    </a:lnTo>
                    <a:lnTo>
                      <a:pt x="372" y="13"/>
                    </a:lnTo>
                    <a:lnTo>
                      <a:pt x="374" y="13"/>
                    </a:lnTo>
                    <a:lnTo>
                      <a:pt x="379" y="13"/>
                    </a:lnTo>
                    <a:lnTo>
                      <a:pt x="386" y="15"/>
                    </a:lnTo>
                    <a:lnTo>
                      <a:pt x="389" y="20"/>
                    </a:lnTo>
                    <a:lnTo>
                      <a:pt x="391" y="22"/>
                    </a:lnTo>
                    <a:lnTo>
                      <a:pt x="394" y="22"/>
                    </a:lnTo>
                    <a:lnTo>
                      <a:pt x="399" y="25"/>
                    </a:lnTo>
                    <a:lnTo>
                      <a:pt x="403" y="25"/>
                    </a:lnTo>
                    <a:lnTo>
                      <a:pt x="403" y="29"/>
                    </a:lnTo>
                    <a:lnTo>
                      <a:pt x="406" y="30"/>
                    </a:lnTo>
                    <a:lnTo>
                      <a:pt x="411" y="32"/>
                    </a:lnTo>
                    <a:lnTo>
                      <a:pt x="413" y="36"/>
                    </a:lnTo>
                    <a:lnTo>
                      <a:pt x="415" y="36"/>
                    </a:lnTo>
                    <a:lnTo>
                      <a:pt x="418" y="39"/>
                    </a:lnTo>
                    <a:lnTo>
                      <a:pt x="418" y="42"/>
                    </a:lnTo>
                    <a:lnTo>
                      <a:pt x="418" y="44"/>
                    </a:lnTo>
                    <a:lnTo>
                      <a:pt x="421" y="47"/>
                    </a:lnTo>
                    <a:lnTo>
                      <a:pt x="425" y="49"/>
                    </a:lnTo>
                    <a:lnTo>
                      <a:pt x="427" y="49"/>
                    </a:lnTo>
                    <a:lnTo>
                      <a:pt x="432" y="49"/>
                    </a:lnTo>
                    <a:lnTo>
                      <a:pt x="435" y="49"/>
                    </a:lnTo>
                    <a:lnTo>
                      <a:pt x="438" y="47"/>
                    </a:lnTo>
                    <a:lnTo>
                      <a:pt x="444" y="49"/>
                    </a:lnTo>
                    <a:lnTo>
                      <a:pt x="450" y="51"/>
                    </a:lnTo>
                    <a:lnTo>
                      <a:pt x="454" y="54"/>
                    </a:lnTo>
                    <a:lnTo>
                      <a:pt x="455" y="56"/>
                    </a:lnTo>
                    <a:lnTo>
                      <a:pt x="457" y="54"/>
                    </a:lnTo>
                    <a:lnTo>
                      <a:pt x="461" y="54"/>
                    </a:lnTo>
                    <a:lnTo>
                      <a:pt x="464" y="56"/>
                    </a:lnTo>
                    <a:lnTo>
                      <a:pt x="467" y="56"/>
                    </a:lnTo>
                    <a:lnTo>
                      <a:pt x="469" y="58"/>
                    </a:lnTo>
                    <a:lnTo>
                      <a:pt x="472" y="58"/>
                    </a:lnTo>
                    <a:lnTo>
                      <a:pt x="478" y="54"/>
                    </a:lnTo>
                    <a:lnTo>
                      <a:pt x="481" y="56"/>
                    </a:lnTo>
                    <a:lnTo>
                      <a:pt x="483" y="56"/>
                    </a:lnTo>
                    <a:lnTo>
                      <a:pt x="488" y="58"/>
                    </a:lnTo>
                    <a:lnTo>
                      <a:pt x="493" y="59"/>
                    </a:lnTo>
                    <a:lnTo>
                      <a:pt x="496" y="58"/>
                    </a:lnTo>
                    <a:lnTo>
                      <a:pt x="498" y="59"/>
                    </a:lnTo>
                    <a:lnTo>
                      <a:pt x="500" y="59"/>
                    </a:lnTo>
                    <a:lnTo>
                      <a:pt x="505" y="63"/>
                    </a:lnTo>
                    <a:lnTo>
                      <a:pt x="508" y="64"/>
                    </a:lnTo>
                    <a:lnTo>
                      <a:pt x="518" y="64"/>
                    </a:lnTo>
                    <a:lnTo>
                      <a:pt x="523" y="59"/>
                    </a:lnTo>
                    <a:lnTo>
                      <a:pt x="523" y="56"/>
                    </a:lnTo>
                    <a:lnTo>
                      <a:pt x="525" y="54"/>
                    </a:lnTo>
                    <a:lnTo>
                      <a:pt x="527" y="53"/>
                    </a:lnTo>
                    <a:lnTo>
                      <a:pt x="525" y="51"/>
                    </a:lnTo>
                    <a:lnTo>
                      <a:pt x="525" y="49"/>
                    </a:lnTo>
                    <a:lnTo>
                      <a:pt x="527" y="47"/>
                    </a:lnTo>
                    <a:lnTo>
                      <a:pt x="527" y="46"/>
                    </a:lnTo>
                    <a:lnTo>
                      <a:pt x="529" y="46"/>
                    </a:lnTo>
                    <a:lnTo>
                      <a:pt x="532" y="46"/>
                    </a:lnTo>
                    <a:lnTo>
                      <a:pt x="532" y="44"/>
                    </a:lnTo>
                    <a:lnTo>
                      <a:pt x="534" y="42"/>
                    </a:lnTo>
                    <a:lnTo>
                      <a:pt x="534" y="39"/>
                    </a:lnTo>
                    <a:lnTo>
                      <a:pt x="535" y="36"/>
                    </a:lnTo>
                    <a:lnTo>
                      <a:pt x="537" y="34"/>
                    </a:lnTo>
                    <a:lnTo>
                      <a:pt x="539" y="36"/>
                    </a:lnTo>
                    <a:lnTo>
                      <a:pt x="540" y="34"/>
                    </a:lnTo>
                    <a:lnTo>
                      <a:pt x="540" y="32"/>
                    </a:lnTo>
                    <a:lnTo>
                      <a:pt x="540" y="30"/>
                    </a:lnTo>
                    <a:lnTo>
                      <a:pt x="542" y="29"/>
                    </a:lnTo>
                    <a:lnTo>
                      <a:pt x="544" y="29"/>
                    </a:lnTo>
                    <a:lnTo>
                      <a:pt x="546" y="29"/>
                    </a:lnTo>
                    <a:lnTo>
                      <a:pt x="547" y="32"/>
                    </a:lnTo>
                    <a:lnTo>
                      <a:pt x="552" y="36"/>
                    </a:lnTo>
                    <a:lnTo>
                      <a:pt x="556" y="34"/>
                    </a:lnTo>
                    <a:lnTo>
                      <a:pt x="557" y="37"/>
                    </a:lnTo>
                    <a:lnTo>
                      <a:pt x="559" y="37"/>
                    </a:lnTo>
                    <a:lnTo>
                      <a:pt x="561" y="39"/>
                    </a:lnTo>
                    <a:lnTo>
                      <a:pt x="563" y="41"/>
                    </a:lnTo>
                    <a:lnTo>
                      <a:pt x="564" y="39"/>
                    </a:lnTo>
                    <a:lnTo>
                      <a:pt x="566" y="41"/>
                    </a:lnTo>
                    <a:lnTo>
                      <a:pt x="568" y="41"/>
                    </a:lnTo>
                    <a:lnTo>
                      <a:pt x="568" y="37"/>
                    </a:lnTo>
                    <a:lnTo>
                      <a:pt x="569" y="37"/>
                    </a:lnTo>
                    <a:lnTo>
                      <a:pt x="571" y="37"/>
                    </a:lnTo>
                    <a:lnTo>
                      <a:pt x="574" y="36"/>
                    </a:lnTo>
                    <a:lnTo>
                      <a:pt x="576" y="32"/>
                    </a:lnTo>
                    <a:lnTo>
                      <a:pt x="581" y="32"/>
                    </a:lnTo>
                    <a:lnTo>
                      <a:pt x="583" y="30"/>
                    </a:lnTo>
                    <a:lnTo>
                      <a:pt x="586" y="30"/>
                    </a:lnTo>
                    <a:lnTo>
                      <a:pt x="588" y="29"/>
                    </a:lnTo>
                    <a:lnTo>
                      <a:pt x="590" y="30"/>
                    </a:lnTo>
                    <a:lnTo>
                      <a:pt x="591" y="29"/>
                    </a:lnTo>
                    <a:lnTo>
                      <a:pt x="595" y="30"/>
                    </a:lnTo>
                    <a:lnTo>
                      <a:pt x="595" y="27"/>
                    </a:lnTo>
                    <a:lnTo>
                      <a:pt x="597" y="27"/>
                    </a:lnTo>
                    <a:lnTo>
                      <a:pt x="598" y="27"/>
                    </a:lnTo>
                    <a:lnTo>
                      <a:pt x="603" y="24"/>
                    </a:lnTo>
                    <a:lnTo>
                      <a:pt x="605" y="25"/>
                    </a:lnTo>
                    <a:lnTo>
                      <a:pt x="607" y="24"/>
                    </a:lnTo>
                    <a:lnTo>
                      <a:pt x="608" y="22"/>
                    </a:lnTo>
                    <a:lnTo>
                      <a:pt x="610" y="22"/>
                    </a:lnTo>
                    <a:lnTo>
                      <a:pt x="610" y="24"/>
                    </a:lnTo>
                    <a:lnTo>
                      <a:pt x="610" y="22"/>
                    </a:lnTo>
                    <a:lnTo>
                      <a:pt x="612" y="20"/>
                    </a:lnTo>
                    <a:lnTo>
                      <a:pt x="615" y="20"/>
                    </a:lnTo>
                    <a:lnTo>
                      <a:pt x="617" y="19"/>
                    </a:lnTo>
                    <a:lnTo>
                      <a:pt x="617" y="17"/>
                    </a:lnTo>
                    <a:lnTo>
                      <a:pt x="615" y="19"/>
                    </a:lnTo>
                    <a:lnTo>
                      <a:pt x="615" y="17"/>
                    </a:lnTo>
                    <a:lnTo>
                      <a:pt x="617" y="15"/>
                    </a:lnTo>
                    <a:lnTo>
                      <a:pt x="619" y="15"/>
                    </a:lnTo>
                    <a:lnTo>
                      <a:pt x="619" y="17"/>
                    </a:lnTo>
                    <a:lnTo>
                      <a:pt x="620" y="17"/>
                    </a:lnTo>
                    <a:lnTo>
                      <a:pt x="620" y="15"/>
                    </a:lnTo>
                    <a:lnTo>
                      <a:pt x="624" y="17"/>
                    </a:lnTo>
                    <a:lnTo>
                      <a:pt x="625" y="19"/>
                    </a:lnTo>
                    <a:lnTo>
                      <a:pt x="629" y="19"/>
                    </a:lnTo>
                    <a:lnTo>
                      <a:pt x="629" y="22"/>
                    </a:lnTo>
                    <a:lnTo>
                      <a:pt x="631" y="22"/>
                    </a:lnTo>
                    <a:lnTo>
                      <a:pt x="631" y="24"/>
                    </a:lnTo>
                    <a:lnTo>
                      <a:pt x="632" y="25"/>
                    </a:lnTo>
                    <a:lnTo>
                      <a:pt x="634" y="25"/>
                    </a:lnTo>
                    <a:lnTo>
                      <a:pt x="636" y="25"/>
                    </a:lnTo>
                    <a:lnTo>
                      <a:pt x="637" y="25"/>
                    </a:lnTo>
                    <a:lnTo>
                      <a:pt x="637" y="24"/>
                    </a:lnTo>
                    <a:lnTo>
                      <a:pt x="641" y="24"/>
                    </a:lnTo>
                    <a:lnTo>
                      <a:pt x="641" y="22"/>
                    </a:lnTo>
                    <a:lnTo>
                      <a:pt x="642" y="22"/>
                    </a:lnTo>
                    <a:lnTo>
                      <a:pt x="644" y="22"/>
                    </a:lnTo>
                    <a:lnTo>
                      <a:pt x="646" y="20"/>
                    </a:lnTo>
                    <a:lnTo>
                      <a:pt x="651" y="24"/>
                    </a:lnTo>
                    <a:lnTo>
                      <a:pt x="653" y="22"/>
                    </a:lnTo>
                    <a:lnTo>
                      <a:pt x="654" y="20"/>
                    </a:lnTo>
                    <a:lnTo>
                      <a:pt x="656" y="19"/>
                    </a:lnTo>
                    <a:lnTo>
                      <a:pt x="656" y="20"/>
                    </a:lnTo>
                    <a:lnTo>
                      <a:pt x="658" y="20"/>
                    </a:lnTo>
                    <a:lnTo>
                      <a:pt x="665" y="19"/>
                    </a:lnTo>
                    <a:lnTo>
                      <a:pt x="665" y="17"/>
                    </a:lnTo>
                    <a:lnTo>
                      <a:pt x="665" y="15"/>
                    </a:lnTo>
                    <a:lnTo>
                      <a:pt x="666" y="12"/>
                    </a:lnTo>
                    <a:lnTo>
                      <a:pt x="665" y="13"/>
                    </a:lnTo>
                    <a:lnTo>
                      <a:pt x="663" y="10"/>
                    </a:lnTo>
                    <a:lnTo>
                      <a:pt x="665" y="10"/>
                    </a:lnTo>
                    <a:lnTo>
                      <a:pt x="665" y="7"/>
                    </a:lnTo>
                    <a:lnTo>
                      <a:pt x="666" y="5"/>
                    </a:lnTo>
                    <a:lnTo>
                      <a:pt x="668" y="5"/>
                    </a:lnTo>
                    <a:lnTo>
                      <a:pt x="668" y="3"/>
                    </a:lnTo>
                    <a:lnTo>
                      <a:pt x="668" y="5"/>
                    </a:lnTo>
                    <a:lnTo>
                      <a:pt x="670" y="5"/>
                    </a:lnTo>
                    <a:lnTo>
                      <a:pt x="670" y="3"/>
                    </a:lnTo>
                    <a:lnTo>
                      <a:pt x="671" y="3"/>
                    </a:lnTo>
                    <a:lnTo>
                      <a:pt x="671" y="2"/>
                    </a:lnTo>
                    <a:lnTo>
                      <a:pt x="673" y="3"/>
                    </a:lnTo>
                    <a:lnTo>
                      <a:pt x="675" y="2"/>
                    </a:lnTo>
                    <a:lnTo>
                      <a:pt x="675" y="0"/>
                    </a:lnTo>
                    <a:lnTo>
                      <a:pt x="676" y="2"/>
                    </a:lnTo>
                    <a:lnTo>
                      <a:pt x="678" y="3"/>
                    </a:lnTo>
                    <a:lnTo>
                      <a:pt x="680" y="3"/>
                    </a:lnTo>
                    <a:lnTo>
                      <a:pt x="678" y="3"/>
                    </a:lnTo>
                    <a:lnTo>
                      <a:pt x="680" y="3"/>
                    </a:lnTo>
                    <a:lnTo>
                      <a:pt x="680" y="5"/>
                    </a:lnTo>
                    <a:lnTo>
                      <a:pt x="680" y="3"/>
                    </a:lnTo>
                    <a:lnTo>
                      <a:pt x="682" y="5"/>
                    </a:lnTo>
                    <a:lnTo>
                      <a:pt x="683" y="5"/>
                    </a:lnTo>
                    <a:lnTo>
                      <a:pt x="683" y="7"/>
                    </a:lnTo>
                    <a:lnTo>
                      <a:pt x="685" y="7"/>
                    </a:lnTo>
                    <a:lnTo>
                      <a:pt x="685" y="8"/>
                    </a:lnTo>
                    <a:lnTo>
                      <a:pt x="687" y="7"/>
                    </a:lnTo>
                    <a:lnTo>
                      <a:pt x="688" y="7"/>
                    </a:lnTo>
                    <a:lnTo>
                      <a:pt x="687" y="8"/>
                    </a:lnTo>
                    <a:lnTo>
                      <a:pt x="688" y="8"/>
                    </a:lnTo>
                    <a:lnTo>
                      <a:pt x="690" y="10"/>
                    </a:lnTo>
                    <a:lnTo>
                      <a:pt x="692" y="8"/>
                    </a:lnTo>
                    <a:lnTo>
                      <a:pt x="692" y="10"/>
                    </a:lnTo>
                    <a:lnTo>
                      <a:pt x="693" y="10"/>
                    </a:lnTo>
                    <a:lnTo>
                      <a:pt x="693" y="12"/>
                    </a:lnTo>
                    <a:lnTo>
                      <a:pt x="693" y="10"/>
                    </a:lnTo>
                    <a:lnTo>
                      <a:pt x="697" y="10"/>
                    </a:lnTo>
                    <a:lnTo>
                      <a:pt x="697" y="8"/>
                    </a:lnTo>
                    <a:lnTo>
                      <a:pt x="699" y="8"/>
                    </a:lnTo>
                    <a:lnTo>
                      <a:pt x="699" y="10"/>
                    </a:lnTo>
                    <a:lnTo>
                      <a:pt x="700" y="10"/>
                    </a:lnTo>
                    <a:lnTo>
                      <a:pt x="700" y="8"/>
                    </a:lnTo>
                    <a:lnTo>
                      <a:pt x="702" y="10"/>
                    </a:lnTo>
                    <a:lnTo>
                      <a:pt x="702" y="8"/>
                    </a:lnTo>
                    <a:lnTo>
                      <a:pt x="704" y="10"/>
                    </a:lnTo>
                    <a:lnTo>
                      <a:pt x="704" y="8"/>
                    </a:lnTo>
                    <a:lnTo>
                      <a:pt x="705" y="7"/>
                    </a:lnTo>
                    <a:lnTo>
                      <a:pt x="707" y="7"/>
                    </a:lnTo>
                    <a:lnTo>
                      <a:pt x="707" y="8"/>
                    </a:lnTo>
                    <a:lnTo>
                      <a:pt x="709" y="8"/>
                    </a:lnTo>
                    <a:lnTo>
                      <a:pt x="709" y="10"/>
                    </a:lnTo>
                    <a:lnTo>
                      <a:pt x="710" y="10"/>
                    </a:lnTo>
                    <a:lnTo>
                      <a:pt x="710" y="12"/>
                    </a:lnTo>
                    <a:lnTo>
                      <a:pt x="712" y="12"/>
                    </a:lnTo>
                    <a:lnTo>
                      <a:pt x="714" y="12"/>
                    </a:lnTo>
                    <a:lnTo>
                      <a:pt x="714" y="13"/>
                    </a:lnTo>
                    <a:lnTo>
                      <a:pt x="714" y="12"/>
                    </a:lnTo>
                    <a:lnTo>
                      <a:pt x="716" y="13"/>
                    </a:lnTo>
                    <a:lnTo>
                      <a:pt x="716" y="12"/>
                    </a:lnTo>
                    <a:lnTo>
                      <a:pt x="716" y="13"/>
                    </a:lnTo>
                    <a:lnTo>
                      <a:pt x="716" y="12"/>
                    </a:lnTo>
                    <a:lnTo>
                      <a:pt x="717" y="13"/>
                    </a:lnTo>
                    <a:lnTo>
                      <a:pt x="717" y="12"/>
                    </a:lnTo>
                    <a:lnTo>
                      <a:pt x="719" y="13"/>
                    </a:lnTo>
                    <a:lnTo>
                      <a:pt x="719" y="15"/>
                    </a:lnTo>
                    <a:lnTo>
                      <a:pt x="721" y="15"/>
                    </a:lnTo>
                    <a:lnTo>
                      <a:pt x="721" y="17"/>
                    </a:lnTo>
                    <a:lnTo>
                      <a:pt x="722" y="17"/>
                    </a:lnTo>
                    <a:lnTo>
                      <a:pt x="722" y="19"/>
                    </a:lnTo>
                    <a:lnTo>
                      <a:pt x="724" y="17"/>
                    </a:lnTo>
                    <a:lnTo>
                      <a:pt x="724" y="19"/>
                    </a:lnTo>
                    <a:lnTo>
                      <a:pt x="726" y="17"/>
                    </a:lnTo>
                    <a:lnTo>
                      <a:pt x="726" y="19"/>
                    </a:lnTo>
                    <a:lnTo>
                      <a:pt x="726" y="17"/>
                    </a:lnTo>
                    <a:lnTo>
                      <a:pt x="727" y="17"/>
                    </a:lnTo>
                    <a:lnTo>
                      <a:pt x="727" y="15"/>
                    </a:lnTo>
                    <a:lnTo>
                      <a:pt x="729" y="17"/>
                    </a:lnTo>
                    <a:lnTo>
                      <a:pt x="729" y="15"/>
                    </a:lnTo>
                    <a:lnTo>
                      <a:pt x="731" y="17"/>
                    </a:lnTo>
                    <a:lnTo>
                      <a:pt x="731" y="15"/>
                    </a:lnTo>
                    <a:lnTo>
                      <a:pt x="731" y="17"/>
                    </a:lnTo>
                    <a:lnTo>
                      <a:pt x="734" y="15"/>
                    </a:lnTo>
                    <a:lnTo>
                      <a:pt x="738" y="15"/>
                    </a:lnTo>
                    <a:lnTo>
                      <a:pt x="739" y="19"/>
                    </a:lnTo>
                    <a:lnTo>
                      <a:pt x="741" y="17"/>
                    </a:lnTo>
                    <a:lnTo>
                      <a:pt x="743" y="19"/>
                    </a:lnTo>
                    <a:lnTo>
                      <a:pt x="746" y="13"/>
                    </a:lnTo>
                    <a:lnTo>
                      <a:pt x="750" y="10"/>
                    </a:lnTo>
                    <a:lnTo>
                      <a:pt x="755" y="10"/>
                    </a:lnTo>
                    <a:lnTo>
                      <a:pt x="758" y="10"/>
                    </a:lnTo>
                    <a:lnTo>
                      <a:pt x="761" y="12"/>
                    </a:lnTo>
                    <a:lnTo>
                      <a:pt x="765" y="13"/>
                    </a:lnTo>
                    <a:lnTo>
                      <a:pt x="772" y="17"/>
                    </a:lnTo>
                    <a:close/>
                    <a:moveTo>
                      <a:pt x="37" y="571"/>
                    </a:moveTo>
                    <a:lnTo>
                      <a:pt x="41" y="571"/>
                    </a:lnTo>
                    <a:lnTo>
                      <a:pt x="37" y="573"/>
                    </a:lnTo>
                    <a:lnTo>
                      <a:pt x="34" y="573"/>
                    </a:lnTo>
                    <a:lnTo>
                      <a:pt x="30" y="576"/>
                    </a:lnTo>
                    <a:lnTo>
                      <a:pt x="27" y="575"/>
                    </a:lnTo>
                    <a:lnTo>
                      <a:pt x="27" y="576"/>
                    </a:lnTo>
                    <a:lnTo>
                      <a:pt x="27" y="575"/>
                    </a:lnTo>
                    <a:lnTo>
                      <a:pt x="30" y="573"/>
                    </a:lnTo>
                    <a:lnTo>
                      <a:pt x="30" y="571"/>
                    </a:lnTo>
                    <a:lnTo>
                      <a:pt x="32" y="571"/>
                    </a:lnTo>
                    <a:lnTo>
                      <a:pt x="34" y="570"/>
                    </a:lnTo>
                    <a:lnTo>
                      <a:pt x="37" y="571"/>
                    </a:lnTo>
                    <a:close/>
                    <a:moveTo>
                      <a:pt x="15" y="576"/>
                    </a:moveTo>
                    <a:lnTo>
                      <a:pt x="12" y="578"/>
                    </a:lnTo>
                    <a:lnTo>
                      <a:pt x="10" y="578"/>
                    </a:lnTo>
                    <a:lnTo>
                      <a:pt x="12" y="576"/>
                    </a:lnTo>
                    <a:lnTo>
                      <a:pt x="13" y="576"/>
                    </a:lnTo>
                    <a:lnTo>
                      <a:pt x="15" y="576"/>
                    </a:lnTo>
                    <a:close/>
                    <a:moveTo>
                      <a:pt x="39" y="570"/>
                    </a:moveTo>
                    <a:lnTo>
                      <a:pt x="37" y="570"/>
                    </a:lnTo>
                    <a:lnTo>
                      <a:pt x="36" y="571"/>
                    </a:lnTo>
                    <a:lnTo>
                      <a:pt x="34" y="570"/>
                    </a:lnTo>
                    <a:lnTo>
                      <a:pt x="36" y="570"/>
                    </a:lnTo>
                    <a:lnTo>
                      <a:pt x="39" y="570"/>
                    </a:lnTo>
                    <a:close/>
                    <a:moveTo>
                      <a:pt x="29" y="571"/>
                    </a:moveTo>
                    <a:lnTo>
                      <a:pt x="30" y="571"/>
                    </a:lnTo>
                    <a:lnTo>
                      <a:pt x="30" y="573"/>
                    </a:lnTo>
                    <a:lnTo>
                      <a:pt x="29" y="573"/>
                    </a:lnTo>
                    <a:lnTo>
                      <a:pt x="29" y="571"/>
                    </a:lnTo>
                    <a:close/>
                    <a:moveTo>
                      <a:pt x="19" y="578"/>
                    </a:moveTo>
                    <a:lnTo>
                      <a:pt x="20" y="578"/>
                    </a:lnTo>
                    <a:lnTo>
                      <a:pt x="19" y="578"/>
                    </a:lnTo>
                    <a:close/>
                    <a:moveTo>
                      <a:pt x="36" y="570"/>
                    </a:moveTo>
                    <a:lnTo>
                      <a:pt x="39" y="570"/>
                    </a:lnTo>
                    <a:lnTo>
                      <a:pt x="39" y="571"/>
                    </a:lnTo>
                    <a:lnTo>
                      <a:pt x="36" y="571"/>
                    </a:lnTo>
                    <a:lnTo>
                      <a:pt x="36" y="570"/>
                    </a:lnTo>
                    <a:close/>
                    <a:moveTo>
                      <a:pt x="32" y="575"/>
                    </a:moveTo>
                    <a:lnTo>
                      <a:pt x="34" y="575"/>
                    </a:lnTo>
                    <a:lnTo>
                      <a:pt x="32" y="575"/>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7" name="Freeform 23">
                <a:extLst>
                  <a:ext uri="{FF2B5EF4-FFF2-40B4-BE49-F238E27FC236}">
                    <a16:creationId xmlns:a16="http://schemas.microsoft.com/office/drawing/2014/main" id="{6811F6EB-54C6-4EC0-84AE-78759422281B}"/>
                  </a:ext>
                </a:extLst>
              </p:cNvPr>
              <p:cNvSpPr>
                <a:spLocks noEditPoints="1"/>
              </p:cNvSpPr>
              <p:nvPr/>
            </p:nvSpPr>
            <p:spPr bwMode="gray">
              <a:xfrm>
                <a:off x="7935913" y="2430463"/>
                <a:ext cx="131762" cy="146050"/>
              </a:xfrm>
              <a:custGeom>
                <a:avLst/>
                <a:gdLst>
                  <a:gd name="T0" fmla="*/ 62 w 83"/>
                  <a:gd name="T1" fmla="*/ 83 h 92"/>
                  <a:gd name="T2" fmla="*/ 56 w 83"/>
                  <a:gd name="T3" fmla="*/ 88 h 92"/>
                  <a:gd name="T4" fmla="*/ 51 w 83"/>
                  <a:gd name="T5" fmla="*/ 88 h 92"/>
                  <a:gd name="T6" fmla="*/ 45 w 83"/>
                  <a:gd name="T7" fmla="*/ 85 h 92"/>
                  <a:gd name="T8" fmla="*/ 40 w 83"/>
                  <a:gd name="T9" fmla="*/ 83 h 92"/>
                  <a:gd name="T10" fmla="*/ 32 w 83"/>
                  <a:gd name="T11" fmla="*/ 88 h 92"/>
                  <a:gd name="T12" fmla="*/ 22 w 83"/>
                  <a:gd name="T13" fmla="*/ 88 h 92"/>
                  <a:gd name="T14" fmla="*/ 15 w 83"/>
                  <a:gd name="T15" fmla="*/ 90 h 92"/>
                  <a:gd name="T16" fmla="*/ 10 w 83"/>
                  <a:gd name="T17" fmla="*/ 90 h 92"/>
                  <a:gd name="T18" fmla="*/ 8 w 83"/>
                  <a:gd name="T19" fmla="*/ 90 h 92"/>
                  <a:gd name="T20" fmla="*/ 1 w 83"/>
                  <a:gd name="T21" fmla="*/ 75 h 92"/>
                  <a:gd name="T22" fmla="*/ 3 w 83"/>
                  <a:gd name="T23" fmla="*/ 49 h 92"/>
                  <a:gd name="T24" fmla="*/ 6 w 83"/>
                  <a:gd name="T25" fmla="*/ 48 h 92"/>
                  <a:gd name="T26" fmla="*/ 18 w 83"/>
                  <a:gd name="T27" fmla="*/ 32 h 92"/>
                  <a:gd name="T28" fmla="*/ 27 w 83"/>
                  <a:gd name="T29" fmla="*/ 20 h 92"/>
                  <a:gd name="T30" fmla="*/ 32 w 83"/>
                  <a:gd name="T31" fmla="*/ 12 h 92"/>
                  <a:gd name="T32" fmla="*/ 35 w 83"/>
                  <a:gd name="T33" fmla="*/ 10 h 92"/>
                  <a:gd name="T34" fmla="*/ 45 w 83"/>
                  <a:gd name="T35" fmla="*/ 19 h 92"/>
                  <a:gd name="T36" fmla="*/ 49 w 83"/>
                  <a:gd name="T37" fmla="*/ 17 h 92"/>
                  <a:gd name="T38" fmla="*/ 51 w 83"/>
                  <a:gd name="T39" fmla="*/ 15 h 92"/>
                  <a:gd name="T40" fmla="*/ 52 w 83"/>
                  <a:gd name="T41" fmla="*/ 14 h 92"/>
                  <a:gd name="T42" fmla="*/ 51 w 83"/>
                  <a:gd name="T43" fmla="*/ 10 h 92"/>
                  <a:gd name="T44" fmla="*/ 54 w 83"/>
                  <a:gd name="T45" fmla="*/ 9 h 92"/>
                  <a:gd name="T46" fmla="*/ 57 w 83"/>
                  <a:gd name="T47" fmla="*/ 5 h 92"/>
                  <a:gd name="T48" fmla="*/ 68 w 83"/>
                  <a:gd name="T49" fmla="*/ 0 h 92"/>
                  <a:gd name="T50" fmla="*/ 76 w 83"/>
                  <a:gd name="T51" fmla="*/ 14 h 92"/>
                  <a:gd name="T52" fmla="*/ 78 w 83"/>
                  <a:gd name="T53" fmla="*/ 14 h 92"/>
                  <a:gd name="T54" fmla="*/ 79 w 83"/>
                  <a:gd name="T55" fmla="*/ 22 h 92"/>
                  <a:gd name="T56" fmla="*/ 83 w 83"/>
                  <a:gd name="T57" fmla="*/ 29 h 92"/>
                  <a:gd name="T58" fmla="*/ 79 w 83"/>
                  <a:gd name="T59" fmla="*/ 37 h 92"/>
                  <a:gd name="T60" fmla="*/ 76 w 83"/>
                  <a:gd name="T61" fmla="*/ 39 h 92"/>
                  <a:gd name="T62" fmla="*/ 64 w 83"/>
                  <a:gd name="T63" fmla="*/ 46 h 92"/>
                  <a:gd name="T64" fmla="*/ 59 w 83"/>
                  <a:gd name="T65" fmla="*/ 48 h 92"/>
                  <a:gd name="T66" fmla="*/ 56 w 83"/>
                  <a:gd name="T67" fmla="*/ 48 h 92"/>
                  <a:gd name="T68" fmla="*/ 51 w 83"/>
                  <a:gd name="T69" fmla="*/ 49 h 92"/>
                  <a:gd name="T70" fmla="*/ 45 w 83"/>
                  <a:gd name="T71" fmla="*/ 54 h 92"/>
                  <a:gd name="T72" fmla="*/ 42 w 83"/>
                  <a:gd name="T73" fmla="*/ 58 h 92"/>
                  <a:gd name="T74" fmla="*/ 42 w 83"/>
                  <a:gd name="T75" fmla="*/ 58 h 92"/>
                  <a:gd name="T76" fmla="*/ 39 w 83"/>
                  <a:gd name="T77" fmla="*/ 58 h 92"/>
                  <a:gd name="T78" fmla="*/ 39 w 83"/>
                  <a:gd name="T79" fmla="*/ 60 h 92"/>
                  <a:gd name="T80" fmla="*/ 37 w 83"/>
                  <a:gd name="T81" fmla="*/ 61 h 92"/>
                  <a:gd name="T82" fmla="*/ 42 w 83"/>
                  <a:gd name="T83" fmla="*/ 63 h 92"/>
                  <a:gd name="T84" fmla="*/ 45 w 83"/>
                  <a:gd name="T85" fmla="*/ 63 h 92"/>
                  <a:gd name="T86" fmla="*/ 44 w 83"/>
                  <a:gd name="T87" fmla="*/ 61 h 92"/>
                  <a:gd name="T88" fmla="*/ 51 w 83"/>
                  <a:gd name="T89" fmla="*/ 58 h 92"/>
                  <a:gd name="T90" fmla="*/ 54 w 83"/>
                  <a:gd name="T91" fmla="*/ 56 h 92"/>
                  <a:gd name="T92" fmla="*/ 59 w 83"/>
                  <a:gd name="T93" fmla="*/ 58 h 92"/>
                  <a:gd name="T94" fmla="*/ 66 w 83"/>
                  <a:gd name="T95" fmla="*/ 56 h 92"/>
                  <a:gd name="T96" fmla="*/ 66 w 83"/>
                  <a:gd name="T97" fmla="*/ 56 h 92"/>
                  <a:gd name="T98" fmla="*/ 68 w 83"/>
                  <a:gd name="T99" fmla="*/ 58 h 92"/>
                  <a:gd name="T100" fmla="*/ 68 w 83"/>
                  <a:gd name="T101" fmla="*/ 56 h 92"/>
                  <a:gd name="T102" fmla="*/ 71 w 83"/>
                  <a:gd name="T103" fmla="*/ 61 h 92"/>
                  <a:gd name="T104" fmla="*/ 74 w 83"/>
                  <a:gd name="T105" fmla="*/ 65 h 92"/>
                  <a:gd name="T106" fmla="*/ 73 w 83"/>
                  <a:gd name="T107" fmla="*/ 49 h 92"/>
                  <a:gd name="T108" fmla="*/ 71 w 83"/>
                  <a:gd name="T109" fmla="*/ 5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 h="92">
                    <a:moveTo>
                      <a:pt x="74" y="65"/>
                    </a:moveTo>
                    <a:lnTo>
                      <a:pt x="62" y="83"/>
                    </a:lnTo>
                    <a:lnTo>
                      <a:pt x="59" y="88"/>
                    </a:lnTo>
                    <a:lnTo>
                      <a:pt x="56" y="88"/>
                    </a:lnTo>
                    <a:lnTo>
                      <a:pt x="54" y="88"/>
                    </a:lnTo>
                    <a:lnTo>
                      <a:pt x="51" y="88"/>
                    </a:lnTo>
                    <a:lnTo>
                      <a:pt x="49" y="83"/>
                    </a:lnTo>
                    <a:lnTo>
                      <a:pt x="45" y="85"/>
                    </a:lnTo>
                    <a:lnTo>
                      <a:pt x="42" y="82"/>
                    </a:lnTo>
                    <a:lnTo>
                      <a:pt x="40" y="83"/>
                    </a:lnTo>
                    <a:lnTo>
                      <a:pt x="35" y="85"/>
                    </a:lnTo>
                    <a:lnTo>
                      <a:pt x="32" y="88"/>
                    </a:lnTo>
                    <a:lnTo>
                      <a:pt x="30" y="87"/>
                    </a:lnTo>
                    <a:lnTo>
                      <a:pt x="22" y="88"/>
                    </a:lnTo>
                    <a:lnTo>
                      <a:pt x="18" y="88"/>
                    </a:lnTo>
                    <a:lnTo>
                      <a:pt x="15" y="90"/>
                    </a:lnTo>
                    <a:lnTo>
                      <a:pt x="13" y="90"/>
                    </a:lnTo>
                    <a:lnTo>
                      <a:pt x="10" y="90"/>
                    </a:lnTo>
                    <a:lnTo>
                      <a:pt x="10" y="92"/>
                    </a:lnTo>
                    <a:lnTo>
                      <a:pt x="8" y="90"/>
                    </a:lnTo>
                    <a:lnTo>
                      <a:pt x="0" y="88"/>
                    </a:lnTo>
                    <a:lnTo>
                      <a:pt x="1" y="75"/>
                    </a:lnTo>
                    <a:lnTo>
                      <a:pt x="0" y="63"/>
                    </a:lnTo>
                    <a:lnTo>
                      <a:pt x="3" y="49"/>
                    </a:lnTo>
                    <a:lnTo>
                      <a:pt x="5" y="49"/>
                    </a:lnTo>
                    <a:lnTo>
                      <a:pt x="6" y="48"/>
                    </a:lnTo>
                    <a:lnTo>
                      <a:pt x="10" y="44"/>
                    </a:lnTo>
                    <a:lnTo>
                      <a:pt x="18" y="32"/>
                    </a:lnTo>
                    <a:lnTo>
                      <a:pt x="22" y="26"/>
                    </a:lnTo>
                    <a:lnTo>
                      <a:pt x="27" y="20"/>
                    </a:lnTo>
                    <a:lnTo>
                      <a:pt x="28" y="17"/>
                    </a:lnTo>
                    <a:lnTo>
                      <a:pt x="32" y="12"/>
                    </a:lnTo>
                    <a:lnTo>
                      <a:pt x="34" y="10"/>
                    </a:lnTo>
                    <a:lnTo>
                      <a:pt x="35" y="10"/>
                    </a:lnTo>
                    <a:lnTo>
                      <a:pt x="37" y="12"/>
                    </a:lnTo>
                    <a:lnTo>
                      <a:pt x="45" y="19"/>
                    </a:lnTo>
                    <a:lnTo>
                      <a:pt x="47" y="17"/>
                    </a:lnTo>
                    <a:lnTo>
                      <a:pt x="49" y="17"/>
                    </a:lnTo>
                    <a:lnTo>
                      <a:pt x="49" y="15"/>
                    </a:lnTo>
                    <a:lnTo>
                      <a:pt x="51" y="15"/>
                    </a:lnTo>
                    <a:lnTo>
                      <a:pt x="52" y="15"/>
                    </a:lnTo>
                    <a:lnTo>
                      <a:pt x="52" y="14"/>
                    </a:lnTo>
                    <a:lnTo>
                      <a:pt x="51" y="12"/>
                    </a:lnTo>
                    <a:lnTo>
                      <a:pt x="51" y="10"/>
                    </a:lnTo>
                    <a:lnTo>
                      <a:pt x="52" y="9"/>
                    </a:lnTo>
                    <a:lnTo>
                      <a:pt x="54" y="9"/>
                    </a:lnTo>
                    <a:lnTo>
                      <a:pt x="56" y="5"/>
                    </a:lnTo>
                    <a:lnTo>
                      <a:pt x="57" y="5"/>
                    </a:lnTo>
                    <a:lnTo>
                      <a:pt x="59" y="3"/>
                    </a:lnTo>
                    <a:lnTo>
                      <a:pt x="68" y="0"/>
                    </a:lnTo>
                    <a:lnTo>
                      <a:pt x="69" y="3"/>
                    </a:lnTo>
                    <a:lnTo>
                      <a:pt x="76" y="14"/>
                    </a:lnTo>
                    <a:lnTo>
                      <a:pt x="78" y="12"/>
                    </a:lnTo>
                    <a:lnTo>
                      <a:pt x="78" y="14"/>
                    </a:lnTo>
                    <a:lnTo>
                      <a:pt x="79" y="17"/>
                    </a:lnTo>
                    <a:lnTo>
                      <a:pt x="79" y="22"/>
                    </a:lnTo>
                    <a:lnTo>
                      <a:pt x="83" y="26"/>
                    </a:lnTo>
                    <a:lnTo>
                      <a:pt x="83" y="29"/>
                    </a:lnTo>
                    <a:lnTo>
                      <a:pt x="83" y="32"/>
                    </a:lnTo>
                    <a:lnTo>
                      <a:pt x="79" y="37"/>
                    </a:lnTo>
                    <a:lnTo>
                      <a:pt x="76" y="37"/>
                    </a:lnTo>
                    <a:lnTo>
                      <a:pt x="76" y="39"/>
                    </a:lnTo>
                    <a:lnTo>
                      <a:pt x="71" y="39"/>
                    </a:lnTo>
                    <a:lnTo>
                      <a:pt x="64" y="46"/>
                    </a:lnTo>
                    <a:lnTo>
                      <a:pt x="61" y="46"/>
                    </a:lnTo>
                    <a:lnTo>
                      <a:pt x="59" y="48"/>
                    </a:lnTo>
                    <a:lnTo>
                      <a:pt x="57" y="48"/>
                    </a:lnTo>
                    <a:lnTo>
                      <a:pt x="56" y="48"/>
                    </a:lnTo>
                    <a:lnTo>
                      <a:pt x="52" y="49"/>
                    </a:lnTo>
                    <a:lnTo>
                      <a:pt x="51" y="49"/>
                    </a:lnTo>
                    <a:lnTo>
                      <a:pt x="49" y="53"/>
                    </a:lnTo>
                    <a:lnTo>
                      <a:pt x="45" y="54"/>
                    </a:lnTo>
                    <a:lnTo>
                      <a:pt x="45" y="60"/>
                    </a:lnTo>
                    <a:lnTo>
                      <a:pt x="42" y="58"/>
                    </a:lnTo>
                    <a:lnTo>
                      <a:pt x="44" y="60"/>
                    </a:lnTo>
                    <a:lnTo>
                      <a:pt x="42" y="58"/>
                    </a:lnTo>
                    <a:lnTo>
                      <a:pt x="40" y="58"/>
                    </a:lnTo>
                    <a:lnTo>
                      <a:pt x="39" y="58"/>
                    </a:lnTo>
                    <a:lnTo>
                      <a:pt x="37" y="58"/>
                    </a:lnTo>
                    <a:lnTo>
                      <a:pt x="39" y="60"/>
                    </a:lnTo>
                    <a:lnTo>
                      <a:pt x="37" y="60"/>
                    </a:lnTo>
                    <a:lnTo>
                      <a:pt x="37" y="61"/>
                    </a:lnTo>
                    <a:lnTo>
                      <a:pt x="40" y="63"/>
                    </a:lnTo>
                    <a:lnTo>
                      <a:pt x="42" y="63"/>
                    </a:lnTo>
                    <a:lnTo>
                      <a:pt x="44" y="63"/>
                    </a:lnTo>
                    <a:lnTo>
                      <a:pt x="45" y="63"/>
                    </a:lnTo>
                    <a:lnTo>
                      <a:pt x="45" y="61"/>
                    </a:lnTo>
                    <a:lnTo>
                      <a:pt x="44" y="61"/>
                    </a:lnTo>
                    <a:lnTo>
                      <a:pt x="45" y="60"/>
                    </a:lnTo>
                    <a:lnTo>
                      <a:pt x="51" y="58"/>
                    </a:lnTo>
                    <a:lnTo>
                      <a:pt x="54" y="58"/>
                    </a:lnTo>
                    <a:lnTo>
                      <a:pt x="54" y="56"/>
                    </a:lnTo>
                    <a:lnTo>
                      <a:pt x="56" y="58"/>
                    </a:lnTo>
                    <a:lnTo>
                      <a:pt x="59" y="58"/>
                    </a:lnTo>
                    <a:lnTo>
                      <a:pt x="64" y="58"/>
                    </a:lnTo>
                    <a:lnTo>
                      <a:pt x="66" y="56"/>
                    </a:lnTo>
                    <a:lnTo>
                      <a:pt x="66" y="58"/>
                    </a:lnTo>
                    <a:lnTo>
                      <a:pt x="66" y="56"/>
                    </a:lnTo>
                    <a:lnTo>
                      <a:pt x="66" y="58"/>
                    </a:lnTo>
                    <a:lnTo>
                      <a:pt x="68" y="58"/>
                    </a:lnTo>
                    <a:lnTo>
                      <a:pt x="69" y="56"/>
                    </a:lnTo>
                    <a:lnTo>
                      <a:pt x="68" y="56"/>
                    </a:lnTo>
                    <a:lnTo>
                      <a:pt x="69" y="56"/>
                    </a:lnTo>
                    <a:lnTo>
                      <a:pt x="71" y="61"/>
                    </a:lnTo>
                    <a:lnTo>
                      <a:pt x="73" y="61"/>
                    </a:lnTo>
                    <a:lnTo>
                      <a:pt x="74" y="65"/>
                    </a:lnTo>
                    <a:close/>
                    <a:moveTo>
                      <a:pt x="71" y="49"/>
                    </a:moveTo>
                    <a:lnTo>
                      <a:pt x="73" y="49"/>
                    </a:lnTo>
                    <a:lnTo>
                      <a:pt x="73" y="51"/>
                    </a:lnTo>
                    <a:lnTo>
                      <a:pt x="71" y="51"/>
                    </a:lnTo>
                    <a:lnTo>
                      <a:pt x="71" y="49"/>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8" name="Freeform 24">
                <a:extLst>
                  <a:ext uri="{FF2B5EF4-FFF2-40B4-BE49-F238E27FC236}">
                    <a16:creationId xmlns:a16="http://schemas.microsoft.com/office/drawing/2014/main" id="{556DF651-F99B-4916-B943-7A48BA47E73C}"/>
                  </a:ext>
                </a:extLst>
              </p:cNvPr>
              <p:cNvSpPr>
                <a:spLocks noEditPoints="1"/>
              </p:cNvSpPr>
              <p:nvPr/>
            </p:nvSpPr>
            <p:spPr bwMode="gray">
              <a:xfrm>
                <a:off x="6561138" y="904875"/>
                <a:ext cx="979487" cy="781050"/>
              </a:xfrm>
              <a:custGeom>
                <a:avLst/>
                <a:gdLst>
                  <a:gd name="T0" fmla="*/ 72 w 617"/>
                  <a:gd name="T1" fmla="*/ 5 h 492"/>
                  <a:gd name="T2" fmla="*/ 128 w 617"/>
                  <a:gd name="T3" fmla="*/ 15 h 492"/>
                  <a:gd name="T4" fmla="*/ 158 w 617"/>
                  <a:gd name="T5" fmla="*/ 24 h 492"/>
                  <a:gd name="T6" fmla="*/ 196 w 617"/>
                  <a:gd name="T7" fmla="*/ 32 h 492"/>
                  <a:gd name="T8" fmla="*/ 230 w 617"/>
                  <a:gd name="T9" fmla="*/ 42 h 492"/>
                  <a:gd name="T10" fmla="*/ 264 w 617"/>
                  <a:gd name="T11" fmla="*/ 24 h 492"/>
                  <a:gd name="T12" fmla="*/ 296 w 617"/>
                  <a:gd name="T13" fmla="*/ 12 h 492"/>
                  <a:gd name="T14" fmla="*/ 359 w 617"/>
                  <a:gd name="T15" fmla="*/ 12 h 492"/>
                  <a:gd name="T16" fmla="*/ 388 w 617"/>
                  <a:gd name="T17" fmla="*/ 20 h 492"/>
                  <a:gd name="T18" fmla="*/ 403 w 617"/>
                  <a:gd name="T19" fmla="*/ 32 h 492"/>
                  <a:gd name="T20" fmla="*/ 410 w 617"/>
                  <a:gd name="T21" fmla="*/ 32 h 492"/>
                  <a:gd name="T22" fmla="*/ 424 w 617"/>
                  <a:gd name="T23" fmla="*/ 31 h 492"/>
                  <a:gd name="T24" fmla="*/ 425 w 617"/>
                  <a:gd name="T25" fmla="*/ 25 h 492"/>
                  <a:gd name="T26" fmla="*/ 432 w 617"/>
                  <a:gd name="T27" fmla="*/ 32 h 492"/>
                  <a:gd name="T28" fmla="*/ 442 w 617"/>
                  <a:gd name="T29" fmla="*/ 31 h 492"/>
                  <a:gd name="T30" fmla="*/ 497 w 617"/>
                  <a:gd name="T31" fmla="*/ 51 h 492"/>
                  <a:gd name="T32" fmla="*/ 517 w 617"/>
                  <a:gd name="T33" fmla="*/ 110 h 492"/>
                  <a:gd name="T34" fmla="*/ 505 w 617"/>
                  <a:gd name="T35" fmla="*/ 143 h 492"/>
                  <a:gd name="T36" fmla="*/ 493 w 617"/>
                  <a:gd name="T37" fmla="*/ 168 h 492"/>
                  <a:gd name="T38" fmla="*/ 488 w 617"/>
                  <a:gd name="T39" fmla="*/ 194 h 492"/>
                  <a:gd name="T40" fmla="*/ 478 w 617"/>
                  <a:gd name="T41" fmla="*/ 197 h 492"/>
                  <a:gd name="T42" fmla="*/ 454 w 617"/>
                  <a:gd name="T43" fmla="*/ 179 h 492"/>
                  <a:gd name="T44" fmla="*/ 434 w 617"/>
                  <a:gd name="T45" fmla="*/ 158 h 492"/>
                  <a:gd name="T46" fmla="*/ 425 w 617"/>
                  <a:gd name="T47" fmla="*/ 131 h 492"/>
                  <a:gd name="T48" fmla="*/ 407 w 617"/>
                  <a:gd name="T49" fmla="*/ 110 h 492"/>
                  <a:gd name="T50" fmla="*/ 398 w 617"/>
                  <a:gd name="T51" fmla="*/ 87 h 492"/>
                  <a:gd name="T52" fmla="*/ 390 w 617"/>
                  <a:gd name="T53" fmla="*/ 109 h 492"/>
                  <a:gd name="T54" fmla="*/ 413 w 617"/>
                  <a:gd name="T55" fmla="*/ 155 h 492"/>
                  <a:gd name="T56" fmla="*/ 435 w 617"/>
                  <a:gd name="T57" fmla="*/ 180 h 492"/>
                  <a:gd name="T58" fmla="*/ 451 w 617"/>
                  <a:gd name="T59" fmla="*/ 199 h 492"/>
                  <a:gd name="T60" fmla="*/ 447 w 617"/>
                  <a:gd name="T61" fmla="*/ 202 h 492"/>
                  <a:gd name="T62" fmla="*/ 464 w 617"/>
                  <a:gd name="T63" fmla="*/ 224 h 492"/>
                  <a:gd name="T64" fmla="*/ 469 w 617"/>
                  <a:gd name="T65" fmla="*/ 245 h 492"/>
                  <a:gd name="T66" fmla="*/ 486 w 617"/>
                  <a:gd name="T67" fmla="*/ 284 h 492"/>
                  <a:gd name="T68" fmla="*/ 503 w 617"/>
                  <a:gd name="T69" fmla="*/ 311 h 492"/>
                  <a:gd name="T70" fmla="*/ 519 w 617"/>
                  <a:gd name="T71" fmla="*/ 340 h 492"/>
                  <a:gd name="T72" fmla="*/ 529 w 617"/>
                  <a:gd name="T73" fmla="*/ 364 h 492"/>
                  <a:gd name="T74" fmla="*/ 548 w 617"/>
                  <a:gd name="T75" fmla="*/ 383 h 492"/>
                  <a:gd name="T76" fmla="*/ 554 w 617"/>
                  <a:gd name="T77" fmla="*/ 393 h 492"/>
                  <a:gd name="T78" fmla="*/ 548 w 617"/>
                  <a:gd name="T79" fmla="*/ 400 h 492"/>
                  <a:gd name="T80" fmla="*/ 551 w 617"/>
                  <a:gd name="T81" fmla="*/ 422 h 492"/>
                  <a:gd name="T82" fmla="*/ 563 w 617"/>
                  <a:gd name="T83" fmla="*/ 449 h 492"/>
                  <a:gd name="T84" fmla="*/ 575 w 617"/>
                  <a:gd name="T85" fmla="*/ 456 h 492"/>
                  <a:gd name="T86" fmla="*/ 612 w 617"/>
                  <a:gd name="T87" fmla="*/ 481 h 492"/>
                  <a:gd name="T88" fmla="*/ 395 w 617"/>
                  <a:gd name="T89" fmla="*/ 492 h 492"/>
                  <a:gd name="T90" fmla="*/ 16 w 617"/>
                  <a:gd name="T91" fmla="*/ 241 h 492"/>
                  <a:gd name="T92" fmla="*/ 4 w 617"/>
                  <a:gd name="T93" fmla="*/ 82 h 492"/>
                  <a:gd name="T94" fmla="*/ 10 w 617"/>
                  <a:gd name="T95" fmla="*/ 20 h 492"/>
                  <a:gd name="T96" fmla="*/ 468 w 617"/>
                  <a:gd name="T97" fmla="*/ 213 h 492"/>
                  <a:gd name="T98" fmla="*/ 469 w 617"/>
                  <a:gd name="T99" fmla="*/ 228 h 492"/>
                  <a:gd name="T100" fmla="*/ 425 w 617"/>
                  <a:gd name="T101" fmla="*/ 24 h 492"/>
                  <a:gd name="T102" fmla="*/ 456 w 617"/>
                  <a:gd name="T103" fmla="*/ 202 h 492"/>
                  <a:gd name="T104" fmla="*/ 607 w 617"/>
                  <a:gd name="T105" fmla="*/ 476 h 492"/>
                  <a:gd name="T106" fmla="*/ 456 w 617"/>
                  <a:gd name="T107" fmla="*/ 202 h 492"/>
                  <a:gd name="T108" fmla="*/ 469 w 617"/>
                  <a:gd name="T109" fmla="*/ 228 h 492"/>
                  <a:gd name="T110" fmla="*/ 558 w 617"/>
                  <a:gd name="T111" fmla="*/ 444 h 492"/>
                  <a:gd name="T112" fmla="*/ 461 w 617"/>
                  <a:gd name="T113" fmla="*/ 202 h 492"/>
                  <a:gd name="T114" fmla="*/ 456 w 617"/>
                  <a:gd name="T115" fmla="*/ 197 h 492"/>
                  <a:gd name="T116" fmla="*/ 444 w 617"/>
                  <a:gd name="T117" fmla="*/ 27 h 492"/>
                  <a:gd name="T118" fmla="*/ 444 w 617"/>
                  <a:gd name="T119" fmla="*/ 2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7" h="492">
                    <a:moveTo>
                      <a:pt x="22" y="0"/>
                    </a:moveTo>
                    <a:lnTo>
                      <a:pt x="24" y="3"/>
                    </a:lnTo>
                    <a:lnTo>
                      <a:pt x="24" y="5"/>
                    </a:lnTo>
                    <a:lnTo>
                      <a:pt x="24" y="7"/>
                    </a:lnTo>
                    <a:lnTo>
                      <a:pt x="31" y="8"/>
                    </a:lnTo>
                    <a:lnTo>
                      <a:pt x="36" y="8"/>
                    </a:lnTo>
                    <a:lnTo>
                      <a:pt x="41" y="8"/>
                    </a:lnTo>
                    <a:lnTo>
                      <a:pt x="56" y="3"/>
                    </a:lnTo>
                    <a:lnTo>
                      <a:pt x="61" y="3"/>
                    </a:lnTo>
                    <a:lnTo>
                      <a:pt x="72" y="5"/>
                    </a:lnTo>
                    <a:lnTo>
                      <a:pt x="92" y="10"/>
                    </a:lnTo>
                    <a:lnTo>
                      <a:pt x="95" y="8"/>
                    </a:lnTo>
                    <a:lnTo>
                      <a:pt x="95" y="10"/>
                    </a:lnTo>
                    <a:lnTo>
                      <a:pt x="104" y="10"/>
                    </a:lnTo>
                    <a:lnTo>
                      <a:pt x="109" y="12"/>
                    </a:lnTo>
                    <a:lnTo>
                      <a:pt x="116" y="12"/>
                    </a:lnTo>
                    <a:lnTo>
                      <a:pt x="118" y="14"/>
                    </a:lnTo>
                    <a:lnTo>
                      <a:pt x="121" y="14"/>
                    </a:lnTo>
                    <a:lnTo>
                      <a:pt x="121" y="15"/>
                    </a:lnTo>
                    <a:lnTo>
                      <a:pt x="128" y="15"/>
                    </a:lnTo>
                    <a:lnTo>
                      <a:pt x="126" y="15"/>
                    </a:lnTo>
                    <a:lnTo>
                      <a:pt x="126" y="17"/>
                    </a:lnTo>
                    <a:lnTo>
                      <a:pt x="135" y="15"/>
                    </a:lnTo>
                    <a:lnTo>
                      <a:pt x="136" y="22"/>
                    </a:lnTo>
                    <a:lnTo>
                      <a:pt x="140" y="24"/>
                    </a:lnTo>
                    <a:lnTo>
                      <a:pt x="145" y="24"/>
                    </a:lnTo>
                    <a:lnTo>
                      <a:pt x="146" y="25"/>
                    </a:lnTo>
                    <a:lnTo>
                      <a:pt x="150" y="25"/>
                    </a:lnTo>
                    <a:lnTo>
                      <a:pt x="152" y="25"/>
                    </a:lnTo>
                    <a:lnTo>
                      <a:pt x="158" y="24"/>
                    </a:lnTo>
                    <a:lnTo>
                      <a:pt x="160" y="22"/>
                    </a:lnTo>
                    <a:lnTo>
                      <a:pt x="162" y="25"/>
                    </a:lnTo>
                    <a:lnTo>
                      <a:pt x="162" y="29"/>
                    </a:lnTo>
                    <a:lnTo>
                      <a:pt x="163" y="31"/>
                    </a:lnTo>
                    <a:lnTo>
                      <a:pt x="175" y="31"/>
                    </a:lnTo>
                    <a:lnTo>
                      <a:pt x="179" y="31"/>
                    </a:lnTo>
                    <a:lnTo>
                      <a:pt x="184" y="31"/>
                    </a:lnTo>
                    <a:lnTo>
                      <a:pt x="189" y="31"/>
                    </a:lnTo>
                    <a:lnTo>
                      <a:pt x="192" y="32"/>
                    </a:lnTo>
                    <a:lnTo>
                      <a:pt x="196" y="32"/>
                    </a:lnTo>
                    <a:lnTo>
                      <a:pt x="199" y="34"/>
                    </a:lnTo>
                    <a:lnTo>
                      <a:pt x="206" y="36"/>
                    </a:lnTo>
                    <a:lnTo>
                      <a:pt x="209" y="37"/>
                    </a:lnTo>
                    <a:lnTo>
                      <a:pt x="211" y="39"/>
                    </a:lnTo>
                    <a:lnTo>
                      <a:pt x="214" y="41"/>
                    </a:lnTo>
                    <a:lnTo>
                      <a:pt x="218" y="42"/>
                    </a:lnTo>
                    <a:lnTo>
                      <a:pt x="220" y="42"/>
                    </a:lnTo>
                    <a:lnTo>
                      <a:pt x="220" y="44"/>
                    </a:lnTo>
                    <a:lnTo>
                      <a:pt x="221" y="44"/>
                    </a:lnTo>
                    <a:lnTo>
                      <a:pt x="230" y="42"/>
                    </a:lnTo>
                    <a:lnTo>
                      <a:pt x="242" y="39"/>
                    </a:lnTo>
                    <a:lnTo>
                      <a:pt x="252" y="32"/>
                    </a:lnTo>
                    <a:lnTo>
                      <a:pt x="259" y="27"/>
                    </a:lnTo>
                    <a:lnTo>
                      <a:pt x="260" y="27"/>
                    </a:lnTo>
                    <a:lnTo>
                      <a:pt x="262" y="25"/>
                    </a:lnTo>
                    <a:lnTo>
                      <a:pt x="264" y="25"/>
                    </a:lnTo>
                    <a:lnTo>
                      <a:pt x="262" y="25"/>
                    </a:lnTo>
                    <a:lnTo>
                      <a:pt x="262" y="27"/>
                    </a:lnTo>
                    <a:lnTo>
                      <a:pt x="262" y="24"/>
                    </a:lnTo>
                    <a:lnTo>
                      <a:pt x="264" y="24"/>
                    </a:lnTo>
                    <a:lnTo>
                      <a:pt x="265" y="24"/>
                    </a:lnTo>
                    <a:lnTo>
                      <a:pt x="272" y="19"/>
                    </a:lnTo>
                    <a:lnTo>
                      <a:pt x="274" y="19"/>
                    </a:lnTo>
                    <a:lnTo>
                      <a:pt x="272" y="19"/>
                    </a:lnTo>
                    <a:lnTo>
                      <a:pt x="274" y="20"/>
                    </a:lnTo>
                    <a:lnTo>
                      <a:pt x="277" y="20"/>
                    </a:lnTo>
                    <a:lnTo>
                      <a:pt x="281" y="20"/>
                    </a:lnTo>
                    <a:lnTo>
                      <a:pt x="284" y="17"/>
                    </a:lnTo>
                    <a:lnTo>
                      <a:pt x="288" y="10"/>
                    </a:lnTo>
                    <a:lnTo>
                      <a:pt x="296" y="12"/>
                    </a:lnTo>
                    <a:lnTo>
                      <a:pt x="318" y="5"/>
                    </a:lnTo>
                    <a:lnTo>
                      <a:pt x="322" y="5"/>
                    </a:lnTo>
                    <a:lnTo>
                      <a:pt x="325" y="5"/>
                    </a:lnTo>
                    <a:lnTo>
                      <a:pt x="333" y="7"/>
                    </a:lnTo>
                    <a:lnTo>
                      <a:pt x="344" y="12"/>
                    </a:lnTo>
                    <a:lnTo>
                      <a:pt x="349" y="12"/>
                    </a:lnTo>
                    <a:lnTo>
                      <a:pt x="356" y="10"/>
                    </a:lnTo>
                    <a:lnTo>
                      <a:pt x="357" y="10"/>
                    </a:lnTo>
                    <a:lnTo>
                      <a:pt x="357" y="12"/>
                    </a:lnTo>
                    <a:lnTo>
                      <a:pt x="359" y="12"/>
                    </a:lnTo>
                    <a:lnTo>
                      <a:pt x="359" y="10"/>
                    </a:lnTo>
                    <a:lnTo>
                      <a:pt x="362" y="8"/>
                    </a:lnTo>
                    <a:lnTo>
                      <a:pt x="366" y="8"/>
                    </a:lnTo>
                    <a:lnTo>
                      <a:pt x="369" y="10"/>
                    </a:lnTo>
                    <a:lnTo>
                      <a:pt x="371" y="12"/>
                    </a:lnTo>
                    <a:lnTo>
                      <a:pt x="367" y="8"/>
                    </a:lnTo>
                    <a:lnTo>
                      <a:pt x="371" y="14"/>
                    </a:lnTo>
                    <a:lnTo>
                      <a:pt x="379" y="19"/>
                    </a:lnTo>
                    <a:lnTo>
                      <a:pt x="386" y="20"/>
                    </a:lnTo>
                    <a:lnTo>
                      <a:pt x="388" y="20"/>
                    </a:lnTo>
                    <a:lnTo>
                      <a:pt x="386" y="22"/>
                    </a:lnTo>
                    <a:lnTo>
                      <a:pt x="388" y="24"/>
                    </a:lnTo>
                    <a:lnTo>
                      <a:pt x="388" y="22"/>
                    </a:lnTo>
                    <a:lnTo>
                      <a:pt x="388" y="25"/>
                    </a:lnTo>
                    <a:lnTo>
                      <a:pt x="390" y="22"/>
                    </a:lnTo>
                    <a:lnTo>
                      <a:pt x="390" y="24"/>
                    </a:lnTo>
                    <a:lnTo>
                      <a:pt x="393" y="25"/>
                    </a:lnTo>
                    <a:lnTo>
                      <a:pt x="396" y="29"/>
                    </a:lnTo>
                    <a:lnTo>
                      <a:pt x="400" y="32"/>
                    </a:lnTo>
                    <a:lnTo>
                      <a:pt x="403" y="32"/>
                    </a:lnTo>
                    <a:lnTo>
                      <a:pt x="408" y="31"/>
                    </a:lnTo>
                    <a:lnTo>
                      <a:pt x="417" y="27"/>
                    </a:lnTo>
                    <a:lnTo>
                      <a:pt x="410" y="31"/>
                    </a:lnTo>
                    <a:lnTo>
                      <a:pt x="407" y="32"/>
                    </a:lnTo>
                    <a:lnTo>
                      <a:pt x="405" y="32"/>
                    </a:lnTo>
                    <a:lnTo>
                      <a:pt x="407" y="32"/>
                    </a:lnTo>
                    <a:lnTo>
                      <a:pt x="407" y="34"/>
                    </a:lnTo>
                    <a:lnTo>
                      <a:pt x="408" y="32"/>
                    </a:lnTo>
                    <a:lnTo>
                      <a:pt x="410" y="34"/>
                    </a:lnTo>
                    <a:lnTo>
                      <a:pt x="410" y="32"/>
                    </a:lnTo>
                    <a:lnTo>
                      <a:pt x="408" y="32"/>
                    </a:lnTo>
                    <a:lnTo>
                      <a:pt x="415" y="31"/>
                    </a:lnTo>
                    <a:lnTo>
                      <a:pt x="417" y="31"/>
                    </a:lnTo>
                    <a:lnTo>
                      <a:pt x="418" y="31"/>
                    </a:lnTo>
                    <a:lnTo>
                      <a:pt x="420" y="31"/>
                    </a:lnTo>
                    <a:lnTo>
                      <a:pt x="420" y="32"/>
                    </a:lnTo>
                    <a:lnTo>
                      <a:pt x="418" y="32"/>
                    </a:lnTo>
                    <a:lnTo>
                      <a:pt x="422" y="32"/>
                    </a:lnTo>
                    <a:lnTo>
                      <a:pt x="422" y="31"/>
                    </a:lnTo>
                    <a:lnTo>
                      <a:pt x="424" y="31"/>
                    </a:lnTo>
                    <a:lnTo>
                      <a:pt x="424" y="29"/>
                    </a:lnTo>
                    <a:lnTo>
                      <a:pt x="425" y="29"/>
                    </a:lnTo>
                    <a:lnTo>
                      <a:pt x="424" y="29"/>
                    </a:lnTo>
                    <a:lnTo>
                      <a:pt x="422" y="29"/>
                    </a:lnTo>
                    <a:lnTo>
                      <a:pt x="422" y="31"/>
                    </a:lnTo>
                    <a:lnTo>
                      <a:pt x="420" y="31"/>
                    </a:lnTo>
                    <a:lnTo>
                      <a:pt x="418" y="29"/>
                    </a:lnTo>
                    <a:lnTo>
                      <a:pt x="420" y="31"/>
                    </a:lnTo>
                    <a:lnTo>
                      <a:pt x="422" y="27"/>
                    </a:lnTo>
                    <a:lnTo>
                      <a:pt x="425" y="25"/>
                    </a:lnTo>
                    <a:lnTo>
                      <a:pt x="429" y="29"/>
                    </a:lnTo>
                    <a:lnTo>
                      <a:pt x="427" y="27"/>
                    </a:lnTo>
                    <a:lnTo>
                      <a:pt x="425" y="29"/>
                    </a:lnTo>
                    <a:lnTo>
                      <a:pt x="427" y="29"/>
                    </a:lnTo>
                    <a:lnTo>
                      <a:pt x="425" y="29"/>
                    </a:lnTo>
                    <a:lnTo>
                      <a:pt x="427" y="29"/>
                    </a:lnTo>
                    <a:lnTo>
                      <a:pt x="427" y="31"/>
                    </a:lnTo>
                    <a:lnTo>
                      <a:pt x="429" y="31"/>
                    </a:lnTo>
                    <a:lnTo>
                      <a:pt x="429" y="32"/>
                    </a:lnTo>
                    <a:lnTo>
                      <a:pt x="432" y="32"/>
                    </a:lnTo>
                    <a:lnTo>
                      <a:pt x="430" y="32"/>
                    </a:lnTo>
                    <a:lnTo>
                      <a:pt x="432" y="32"/>
                    </a:lnTo>
                    <a:lnTo>
                      <a:pt x="430" y="31"/>
                    </a:lnTo>
                    <a:lnTo>
                      <a:pt x="434" y="31"/>
                    </a:lnTo>
                    <a:lnTo>
                      <a:pt x="435" y="31"/>
                    </a:lnTo>
                    <a:lnTo>
                      <a:pt x="437" y="31"/>
                    </a:lnTo>
                    <a:lnTo>
                      <a:pt x="435" y="31"/>
                    </a:lnTo>
                    <a:lnTo>
                      <a:pt x="439" y="31"/>
                    </a:lnTo>
                    <a:lnTo>
                      <a:pt x="441" y="31"/>
                    </a:lnTo>
                    <a:lnTo>
                      <a:pt x="442" y="31"/>
                    </a:lnTo>
                    <a:lnTo>
                      <a:pt x="442" y="29"/>
                    </a:lnTo>
                    <a:lnTo>
                      <a:pt x="444" y="29"/>
                    </a:lnTo>
                    <a:lnTo>
                      <a:pt x="451" y="29"/>
                    </a:lnTo>
                    <a:lnTo>
                      <a:pt x="458" y="29"/>
                    </a:lnTo>
                    <a:lnTo>
                      <a:pt x="471" y="24"/>
                    </a:lnTo>
                    <a:lnTo>
                      <a:pt x="483" y="19"/>
                    </a:lnTo>
                    <a:lnTo>
                      <a:pt x="483" y="20"/>
                    </a:lnTo>
                    <a:lnTo>
                      <a:pt x="486" y="29"/>
                    </a:lnTo>
                    <a:lnTo>
                      <a:pt x="492" y="42"/>
                    </a:lnTo>
                    <a:lnTo>
                      <a:pt x="497" y="51"/>
                    </a:lnTo>
                    <a:lnTo>
                      <a:pt x="498" y="58"/>
                    </a:lnTo>
                    <a:lnTo>
                      <a:pt x="500" y="61"/>
                    </a:lnTo>
                    <a:lnTo>
                      <a:pt x="498" y="65"/>
                    </a:lnTo>
                    <a:lnTo>
                      <a:pt x="503" y="66"/>
                    </a:lnTo>
                    <a:lnTo>
                      <a:pt x="507" y="76"/>
                    </a:lnTo>
                    <a:lnTo>
                      <a:pt x="515" y="97"/>
                    </a:lnTo>
                    <a:lnTo>
                      <a:pt x="515" y="100"/>
                    </a:lnTo>
                    <a:lnTo>
                      <a:pt x="517" y="104"/>
                    </a:lnTo>
                    <a:lnTo>
                      <a:pt x="515" y="105"/>
                    </a:lnTo>
                    <a:lnTo>
                      <a:pt x="517" y="110"/>
                    </a:lnTo>
                    <a:lnTo>
                      <a:pt x="515" y="112"/>
                    </a:lnTo>
                    <a:lnTo>
                      <a:pt x="510" y="119"/>
                    </a:lnTo>
                    <a:lnTo>
                      <a:pt x="509" y="121"/>
                    </a:lnTo>
                    <a:lnTo>
                      <a:pt x="509" y="126"/>
                    </a:lnTo>
                    <a:lnTo>
                      <a:pt x="509" y="127"/>
                    </a:lnTo>
                    <a:lnTo>
                      <a:pt x="507" y="127"/>
                    </a:lnTo>
                    <a:lnTo>
                      <a:pt x="505" y="134"/>
                    </a:lnTo>
                    <a:lnTo>
                      <a:pt x="507" y="138"/>
                    </a:lnTo>
                    <a:lnTo>
                      <a:pt x="503" y="139"/>
                    </a:lnTo>
                    <a:lnTo>
                      <a:pt x="505" y="143"/>
                    </a:lnTo>
                    <a:lnTo>
                      <a:pt x="503" y="144"/>
                    </a:lnTo>
                    <a:lnTo>
                      <a:pt x="503" y="150"/>
                    </a:lnTo>
                    <a:lnTo>
                      <a:pt x="500" y="153"/>
                    </a:lnTo>
                    <a:lnTo>
                      <a:pt x="500" y="155"/>
                    </a:lnTo>
                    <a:lnTo>
                      <a:pt x="500" y="156"/>
                    </a:lnTo>
                    <a:lnTo>
                      <a:pt x="498" y="158"/>
                    </a:lnTo>
                    <a:lnTo>
                      <a:pt x="498" y="163"/>
                    </a:lnTo>
                    <a:lnTo>
                      <a:pt x="497" y="163"/>
                    </a:lnTo>
                    <a:lnTo>
                      <a:pt x="495" y="165"/>
                    </a:lnTo>
                    <a:lnTo>
                      <a:pt x="493" y="168"/>
                    </a:lnTo>
                    <a:lnTo>
                      <a:pt x="492" y="170"/>
                    </a:lnTo>
                    <a:lnTo>
                      <a:pt x="492" y="175"/>
                    </a:lnTo>
                    <a:lnTo>
                      <a:pt x="495" y="179"/>
                    </a:lnTo>
                    <a:lnTo>
                      <a:pt x="493" y="182"/>
                    </a:lnTo>
                    <a:lnTo>
                      <a:pt x="493" y="185"/>
                    </a:lnTo>
                    <a:lnTo>
                      <a:pt x="493" y="187"/>
                    </a:lnTo>
                    <a:lnTo>
                      <a:pt x="492" y="189"/>
                    </a:lnTo>
                    <a:lnTo>
                      <a:pt x="490" y="190"/>
                    </a:lnTo>
                    <a:lnTo>
                      <a:pt x="488" y="190"/>
                    </a:lnTo>
                    <a:lnTo>
                      <a:pt x="488" y="194"/>
                    </a:lnTo>
                    <a:lnTo>
                      <a:pt x="486" y="194"/>
                    </a:lnTo>
                    <a:lnTo>
                      <a:pt x="485" y="194"/>
                    </a:lnTo>
                    <a:lnTo>
                      <a:pt x="485" y="197"/>
                    </a:lnTo>
                    <a:lnTo>
                      <a:pt x="481" y="197"/>
                    </a:lnTo>
                    <a:lnTo>
                      <a:pt x="483" y="199"/>
                    </a:lnTo>
                    <a:lnTo>
                      <a:pt x="485" y="199"/>
                    </a:lnTo>
                    <a:lnTo>
                      <a:pt x="485" y="201"/>
                    </a:lnTo>
                    <a:lnTo>
                      <a:pt x="483" y="201"/>
                    </a:lnTo>
                    <a:lnTo>
                      <a:pt x="481" y="197"/>
                    </a:lnTo>
                    <a:lnTo>
                      <a:pt x="478" y="197"/>
                    </a:lnTo>
                    <a:lnTo>
                      <a:pt x="476" y="197"/>
                    </a:lnTo>
                    <a:lnTo>
                      <a:pt x="475" y="196"/>
                    </a:lnTo>
                    <a:lnTo>
                      <a:pt x="471" y="192"/>
                    </a:lnTo>
                    <a:lnTo>
                      <a:pt x="469" y="192"/>
                    </a:lnTo>
                    <a:lnTo>
                      <a:pt x="468" y="190"/>
                    </a:lnTo>
                    <a:lnTo>
                      <a:pt x="466" y="190"/>
                    </a:lnTo>
                    <a:lnTo>
                      <a:pt x="459" y="185"/>
                    </a:lnTo>
                    <a:lnTo>
                      <a:pt x="459" y="184"/>
                    </a:lnTo>
                    <a:lnTo>
                      <a:pt x="458" y="184"/>
                    </a:lnTo>
                    <a:lnTo>
                      <a:pt x="454" y="179"/>
                    </a:lnTo>
                    <a:lnTo>
                      <a:pt x="452" y="177"/>
                    </a:lnTo>
                    <a:lnTo>
                      <a:pt x="452" y="175"/>
                    </a:lnTo>
                    <a:lnTo>
                      <a:pt x="451" y="175"/>
                    </a:lnTo>
                    <a:lnTo>
                      <a:pt x="449" y="172"/>
                    </a:lnTo>
                    <a:lnTo>
                      <a:pt x="442" y="167"/>
                    </a:lnTo>
                    <a:lnTo>
                      <a:pt x="439" y="163"/>
                    </a:lnTo>
                    <a:lnTo>
                      <a:pt x="437" y="161"/>
                    </a:lnTo>
                    <a:lnTo>
                      <a:pt x="434" y="160"/>
                    </a:lnTo>
                    <a:lnTo>
                      <a:pt x="435" y="158"/>
                    </a:lnTo>
                    <a:lnTo>
                      <a:pt x="434" y="158"/>
                    </a:lnTo>
                    <a:lnTo>
                      <a:pt x="432" y="158"/>
                    </a:lnTo>
                    <a:lnTo>
                      <a:pt x="434" y="158"/>
                    </a:lnTo>
                    <a:lnTo>
                      <a:pt x="430" y="153"/>
                    </a:lnTo>
                    <a:lnTo>
                      <a:pt x="432" y="148"/>
                    </a:lnTo>
                    <a:lnTo>
                      <a:pt x="430" y="144"/>
                    </a:lnTo>
                    <a:lnTo>
                      <a:pt x="430" y="139"/>
                    </a:lnTo>
                    <a:lnTo>
                      <a:pt x="429" y="139"/>
                    </a:lnTo>
                    <a:lnTo>
                      <a:pt x="430" y="136"/>
                    </a:lnTo>
                    <a:lnTo>
                      <a:pt x="425" y="134"/>
                    </a:lnTo>
                    <a:lnTo>
                      <a:pt x="425" y="131"/>
                    </a:lnTo>
                    <a:lnTo>
                      <a:pt x="418" y="126"/>
                    </a:lnTo>
                    <a:lnTo>
                      <a:pt x="415" y="124"/>
                    </a:lnTo>
                    <a:lnTo>
                      <a:pt x="415" y="121"/>
                    </a:lnTo>
                    <a:lnTo>
                      <a:pt x="412" y="121"/>
                    </a:lnTo>
                    <a:lnTo>
                      <a:pt x="412" y="116"/>
                    </a:lnTo>
                    <a:lnTo>
                      <a:pt x="408" y="114"/>
                    </a:lnTo>
                    <a:lnTo>
                      <a:pt x="408" y="112"/>
                    </a:lnTo>
                    <a:lnTo>
                      <a:pt x="407" y="114"/>
                    </a:lnTo>
                    <a:lnTo>
                      <a:pt x="408" y="110"/>
                    </a:lnTo>
                    <a:lnTo>
                      <a:pt x="407" y="110"/>
                    </a:lnTo>
                    <a:lnTo>
                      <a:pt x="407" y="109"/>
                    </a:lnTo>
                    <a:lnTo>
                      <a:pt x="407" y="107"/>
                    </a:lnTo>
                    <a:lnTo>
                      <a:pt x="405" y="105"/>
                    </a:lnTo>
                    <a:lnTo>
                      <a:pt x="405" y="99"/>
                    </a:lnTo>
                    <a:lnTo>
                      <a:pt x="401" y="95"/>
                    </a:lnTo>
                    <a:lnTo>
                      <a:pt x="403" y="92"/>
                    </a:lnTo>
                    <a:lnTo>
                      <a:pt x="398" y="88"/>
                    </a:lnTo>
                    <a:lnTo>
                      <a:pt x="400" y="88"/>
                    </a:lnTo>
                    <a:lnTo>
                      <a:pt x="398" y="88"/>
                    </a:lnTo>
                    <a:lnTo>
                      <a:pt x="398" y="87"/>
                    </a:lnTo>
                    <a:lnTo>
                      <a:pt x="395" y="88"/>
                    </a:lnTo>
                    <a:lnTo>
                      <a:pt x="393" y="92"/>
                    </a:lnTo>
                    <a:lnTo>
                      <a:pt x="395" y="92"/>
                    </a:lnTo>
                    <a:lnTo>
                      <a:pt x="396" y="92"/>
                    </a:lnTo>
                    <a:lnTo>
                      <a:pt x="388" y="102"/>
                    </a:lnTo>
                    <a:lnTo>
                      <a:pt x="390" y="104"/>
                    </a:lnTo>
                    <a:lnTo>
                      <a:pt x="388" y="104"/>
                    </a:lnTo>
                    <a:lnTo>
                      <a:pt x="390" y="104"/>
                    </a:lnTo>
                    <a:lnTo>
                      <a:pt x="388" y="105"/>
                    </a:lnTo>
                    <a:lnTo>
                      <a:pt x="390" y="109"/>
                    </a:lnTo>
                    <a:lnTo>
                      <a:pt x="400" y="117"/>
                    </a:lnTo>
                    <a:lnTo>
                      <a:pt x="400" y="119"/>
                    </a:lnTo>
                    <a:lnTo>
                      <a:pt x="405" y="131"/>
                    </a:lnTo>
                    <a:lnTo>
                      <a:pt x="401" y="133"/>
                    </a:lnTo>
                    <a:lnTo>
                      <a:pt x="401" y="138"/>
                    </a:lnTo>
                    <a:lnTo>
                      <a:pt x="403" y="139"/>
                    </a:lnTo>
                    <a:lnTo>
                      <a:pt x="405" y="143"/>
                    </a:lnTo>
                    <a:lnTo>
                      <a:pt x="408" y="146"/>
                    </a:lnTo>
                    <a:lnTo>
                      <a:pt x="412" y="148"/>
                    </a:lnTo>
                    <a:lnTo>
                      <a:pt x="413" y="155"/>
                    </a:lnTo>
                    <a:lnTo>
                      <a:pt x="413" y="158"/>
                    </a:lnTo>
                    <a:lnTo>
                      <a:pt x="417" y="158"/>
                    </a:lnTo>
                    <a:lnTo>
                      <a:pt x="420" y="161"/>
                    </a:lnTo>
                    <a:lnTo>
                      <a:pt x="422" y="163"/>
                    </a:lnTo>
                    <a:lnTo>
                      <a:pt x="424" y="167"/>
                    </a:lnTo>
                    <a:lnTo>
                      <a:pt x="427" y="168"/>
                    </a:lnTo>
                    <a:lnTo>
                      <a:pt x="427" y="172"/>
                    </a:lnTo>
                    <a:lnTo>
                      <a:pt x="434" y="179"/>
                    </a:lnTo>
                    <a:lnTo>
                      <a:pt x="434" y="180"/>
                    </a:lnTo>
                    <a:lnTo>
                      <a:pt x="435" y="180"/>
                    </a:lnTo>
                    <a:lnTo>
                      <a:pt x="437" y="182"/>
                    </a:lnTo>
                    <a:lnTo>
                      <a:pt x="439" y="184"/>
                    </a:lnTo>
                    <a:lnTo>
                      <a:pt x="441" y="185"/>
                    </a:lnTo>
                    <a:lnTo>
                      <a:pt x="442" y="185"/>
                    </a:lnTo>
                    <a:lnTo>
                      <a:pt x="446" y="187"/>
                    </a:lnTo>
                    <a:lnTo>
                      <a:pt x="451" y="194"/>
                    </a:lnTo>
                    <a:lnTo>
                      <a:pt x="451" y="197"/>
                    </a:lnTo>
                    <a:lnTo>
                      <a:pt x="452" y="197"/>
                    </a:lnTo>
                    <a:lnTo>
                      <a:pt x="452" y="199"/>
                    </a:lnTo>
                    <a:lnTo>
                      <a:pt x="451" y="199"/>
                    </a:lnTo>
                    <a:lnTo>
                      <a:pt x="451" y="197"/>
                    </a:lnTo>
                    <a:lnTo>
                      <a:pt x="449" y="196"/>
                    </a:lnTo>
                    <a:lnTo>
                      <a:pt x="446" y="196"/>
                    </a:lnTo>
                    <a:lnTo>
                      <a:pt x="447" y="199"/>
                    </a:lnTo>
                    <a:lnTo>
                      <a:pt x="449" y="199"/>
                    </a:lnTo>
                    <a:lnTo>
                      <a:pt x="449" y="202"/>
                    </a:lnTo>
                    <a:lnTo>
                      <a:pt x="451" y="204"/>
                    </a:lnTo>
                    <a:lnTo>
                      <a:pt x="451" y="206"/>
                    </a:lnTo>
                    <a:lnTo>
                      <a:pt x="449" y="204"/>
                    </a:lnTo>
                    <a:lnTo>
                      <a:pt x="447" y="202"/>
                    </a:lnTo>
                    <a:lnTo>
                      <a:pt x="446" y="204"/>
                    </a:lnTo>
                    <a:lnTo>
                      <a:pt x="449" y="207"/>
                    </a:lnTo>
                    <a:lnTo>
                      <a:pt x="449" y="211"/>
                    </a:lnTo>
                    <a:lnTo>
                      <a:pt x="452" y="213"/>
                    </a:lnTo>
                    <a:lnTo>
                      <a:pt x="452" y="214"/>
                    </a:lnTo>
                    <a:lnTo>
                      <a:pt x="456" y="216"/>
                    </a:lnTo>
                    <a:lnTo>
                      <a:pt x="456" y="218"/>
                    </a:lnTo>
                    <a:lnTo>
                      <a:pt x="456" y="221"/>
                    </a:lnTo>
                    <a:lnTo>
                      <a:pt x="458" y="221"/>
                    </a:lnTo>
                    <a:lnTo>
                      <a:pt x="464" y="224"/>
                    </a:lnTo>
                    <a:lnTo>
                      <a:pt x="464" y="228"/>
                    </a:lnTo>
                    <a:lnTo>
                      <a:pt x="463" y="228"/>
                    </a:lnTo>
                    <a:lnTo>
                      <a:pt x="463" y="233"/>
                    </a:lnTo>
                    <a:lnTo>
                      <a:pt x="466" y="235"/>
                    </a:lnTo>
                    <a:lnTo>
                      <a:pt x="468" y="236"/>
                    </a:lnTo>
                    <a:lnTo>
                      <a:pt x="466" y="238"/>
                    </a:lnTo>
                    <a:lnTo>
                      <a:pt x="469" y="243"/>
                    </a:lnTo>
                    <a:lnTo>
                      <a:pt x="471" y="243"/>
                    </a:lnTo>
                    <a:lnTo>
                      <a:pt x="471" y="245"/>
                    </a:lnTo>
                    <a:lnTo>
                      <a:pt x="469" y="245"/>
                    </a:lnTo>
                    <a:lnTo>
                      <a:pt x="469" y="247"/>
                    </a:lnTo>
                    <a:lnTo>
                      <a:pt x="468" y="248"/>
                    </a:lnTo>
                    <a:lnTo>
                      <a:pt x="469" y="250"/>
                    </a:lnTo>
                    <a:lnTo>
                      <a:pt x="468" y="255"/>
                    </a:lnTo>
                    <a:lnTo>
                      <a:pt x="473" y="257"/>
                    </a:lnTo>
                    <a:lnTo>
                      <a:pt x="476" y="265"/>
                    </a:lnTo>
                    <a:lnTo>
                      <a:pt x="481" y="272"/>
                    </a:lnTo>
                    <a:lnTo>
                      <a:pt x="483" y="277"/>
                    </a:lnTo>
                    <a:lnTo>
                      <a:pt x="486" y="282"/>
                    </a:lnTo>
                    <a:lnTo>
                      <a:pt x="486" y="284"/>
                    </a:lnTo>
                    <a:lnTo>
                      <a:pt x="488" y="284"/>
                    </a:lnTo>
                    <a:lnTo>
                      <a:pt x="490" y="289"/>
                    </a:lnTo>
                    <a:lnTo>
                      <a:pt x="492" y="291"/>
                    </a:lnTo>
                    <a:lnTo>
                      <a:pt x="493" y="296"/>
                    </a:lnTo>
                    <a:lnTo>
                      <a:pt x="495" y="298"/>
                    </a:lnTo>
                    <a:lnTo>
                      <a:pt x="497" y="299"/>
                    </a:lnTo>
                    <a:lnTo>
                      <a:pt x="498" y="301"/>
                    </a:lnTo>
                    <a:lnTo>
                      <a:pt x="502" y="308"/>
                    </a:lnTo>
                    <a:lnTo>
                      <a:pt x="503" y="309"/>
                    </a:lnTo>
                    <a:lnTo>
                      <a:pt x="503" y="311"/>
                    </a:lnTo>
                    <a:lnTo>
                      <a:pt x="505" y="315"/>
                    </a:lnTo>
                    <a:lnTo>
                      <a:pt x="507" y="318"/>
                    </a:lnTo>
                    <a:lnTo>
                      <a:pt x="509" y="320"/>
                    </a:lnTo>
                    <a:lnTo>
                      <a:pt x="510" y="323"/>
                    </a:lnTo>
                    <a:lnTo>
                      <a:pt x="512" y="325"/>
                    </a:lnTo>
                    <a:lnTo>
                      <a:pt x="512" y="328"/>
                    </a:lnTo>
                    <a:lnTo>
                      <a:pt x="515" y="330"/>
                    </a:lnTo>
                    <a:lnTo>
                      <a:pt x="517" y="335"/>
                    </a:lnTo>
                    <a:lnTo>
                      <a:pt x="519" y="338"/>
                    </a:lnTo>
                    <a:lnTo>
                      <a:pt x="519" y="340"/>
                    </a:lnTo>
                    <a:lnTo>
                      <a:pt x="522" y="344"/>
                    </a:lnTo>
                    <a:lnTo>
                      <a:pt x="522" y="347"/>
                    </a:lnTo>
                    <a:lnTo>
                      <a:pt x="526" y="352"/>
                    </a:lnTo>
                    <a:lnTo>
                      <a:pt x="527" y="355"/>
                    </a:lnTo>
                    <a:lnTo>
                      <a:pt x="527" y="357"/>
                    </a:lnTo>
                    <a:lnTo>
                      <a:pt x="527" y="359"/>
                    </a:lnTo>
                    <a:lnTo>
                      <a:pt x="529" y="359"/>
                    </a:lnTo>
                    <a:lnTo>
                      <a:pt x="531" y="361"/>
                    </a:lnTo>
                    <a:lnTo>
                      <a:pt x="529" y="361"/>
                    </a:lnTo>
                    <a:lnTo>
                      <a:pt x="529" y="364"/>
                    </a:lnTo>
                    <a:lnTo>
                      <a:pt x="532" y="366"/>
                    </a:lnTo>
                    <a:lnTo>
                      <a:pt x="534" y="369"/>
                    </a:lnTo>
                    <a:lnTo>
                      <a:pt x="537" y="371"/>
                    </a:lnTo>
                    <a:lnTo>
                      <a:pt x="539" y="371"/>
                    </a:lnTo>
                    <a:lnTo>
                      <a:pt x="541" y="374"/>
                    </a:lnTo>
                    <a:lnTo>
                      <a:pt x="543" y="376"/>
                    </a:lnTo>
                    <a:lnTo>
                      <a:pt x="544" y="379"/>
                    </a:lnTo>
                    <a:lnTo>
                      <a:pt x="548" y="383"/>
                    </a:lnTo>
                    <a:lnTo>
                      <a:pt x="548" y="384"/>
                    </a:lnTo>
                    <a:lnTo>
                      <a:pt x="548" y="383"/>
                    </a:lnTo>
                    <a:lnTo>
                      <a:pt x="551" y="384"/>
                    </a:lnTo>
                    <a:lnTo>
                      <a:pt x="553" y="386"/>
                    </a:lnTo>
                    <a:lnTo>
                      <a:pt x="553" y="388"/>
                    </a:lnTo>
                    <a:lnTo>
                      <a:pt x="560" y="389"/>
                    </a:lnTo>
                    <a:lnTo>
                      <a:pt x="561" y="391"/>
                    </a:lnTo>
                    <a:lnTo>
                      <a:pt x="563" y="395"/>
                    </a:lnTo>
                    <a:lnTo>
                      <a:pt x="561" y="395"/>
                    </a:lnTo>
                    <a:lnTo>
                      <a:pt x="560" y="393"/>
                    </a:lnTo>
                    <a:lnTo>
                      <a:pt x="558" y="395"/>
                    </a:lnTo>
                    <a:lnTo>
                      <a:pt x="554" y="393"/>
                    </a:lnTo>
                    <a:lnTo>
                      <a:pt x="551" y="393"/>
                    </a:lnTo>
                    <a:lnTo>
                      <a:pt x="551" y="391"/>
                    </a:lnTo>
                    <a:lnTo>
                      <a:pt x="548" y="393"/>
                    </a:lnTo>
                    <a:lnTo>
                      <a:pt x="548" y="391"/>
                    </a:lnTo>
                    <a:lnTo>
                      <a:pt x="551" y="391"/>
                    </a:lnTo>
                    <a:lnTo>
                      <a:pt x="548" y="391"/>
                    </a:lnTo>
                    <a:lnTo>
                      <a:pt x="546" y="393"/>
                    </a:lnTo>
                    <a:lnTo>
                      <a:pt x="548" y="396"/>
                    </a:lnTo>
                    <a:lnTo>
                      <a:pt x="546" y="400"/>
                    </a:lnTo>
                    <a:lnTo>
                      <a:pt x="548" y="400"/>
                    </a:lnTo>
                    <a:lnTo>
                      <a:pt x="546" y="401"/>
                    </a:lnTo>
                    <a:lnTo>
                      <a:pt x="548" y="400"/>
                    </a:lnTo>
                    <a:lnTo>
                      <a:pt x="548" y="401"/>
                    </a:lnTo>
                    <a:lnTo>
                      <a:pt x="546" y="401"/>
                    </a:lnTo>
                    <a:lnTo>
                      <a:pt x="548" y="403"/>
                    </a:lnTo>
                    <a:lnTo>
                      <a:pt x="548" y="405"/>
                    </a:lnTo>
                    <a:lnTo>
                      <a:pt x="548" y="408"/>
                    </a:lnTo>
                    <a:lnTo>
                      <a:pt x="548" y="410"/>
                    </a:lnTo>
                    <a:lnTo>
                      <a:pt x="546" y="415"/>
                    </a:lnTo>
                    <a:lnTo>
                      <a:pt x="551" y="422"/>
                    </a:lnTo>
                    <a:lnTo>
                      <a:pt x="551" y="429"/>
                    </a:lnTo>
                    <a:lnTo>
                      <a:pt x="554" y="434"/>
                    </a:lnTo>
                    <a:lnTo>
                      <a:pt x="556" y="437"/>
                    </a:lnTo>
                    <a:lnTo>
                      <a:pt x="556" y="442"/>
                    </a:lnTo>
                    <a:lnTo>
                      <a:pt x="558" y="444"/>
                    </a:lnTo>
                    <a:lnTo>
                      <a:pt x="561" y="447"/>
                    </a:lnTo>
                    <a:lnTo>
                      <a:pt x="561" y="446"/>
                    </a:lnTo>
                    <a:lnTo>
                      <a:pt x="561" y="447"/>
                    </a:lnTo>
                    <a:lnTo>
                      <a:pt x="561" y="449"/>
                    </a:lnTo>
                    <a:lnTo>
                      <a:pt x="563" y="449"/>
                    </a:lnTo>
                    <a:lnTo>
                      <a:pt x="563" y="447"/>
                    </a:lnTo>
                    <a:lnTo>
                      <a:pt x="565" y="452"/>
                    </a:lnTo>
                    <a:lnTo>
                      <a:pt x="566" y="454"/>
                    </a:lnTo>
                    <a:lnTo>
                      <a:pt x="568" y="454"/>
                    </a:lnTo>
                    <a:lnTo>
                      <a:pt x="570" y="454"/>
                    </a:lnTo>
                    <a:lnTo>
                      <a:pt x="568" y="456"/>
                    </a:lnTo>
                    <a:lnTo>
                      <a:pt x="570" y="454"/>
                    </a:lnTo>
                    <a:lnTo>
                      <a:pt x="570" y="456"/>
                    </a:lnTo>
                    <a:lnTo>
                      <a:pt x="571" y="456"/>
                    </a:lnTo>
                    <a:lnTo>
                      <a:pt x="575" y="456"/>
                    </a:lnTo>
                    <a:lnTo>
                      <a:pt x="582" y="457"/>
                    </a:lnTo>
                    <a:lnTo>
                      <a:pt x="587" y="459"/>
                    </a:lnTo>
                    <a:lnTo>
                      <a:pt x="588" y="466"/>
                    </a:lnTo>
                    <a:lnTo>
                      <a:pt x="592" y="468"/>
                    </a:lnTo>
                    <a:lnTo>
                      <a:pt x="594" y="469"/>
                    </a:lnTo>
                    <a:lnTo>
                      <a:pt x="595" y="473"/>
                    </a:lnTo>
                    <a:lnTo>
                      <a:pt x="602" y="476"/>
                    </a:lnTo>
                    <a:lnTo>
                      <a:pt x="609" y="483"/>
                    </a:lnTo>
                    <a:lnTo>
                      <a:pt x="611" y="483"/>
                    </a:lnTo>
                    <a:lnTo>
                      <a:pt x="612" y="481"/>
                    </a:lnTo>
                    <a:lnTo>
                      <a:pt x="616" y="486"/>
                    </a:lnTo>
                    <a:lnTo>
                      <a:pt x="617" y="488"/>
                    </a:lnTo>
                    <a:lnTo>
                      <a:pt x="617" y="492"/>
                    </a:lnTo>
                    <a:lnTo>
                      <a:pt x="609" y="492"/>
                    </a:lnTo>
                    <a:lnTo>
                      <a:pt x="609" y="490"/>
                    </a:lnTo>
                    <a:lnTo>
                      <a:pt x="500" y="492"/>
                    </a:lnTo>
                    <a:lnTo>
                      <a:pt x="476" y="490"/>
                    </a:lnTo>
                    <a:lnTo>
                      <a:pt x="442" y="490"/>
                    </a:lnTo>
                    <a:lnTo>
                      <a:pt x="430" y="490"/>
                    </a:lnTo>
                    <a:lnTo>
                      <a:pt x="395" y="492"/>
                    </a:lnTo>
                    <a:lnTo>
                      <a:pt x="393" y="492"/>
                    </a:lnTo>
                    <a:lnTo>
                      <a:pt x="344" y="492"/>
                    </a:lnTo>
                    <a:lnTo>
                      <a:pt x="337" y="492"/>
                    </a:lnTo>
                    <a:lnTo>
                      <a:pt x="327" y="492"/>
                    </a:lnTo>
                    <a:lnTo>
                      <a:pt x="264" y="492"/>
                    </a:lnTo>
                    <a:lnTo>
                      <a:pt x="16" y="492"/>
                    </a:lnTo>
                    <a:lnTo>
                      <a:pt x="16" y="417"/>
                    </a:lnTo>
                    <a:lnTo>
                      <a:pt x="16" y="337"/>
                    </a:lnTo>
                    <a:lnTo>
                      <a:pt x="16" y="274"/>
                    </a:lnTo>
                    <a:lnTo>
                      <a:pt x="16" y="241"/>
                    </a:lnTo>
                    <a:lnTo>
                      <a:pt x="16" y="206"/>
                    </a:lnTo>
                    <a:lnTo>
                      <a:pt x="16" y="187"/>
                    </a:lnTo>
                    <a:lnTo>
                      <a:pt x="16" y="124"/>
                    </a:lnTo>
                    <a:lnTo>
                      <a:pt x="16" y="122"/>
                    </a:lnTo>
                    <a:lnTo>
                      <a:pt x="9" y="110"/>
                    </a:lnTo>
                    <a:lnTo>
                      <a:pt x="9" y="107"/>
                    </a:lnTo>
                    <a:lnTo>
                      <a:pt x="10" y="105"/>
                    </a:lnTo>
                    <a:lnTo>
                      <a:pt x="7" y="97"/>
                    </a:lnTo>
                    <a:lnTo>
                      <a:pt x="7" y="90"/>
                    </a:lnTo>
                    <a:lnTo>
                      <a:pt x="4" y="82"/>
                    </a:lnTo>
                    <a:lnTo>
                      <a:pt x="0" y="78"/>
                    </a:lnTo>
                    <a:lnTo>
                      <a:pt x="5" y="70"/>
                    </a:lnTo>
                    <a:lnTo>
                      <a:pt x="9" y="65"/>
                    </a:lnTo>
                    <a:lnTo>
                      <a:pt x="12" y="59"/>
                    </a:lnTo>
                    <a:lnTo>
                      <a:pt x="12" y="56"/>
                    </a:lnTo>
                    <a:lnTo>
                      <a:pt x="14" y="53"/>
                    </a:lnTo>
                    <a:lnTo>
                      <a:pt x="17" y="46"/>
                    </a:lnTo>
                    <a:lnTo>
                      <a:pt x="16" y="39"/>
                    </a:lnTo>
                    <a:lnTo>
                      <a:pt x="10" y="27"/>
                    </a:lnTo>
                    <a:lnTo>
                      <a:pt x="10" y="20"/>
                    </a:lnTo>
                    <a:lnTo>
                      <a:pt x="9" y="14"/>
                    </a:lnTo>
                    <a:lnTo>
                      <a:pt x="16" y="10"/>
                    </a:lnTo>
                    <a:lnTo>
                      <a:pt x="19" y="7"/>
                    </a:lnTo>
                    <a:lnTo>
                      <a:pt x="21" y="3"/>
                    </a:lnTo>
                    <a:lnTo>
                      <a:pt x="22" y="0"/>
                    </a:lnTo>
                    <a:close/>
                    <a:moveTo>
                      <a:pt x="469" y="211"/>
                    </a:moveTo>
                    <a:lnTo>
                      <a:pt x="473" y="213"/>
                    </a:lnTo>
                    <a:lnTo>
                      <a:pt x="473" y="214"/>
                    </a:lnTo>
                    <a:lnTo>
                      <a:pt x="471" y="213"/>
                    </a:lnTo>
                    <a:lnTo>
                      <a:pt x="468" y="213"/>
                    </a:lnTo>
                    <a:lnTo>
                      <a:pt x="468" y="211"/>
                    </a:lnTo>
                    <a:lnTo>
                      <a:pt x="469" y="211"/>
                    </a:lnTo>
                    <a:close/>
                    <a:moveTo>
                      <a:pt x="461" y="209"/>
                    </a:moveTo>
                    <a:lnTo>
                      <a:pt x="459" y="209"/>
                    </a:lnTo>
                    <a:lnTo>
                      <a:pt x="461" y="209"/>
                    </a:lnTo>
                    <a:lnTo>
                      <a:pt x="459" y="207"/>
                    </a:lnTo>
                    <a:lnTo>
                      <a:pt x="459" y="206"/>
                    </a:lnTo>
                    <a:lnTo>
                      <a:pt x="461" y="207"/>
                    </a:lnTo>
                    <a:lnTo>
                      <a:pt x="461" y="209"/>
                    </a:lnTo>
                    <a:close/>
                    <a:moveTo>
                      <a:pt x="469" y="228"/>
                    </a:moveTo>
                    <a:lnTo>
                      <a:pt x="466" y="224"/>
                    </a:lnTo>
                    <a:lnTo>
                      <a:pt x="469" y="228"/>
                    </a:lnTo>
                    <a:close/>
                    <a:moveTo>
                      <a:pt x="471" y="250"/>
                    </a:moveTo>
                    <a:lnTo>
                      <a:pt x="471" y="252"/>
                    </a:lnTo>
                    <a:lnTo>
                      <a:pt x="469" y="250"/>
                    </a:lnTo>
                    <a:lnTo>
                      <a:pt x="469" y="248"/>
                    </a:lnTo>
                    <a:lnTo>
                      <a:pt x="471" y="250"/>
                    </a:lnTo>
                    <a:close/>
                    <a:moveTo>
                      <a:pt x="435" y="24"/>
                    </a:moveTo>
                    <a:lnTo>
                      <a:pt x="427" y="24"/>
                    </a:lnTo>
                    <a:lnTo>
                      <a:pt x="425" y="24"/>
                    </a:lnTo>
                    <a:lnTo>
                      <a:pt x="418" y="27"/>
                    </a:lnTo>
                    <a:lnTo>
                      <a:pt x="425" y="24"/>
                    </a:lnTo>
                    <a:lnTo>
                      <a:pt x="427" y="24"/>
                    </a:lnTo>
                    <a:lnTo>
                      <a:pt x="435" y="24"/>
                    </a:lnTo>
                    <a:close/>
                    <a:moveTo>
                      <a:pt x="461" y="204"/>
                    </a:moveTo>
                    <a:lnTo>
                      <a:pt x="463" y="204"/>
                    </a:lnTo>
                    <a:lnTo>
                      <a:pt x="463" y="206"/>
                    </a:lnTo>
                    <a:lnTo>
                      <a:pt x="461" y="206"/>
                    </a:lnTo>
                    <a:lnTo>
                      <a:pt x="461" y="204"/>
                    </a:lnTo>
                    <a:close/>
                    <a:moveTo>
                      <a:pt x="456" y="202"/>
                    </a:moveTo>
                    <a:lnTo>
                      <a:pt x="458" y="202"/>
                    </a:lnTo>
                    <a:lnTo>
                      <a:pt x="458" y="204"/>
                    </a:lnTo>
                    <a:lnTo>
                      <a:pt x="456" y="204"/>
                    </a:lnTo>
                    <a:lnTo>
                      <a:pt x="456" y="202"/>
                    </a:lnTo>
                    <a:close/>
                    <a:moveTo>
                      <a:pt x="441" y="25"/>
                    </a:moveTo>
                    <a:lnTo>
                      <a:pt x="442" y="27"/>
                    </a:lnTo>
                    <a:lnTo>
                      <a:pt x="435" y="24"/>
                    </a:lnTo>
                    <a:lnTo>
                      <a:pt x="441" y="25"/>
                    </a:lnTo>
                    <a:close/>
                    <a:moveTo>
                      <a:pt x="605" y="476"/>
                    </a:moveTo>
                    <a:lnTo>
                      <a:pt x="607" y="476"/>
                    </a:lnTo>
                    <a:lnTo>
                      <a:pt x="607" y="478"/>
                    </a:lnTo>
                    <a:lnTo>
                      <a:pt x="605" y="478"/>
                    </a:lnTo>
                    <a:lnTo>
                      <a:pt x="605" y="476"/>
                    </a:lnTo>
                    <a:close/>
                    <a:moveTo>
                      <a:pt x="582" y="408"/>
                    </a:moveTo>
                    <a:lnTo>
                      <a:pt x="583" y="408"/>
                    </a:lnTo>
                    <a:lnTo>
                      <a:pt x="583" y="410"/>
                    </a:lnTo>
                    <a:lnTo>
                      <a:pt x="582" y="410"/>
                    </a:lnTo>
                    <a:lnTo>
                      <a:pt x="582" y="408"/>
                    </a:lnTo>
                    <a:close/>
                    <a:moveTo>
                      <a:pt x="456" y="201"/>
                    </a:moveTo>
                    <a:lnTo>
                      <a:pt x="456" y="202"/>
                    </a:lnTo>
                    <a:lnTo>
                      <a:pt x="456" y="201"/>
                    </a:lnTo>
                    <a:close/>
                    <a:moveTo>
                      <a:pt x="560" y="444"/>
                    </a:moveTo>
                    <a:lnTo>
                      <a:pt x="561" y="444"/>
                    </a:lnTo>
                    <a:lnTo>
                      <a:pt x="561" y="447"/>
                    </a:lnTo>
                    <a:lnTo>
                      <a:pt x="560" y="447"/>
                    </a:lnTo>
                    <a:lnTo>
                      <a:pt x="560" y="444"/>
                    </a:lnTo>
                    <a:close/>
                    <a:moveTo>
                      <a:pt x="469" y="226"/>
                    </a:moveTo>
                    <a:lnTo>
                      <a:pt x="471" y="226"/>
                    </a:lnTo>
                    <a:lnTo>
                      <a:pt x="471" y="228"/>
                    </a:lnTo>
                    <a:lnTo>
                      <a:pt x="469" y="228"/>
                    </a:lnTo>
                    <a:lnTo>
                      <a:pt x="469" y="226"/>
                    </a:lnTo>
                    <a:close/>
                    <a:moveTo>
                      <a:pt x="531" y="355"/>
                    </a:moveTo>
                    <a:lnTo>
                      <a:pt x="531" y="357"/>
                    </a:lnTo>
                    <a:lnTo>
                      <a:pt x="531" y="355"/>
                    </a:lnTo>
                    <a:close/>
                    <a:moveTo>
                      <a:pt x="452" y="202"/>
                    </a:moveTo>
                    <a:lnTo>
                      <a:pt x="454" y="202"/>
                    </a:lnTo>
                    <a:lnTo>
                      <a:pt x="454" y="204"/>
                    </a:lnTo>
                    <a:lnTo>
                      <a:pt x="452" y="204"/>
                    </a:lnTo>
                    <a:lnTo>
                      <a:pt x="452" y="202"/>
                    </a:lnTo>
                    <a:close/>
                    <a:moveTo>
                      <a:pt x="558" y="444"/>
                    </a:moveTo>
                    <a:lnTo>
                      <a:pt x="560" y="444"/>
                    </a:lnTo>
                    <a:lnTo>
                      <a:pt x="560" y="446"/>
                    </a:lnTo>
                    <a:lnTo>
                      <a:pt x="558" y="446"/>
                    </a:lnTo>
                    <a:lnTo>
                      <a:pt x="558" y="444"/>
                    </a:lnTo>
                    <a:close/>
                    <a:moveTo>
                      <a:pt x="464" y="226"/>
                    </a:moveTo>
                    <a:lnTo>
                      <a:pt x="466" y="226"/>
                    </a:lnTo>
                    <a:lnTo>
                      <a:pt x="466" y="228"/>
                    </a:lnTo>
                    <a:lnTo>
                      <a:pt x="464" y="228"/>
                    </a:lnTo>
                    <a:lnTo>
                      <a:pt x="464" y="226"/>
                    </a:lnTo>
                    <a:close/>
                    <a:moveTo>
                      <a:pt x="461" y="202"/>
                    </a:moveTo>
                    <a:lnTo>
                      <a:pt x="463" y="202"/>
                    </a:lnTo>
                    <a:lnTo>
                      <a:pt x="463" y="204"/>
                    </a:lnTo>
                    <a:lnTo>
                      <a:pt x="461" y="204"/>
                    </a:lnTo>
                    <a:lnTo>
                      <a:pt x="461" y="202"/>
                    </a:lnTo>
                    <a:close/>
                    <a:moveTo>
                      <a:pt x="558" y="444"/>
                    </a:moveTo>
                    <a:lnTo>
                      <a:pt x="560" y="444"/>
                    </a:lnTo>
                    <a:lnTo>
                      <a:pt x="560" y="446"/>
                    </a:lnTo>
                    <a:lnTo>
                      <a:pt x="558" y="446"/>
                    </a:lnTo>
                    <a:lnTo>
                      <a:pt x="558" y="444"/>
                    </a:lnTo>
                    <a:close/>
                    <a:moveTo>
                      <a:pt x="456" y="197"/>
                    </a:moveTo>
                    <a:lnTo>
                      <a:pt x="456" y="199"/>
                    </a:lnTo>
                    <a:lnTo>
                      <a:pt x="456" y="197"/>
                    </a:lnTo>
                    <a:close/>
                    <a:moveTo>
                      <a:pt x="424" y="29"/>
                    </a:moveTo>
                    <a:lnTo>
                      <a:pt x="425" y="29"/>
                    </a:lnTo>
                    <a:lnTo>
                      <a:pt x="424" y="29"/>
                    </a:lnTo>
                    <a:close/>
                    <a:moveTo>
                      <a:pt x="456" y="197"/>
                    </a:moveTo>
                    <a:lnTo>
                      <a:pt x="456" y="199"/>
                    </a:lnTo>
                    <a:lnTo>
                      <a:pt x="456" y="197"/>
                    </a:lnTo>
                    <a:close/>
                    <a:moveTo>
                      <a:pt x="442" y="27"/>
                    </a:moveTo>
                    <a:lnTo>
                      <a:pt x="444" y="27"/>
                    </a:lnTo>
                    <a:lnTo>
                      <a:pt x="442" y="27"/>
                    </a:lnTo>
                    <a:close/>
                    <a:moveTo>
                      <a:pt x="456" y="197"/>
                    </a:moveTo>
                    <a:lnTo>
                      <a:pt x="456" y="199"/>
                    </a:lnTo>
                    <a:lnTo>
                      <a:pt x="456" y="197"/>
                    </a:lnTo>
                    <a:close/>
                    <a:moveTo>
                      <a:pt x="583" y="451"/>
                    </a:moveTo>
                    <a:lnTo>
                      <a:pt x="585" y="451"/>
                    </a:lnTo>
                    <a:lnTo>
                      <a:pt x="583" y="451"/>
                    </a:lnTo>
                    <a:close/>
                    <a:moveTo>
                      <a:pt x="444" y="27"/>
                    </a:moveTo>
                    <a:lnTo>
                      <a:pt x="446" y="27"/>
                    </a:lnTo>
                    <a:lnTo>
                      <a:pt x="444" y="27"/>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29" name="Freeform 25">
                <a:extLst>
                  <a:ext uri="{FF2B5EF4-FFF2-40B4-BE49-F238E27FC236}">
                    <a16:creationId xmlns:a16="http://schemas.microsoft.com/office/drawing/2014/main" id="{C31F6B6D-CF1B-439B-A054-E908C708E097}"/>
                  </a:ext>
                </a:extLst>
              </p:cNvPr>
              <p:cNvSpPr>
                <a:spLocks noEditPoints="1"/>
              </p:cNvSpPr>
              <p:nvPr/>
            </p:nvSpPr>
            <p:spPr bwMode="gray">
              <a:xfrm>
                <a:off x="5026025" y="3148013"/>
                <a:ext cx="463550" cy="425450"/>
              </a:xfrm>
              <a:custGeom>
                <a:avLst/>
                <a:gdLst>
                  <a:gd name="T0" fmla="*/ 216 w 292"/>
                  <a:gd name="T1" fmla="*/ 79 h 268"/>
                  <a:gd name="T2" fmla="*/ 218 w 292"/>
                  <a:gd name="T3" fmla="*/ 80 h 268"/>
                  <a:gd name="T4" fmla="*/ 224 w 292"/>
                  <a:gd name="T5" fmla="*/ 82 h 268"/>
                  <a:gd name="T6" fmla="*/ 229 w 292"/>
                  <a:gd name="T7" fmla="*/ 84 h 268"/>
                  <a:gd name="T8" fmla="*/ 233 w 292"/>
                  <a:gd name="T9" fmla="*/ 84 h 268"/>
                  <a:gd name="T10" fmla="*/ 243 w 292"/>
                  <a:gd name="T11" fmla="*/ 82 h 268"/>
                  <a:gd name="T12" fmla="*/ 292 w 292"/>
                  <a:gd name="T13" fmla="*/ 82 h 268"/>
                  <a:gd name="T14" fmla="*/ 291 w 292"/>
                  <a:gd name="T15" fmla="*/ 104 h 268"/>
                  <a:gd name="T16" fmla="*/ 291 w 292"/>
                  <a:gd name="T17" fmla="*/ 142 h 268"/>
                  <a:gd name="T18" fmla="*/ 262 w 292"/>
                  <a:gd name="T19" fmla="*/ 142 h 268"/>
                  <a:gd name="T20" fmla="*/ 223 w 292"/>
                  <a:gd name="T21" fmla="*/ 142 h 268"/>
                  <a:gd name="T22" fmla="*/ 223 w 292"/>
                  <a:gd name="T23" fmla="*/ 145 h 268"/>
                  <a:gd name="T24" fmla="*/ 218 w 292"/>
                  <a:gd name="T25" fmla="*/ 145 h 268"/>
                  <a:gd name="T26" fmla="*/ 216 w 292"/>
                  <a:gd name="T27" fmla="*/ 142 h 268"/>
                  <a:gd name="T28" fmla="*/ 212 w 292"/>
                  <a:gd name="T29" fmla="*/ 138 h 268"/>
                  <a:gd name="T30" fmla="*/ 211 w 292"/>
                  <a:gd name="T31" fmla="*/ 137 h 268"/>
                  <a:gd name="T32" fmla="*/ 207 w 292"/>
                  <a:gd name="T33" fmla="*/ 135 h 268"/>
                  <a:gd name="T34" fmla="*/ 207 w 292"/>
                  <a:gd name="T35" fmla="*/ 137 h 268"/>
                  <a:gd name="T36" fmla="*/ 202 w 292"/>
                  <a:gd name="T37" fmla="*/ 140 h 268"/>
                  <a:gd name="T38" fmla="*/ 197 w 292"/>
                  <a:gd name="T39" fmla="*/ 135 h 268"/>
                  <a:gd name="T40" fmla="*/ 192 w 292"/>
                  <a:gd name="T41" fmla="*/ 137 h 268"/>
                  <a:gd name="T42" fmla="*/ 192 w 292"/>
                  <a:gd name="T43" fmla="*/ 133 h 268"/>
                  <a:gd name="T44" fmla="*/ 194 w 292"/>
                  <a:gd name="T45" fmla="*/ 128 h 268"/>
                  <a:gd name="T46" fmla="*/ 196 w 292"/>
                  <a:gd name="T47" fmla="*/ 121 h 268"/>
                  <a:gd name="T48" fmla="*/ 202 w 292"/>
                  <a:gd name="T49" fmla="*/ 113 h 268"/>
                  <a:gd name="T50" fmla="*/ 204 w 292"/>
                  <a:gd name="T51" fmla="*/ 111 h 268"/>
                  <a:gd name="T52" fmla="*/ 209 w 292"/>
                  <a:gd name="T53" fmla="*/ 103 h 268"/>
                  <a:gd name="T54" fmla="*/ 214 w 292"/>
                  <a:gd name="T55" fmla="*/ 96 h 268"/>
                  <a:gd name="T56" fmla="*/ 211 w 292"/>
                  <a:gd name="T57" fmla="*/ 87 h 268"/>
                  <a:gd name="T58" fmla="*/ 212 w 292"/>
                  <a:gd name="T59" fmla="*/ 75 h 268"/>
                  <a:gd name="T60" fmla="*/ 158 w 292"/>
                  <a:gd name="T61" fmla="*/ 0 h 268"/>
                  <a:gd name="T62" fmla="*/ 165 w 292"/>
                  <a:gd name="T63" fmla="*/ 2 h 268"/>
                  <a:gd name="T64" fmla="*/ 168 w 292"/>
                  <a:gd name="T65" fmla="*/ 2 h 268"/>
                  <a:gd name="T66" fmla="*/ 168 w 292"/>
                  <a:gd name="T67" fmla="*/ 9 h 268"/>
                  <a:gd name="T68" fmla="*/ 163 w 292"/>
                  <a:gd name="T69" fmla="*/ 17 h 268"/>
                  <a:gd name="T70" fmla="*/ 162 w 292"/>
                  <a:gd name="T71" fmla="*/ 21 h 268"/>
                  <a:gd name="T72" fmla="*/ 156 w 292"/>
                  <a:gd name="T73" fmla="*/ 29 h 268"/>
                  <a:gd name="T74" fmla="*/ 150 w 292"/>
                  <a:gd name="T75" fmla="*/ 28 h 268"/>
                  <a:gd name="T76" fmla="*/ 143 w 292"/>
                  <a:gd name="T77" fmla="*/ 23 h 268"/>
                  <a:gd name="T78" fmla="*/ 146 w 292"/>
                  <a:gd name="T79" fmla="*/ 16 h 268"/>
                  <a:gd name="T80" fmla="*/ 151 w 292"/>
                  <a:gd name="T81" fmla="*/ 16 h 268"/>
                  <a:gd name="T82" fmla="*/ 153 w 292"/>
                  <a:gd name="T83" fmla="*/ 12 h 268"/>
                  <a:gd name="T84" fmla="*/ 156 w 292"/>
                  <a:gd name="T85" fmla="*/ 0 h 268"/>
                  <a:gd name="T86" fmla="*/ 0 w 292"/>
                  <a:gd name="T87" fmla="*/ 264 h 268"/>
                  <a:gd name="T88" fmla="*/ 3 w 292"/>
                  <a:gd name="T89" fmla="*/ 268 h 268"/>
                  <a:gd name="T90" fmla="*/ 0 w 292"/>
                  <a:gd name="T91" fmla="*/ 264 h 268"/>
                  <a:gd name="T92" fmla="*/ 190 w 292"/>
                  <a:gd name="T93" fmla="*/ 145 h 268"/>
                  <a:gd name="T94" fmla="*/ 189 w 292"/>
                  <a:gd name="T95" fmla="*/ 147 h 268"/>
                  <a:gd name="T96" fmla="*/ 211 w 292"/>
                  <a:gd name="T97" fmla="*/ 138 h 268"/>
                  <a:gd name="T98" fmla="*/ 212 w 292"/>
                  <a:gd name="T99" fmla="*/ 140 h 268"/>
                  <a:gd name="T100" fmla="*/ 211 w 292"/>
                  <a:gd name="T101" fmla="*/ 138 h 268"/>
                  <a:gd name="T102" fmla="*/ 199 w 292"/>
                  <a:gd name="T103" fmla="*/ 142 h 268"/>
                  <a:gd name="T104" fmla="*/ 197 w 292"/>
                  <a:gd name="T105"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68">
                    <a:moveTo>
                      <a:pt x="214" y="74"/>
                    </a:moveTo>
                    <a:lnTo>
                      <a:pt x="216" y="79"/>
                    </a:lnTo>
                    <a:lnTo>
                      <a:pt x="218" y="79"/>
                    </a:lnTo>
                    <a:lnTo>
                      <a:pt x="218" y="80"/>
                    </a:lnTo>
                    <a:lnTo>
                      <a:pt x="219" y="80"/>
                    </a:lnTo>
                    <a:lnTo>
                      <a:pt x="224" y="82"/>
                    </a:lnTo>
                    <a:lnTo>
                      <a:pt x="226" y="82"/>
                    </a:lnTo>
                    <a:lnTo>
                      <a:pt x="229" y="84"/>
                    </a:lnTo>
                    <a:lnTo>
                      <a:pt x="231" y="82"/>
                    </a:lnTo>
                    <a:lnTo>
                      <a:pt x="233" y="84"/>
                    </a:lnTo>
                    <a:lnTo>
                      <a:pt x="233" y="82"/>
                    </a:lnTo>
                    <a:lnTo>
                      <a:pt x="243" y="82"/>
                    </a:lnTo>
                    <a:lnTo>
                      <a:pt x="282" y="82"/>
                    </a:lnTo>
                    <a:lnTo>
                      <a:pt x="292" y="82"/>
                    </a:lnTo>
                    <a:lnTo>
                      <a:pt x="291" y="86"/>
                    </a:lnTo>
                    <a:lnTo>
                      <a:pt x="291" y="104"/>
                    </a:lnTo>
                    <a:lnTo>
                      <a:pt x="291" y="118"/>
                    </a:lnTo>
                    <a:lnTo>
                      <a:pt x="291" y="142"/>
                    </a:lnTo>
                    <a:lnTo>
                      <a:pt x="272" y="142"/>
                    </a:lnTo>
                    <a:lnTo>
                      <a:pt x="262" y="142"/>
                    </a:lnTo>
                    <a:lnTo>
                      <a:pt x="245" y="142"/>
                    </a:lnTo>
                    <a:lnTo>
                      <a:pt x="223" y="142"/>
                    </a:lnTo>
                    <a:lnTo>
                      <a:pt x="223" y="143"/>
                    </a:lnTo>
                    <a:lnTo>
                      <a:pt x="223" y="145"/>
                    </a:lnTo>
                    <a:lnTo>
                      <a:pt x="221" y="145"/>
                    </a:lnTo>
                    <a:lnTo>
                      <a:pt x="218" y="145"/>
                    </a:lnTo>
                    <a:lnTo>
                      <a:pt x="218" y="142"/>
                    </a:lnTo>
                    <a:lnTo>
                      <a:pt x="216" y="142"/>
                    </a:lnTo>
                    <a:lnTo>
                      <a:pt x="212" y="142"/>
                    </a:lnTo>
                    <a:lnTo>
                      <a:pt x="212" y="138"/>
                    </a:lnTo>
                    <a:lnTo>
                      <a:pt x="214" y="138"/>
                    </a:lnTo>
                    <a:lnTo>
                      <a:pt x="211" y="137"/>
                    </a:lnTo>
                    <a:lnTo>
                      <a:pt x="207" y="138"/>
                    </a:lnTo>
                    <a:lnTo>
                      <a:pt x="207" y="135"/>
                    </a:lnTo>
                    <a:lnTo>
                      <a:pt x="209" y="135"/>
                    </a:lnTo>
                    <a:lnTo>
                      <a:pt x="207" y="137"/>
                    </a:lnTo>
                    <a:lnTo>
                      <a:pt x="206" y="138"/>
                    </a:lnTo>
                    <a:lnTo>
                      <a:pt x="202" y="140"/>
                    </a:lnTo>
                    <a:lnTo>
                      <a:pt x="199" y="135"/>
                    </a:lnTo>
                    <a:lnTo>
                      <a:pt x="197" y="135"/>
                    </a:lnTo>
                    <a:lnTo>
                      <a:pt x="194" y="137"/>
                    </a:lnTo>
                    <a:lnTo>
                      <a:pt x="192" y="137"/>
                    </a:lnTo>
                    <a:lnTo>
                      <a:pt x="190" y="133"/>
                    </a:lnTo>
                    <a:lnTo>
                      <a:pt x="192" y="133"/>
                    </a:lnTo>
                    <a:lnTo>
                      <a:pt x="192" y="128"/>
                    </a:lnTo>
                    <a:lnTo>
                      <a:pt x="194" y="128"/>
                    </a:lnTo>
                    <a:lnTo>
                      <a:pt x="196" y="125"/>
                    </a:lnTo>
                    <a:lnTo>
                      <a:pt x="196" y="121"/>
                    </a:lnTo>
                    <a:lnTo>
                      <a:pt x="201" y="118"/>
                    </a:lnTo>
                    <a:lnTo>
                      <a:pt x="202" y="113"/>
                    </a:lnTo>
                    <a:lnTo>
                      <a:pt x="204" y="113"/>
                    </a:lnTo>
                    <a:lnTo>
                      <a:pt x="204" y="111"/>
                    </a:lnTo>
                    <a:lnTo>
                      <a:pt x="204" y="108"/>
                    </a:lnTo>
                    <a:lnTo>
                      <a:pt x="209" y="103"/>
                    </a:lnTo>
                    <a:lnTo>
                      <a:pt x="211" y="99"/>
                    </a:lnTo>
                    <a:lnTo>
                      <a:pt x="214" y="96"/>
                    </a:lnTo>
                    <a:lnTo>
                      <a:pt x="214" y="94"/>
                    </a:lnTo>
                    <a:lnTo>
                      <a:pt x="211" y="87"/>
                    </a:lnTo>
                    <a:lnTo>
                      <a:pt x="212" y="82"/>
                    </a:lnTo>
                    <a:lnTo>
                      <a:pt x="212" y="75"/>
                    </a:lnTo>
                    <a:lnTo>
                      <a:pt x="214" y="74"/>
                    </a:lnTo>
                    <a:close/>
                    <a:moveTo>
                      <a:pt x="158" y="0"/>
                    </a:moveTo>
                    <a:lnTo>
                      <a:pt x="160" y="2"/>
                    </a:lnTo>
                    <a:lnTo>
                      <a:pt x="165" y="2"/>
                    </a:lnTo>
                    <a:lnTo>
                      <a:pt x="167" y="2"/>
                    </a:lnTo>
                    <a:lnTo>
                      <a:pt x="168" y="2"/>
                    </a:lnTo>
                    <a:lnTo>
                      <a:pt x="170" y="4"/>
                    </a:lnTo>
                    <a:lnTo>
                      <a:pt x="168" y="9"/>
                    </a:lnTo>
                    <a:lnTo>
                      <a:pt x="165" y="12"/>
                    </a:lnTo>
                    <a:lnTo>
                      <a:pt x="163" y="17"/>
                    </a:lnTo>
                    <a:lnTo>
                      <a:pt x="163" y="19"/>
                    </a:lnTo>
                    <a:lnTo>
                      <a:pt x="162" y="21"/>
                    </a:lnTo>
                    <a:lnTo>
                      <a:pt x="162" y="24"/>
                    </a:lnTo>
                    <a:lnTo>
                      <a:pt x="156" y="29"/>
                    </a:lnTo>
                    <a:lnTo>
                      <a:pt x="151" y="28"/>
                    </a:lnTo>
                    <a:lnTo>
                      <a:pt x="150" y="28"/>
                    </a:lnTo>
                    <a:lnTo>
                      <a:pt x="145" y="26"/>
                    </a:lnTo>
                    <a:lnTo>
                      <a:pt x="143" y="23"/>
                    </a:lnTo>
                    <a:lnTo>
                      <a:pt x="145" y="19"/>
                    </a:lnTo>
                    <a:lnTo>
                      <a:pt x="146" y="16"/>
                    </a:lnTo>
                    <a:lnTo>
                      <a:pt x="151" y="17"/>
                    </a:lnTo>
                    <a:lnTo>
                      <a:pt x="151" y="16"/>
                    </a:lnTo>
                    <a:lnTo>
                      <a:pt x="151" y="14"/>
                    </a:lnTo>
                    <a:lnTo>
                      <a:pt x="153" y="12"/>
                    </a:lnTo>
                    <a:lnTo>
                      <a:pt x="153" y="7"/>
                    </a:lnTo>
                    <a:lnTo>
                      <a:pt x="156" y="0"/>
                    </a:lnTo>
                    <a:lnTo>
                      <a:pt x="158" y="0"/>
                    </a:lnTo>
                    <a:close/>
                    <a:moveTo>
                      <a:pt x="0" y="264"/>
                    </a:moveTo>
                    <a:lnTo>
                      <a:pt x="3" y="264"/>
                    </a:lnTo>
                    <a:lnTo>
                      <a:pt x="3" y="268"/>
                    </a:lnTo>
                    <a:lnTo>
                      <a:pt x="0" y="268"/>
                    </a:lnTo>
                    <a:lnTo>
                      <a:pt x="0" y="264"/>
                    </a:lnTo>
                    <a:close/>
                    <a:moveTo>
                      <a:pt x="189" y="145"/>
                    </a:moveTo>
                    <a:lnTo>
                      <a:pt x="190" y="145"/>
                    </a:lnTo>
                    <a:lnTo>
                      <a:pt x="190" y="147"/>
                    </a:lnTo>
                    <a:lnTo>
                      <a:pt x="189" y="147"/>
                    </a:lnTo>
                    <a:lnTo>
                      <a:pt x="189" y="145"/>
                    </a:lnTo>
                    <a:close/>
                    <a:moveTo>
                      <a:pt x="211" y="138"/>
                    </a:moveTo>
                    <a:lnTo>
                      <a:pt x="212" y="138"/>
                    </a:lnTo>
                    <a:lnTo>
                      <a:pt x="212" y="140"/>
                    </a:lnTo>
                    <a:lnTo>
                      <a:pt x="211" y="140"/>
                    </a:lnTo>
                    <a:lnTo>
                      <a:pt x="211" y="138"/>
                    </a:lnTo>
                    <a:close/>
                    <a:moveTo>
                      <a:pt x="197" y="142"/>
                    </a:moveTo>
                    <a:lnTo>
                      <a:pt x="199" y="142"/>
                    </a:lnTo>
                    <a:lnTo>
                      <a:pt x="199" y="143"/>
                    </a:lnTo>
                    <a:lnTo>
                      <a:pt x="197" y="143"/>
                    </a:lnTo>
                    <a:lnTo>
                      <a:pt x="197" y="142"/>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0" name="Freeform 26">
                <a:extLst>
                  <a:ext uri="{FF2B5EF4-FFF2-40B4-BE49-F238E27FC236}">
                    <a16:creationId xmlns:a16="http://schemas.microsoft.com/office/drawing/2014/main" id="{1D970787-1E1A-4EF3-8563-D7C6BC76396C}"/>
                  </a:ext>
                </a:extLst>
              </p:cNvPr>
              <p:cNvSpPr>
                <a:spLocks noEditPoints="1"/>
              </p:cNvSpPr>
              <p:nvPr/>
            </p:nvSpPr>
            <p:spPr bwMode="gray">
              <a:xfrm>
                <a:off x="7505700" y="2006600"/>
                <a:ext cx="538162" cy="454025"/>
              </a:xfrm>
              <a:custGeom>
                <a:avLst/>
                <a:gdLst>
                  <a:gd name="T0" fmla="*/ 320 w 339"/>
                  <a:gd name="T1" fmla="*/ 284 h 286"/>
                  <a:gd name="T2" fmla="*/ 269 w 339"/>
                  <a:gd name="T3" fmla="*/ 240 h 286"/>
                  <a:gd name="T4" fmla="*/ 187 w 339"/>
                  <a:gd name="T5" fmla="*/ 175 h 286"/>
                  <a:gd name="T6" fmla="*/ 157 w 339"/>
                  <a:gd name="T7" fmla="*/ 173 h 286"/>
                  <a:gd name="T8" fmla="*/ 141 w 339"/>
                  <a:gd name="T9" fmla="*/ 173 h 286"/>
                  <a:gd name="T10" fmla="*/ 114 w 339"/>
                  <a:gd name="T11" fmla="*/ 179 h 286"/>
                  <a:gd name="T12" fmla="*/ 92 w 339"/>
                  <a:gd name="T13" fmla="*/ 168 h 286"/>
                  <a:gd name="T14" fmla="*/ 68 w 339"/>
                  <a:gd name="T15" fmla="*/ 168 h 286"/>
                  <a:gd name="T16" fmla="*/ 39 w 339"/>
                  <a:gd name="T17" fmla="*/ 180 h 286"/>
                  <a:gd name="T18" fmla="*/ 7 w 339"/>
                  <a:gd name="T19" fmla="*/ 187 h 286"/>
                  <a:gd name="T20" fmla="*/ 26 w 339"/>
                  <a:gd name="T21" fmla="*/ 87 h 286"/>
                  <a:gd name="T22" fmla="*/ 29 w 339"/>
                  <a:gd name="T23" fmla="*/ 56 h 286"/>
                  <a:gd name="T24" fmla="*/ 55 w 339"/>
                  <a:gd name="T25" fmla="*/ 41 h 286"/>
                  <a:gd name="T26" fmla="*/ 82 w 339"/>
                  <a:gd name="T27" fmla="*/ 22 h 286"/>
                  <a:gd name="T28" fmla="*/ 102 w 339"/>
                  <a:gd name="T29" fmla="*/ 5 h 286"/>
                  <a:gd name="T30" fmla="*/ 136 w 339"/>
                  <a:gd name="T31" fmla="*/ 70 h 286"/>
                  <a:gd name="T32" fmla="*/ 155 w 339"/>
                  <a:gd name="T33" fmla="*/ 121 h 286"/>
                  <a:gd name="T34" fmla="*/ 169 w 339"/>
                  <a:gd name="T35" fmla="*/ 148 h 286"/>
                  <a:gd name="T36" fmla="*/ 172 w 339"/>
                  <a:gd name="T37" fmla="*/ 129 h 286"/>
                  <a:gd name="T38" fmla="*/ 182 w 339"/>
                  <a:gd name="T39" fmla="*/ 141 h 286"/>
                  <a:gd name="T40" fmla="*/ 194 w 339"/>
                  <a:gd name="T41" fmla="*/ 155 h 286"/>
                  <a:gd name="T42" fmla="*/ 203 w 339"/>
                  <a:gd name="T43" fmla="*/ 153 h 286"/>
                  <a:gd name="T44" fmla="*/ 216 w 339"/>
                  <a:gd name="T45" fmla="*/ 156 h 286"/>
                  <a:gd name="T46" fmla="*/ 220 w 339"/>
                  <a:gd name="T47" fmla="*/ 167 h 286"/>
                  <a:gd name="T48" fmla="*/ 252 w 339"/>
                  <a:gd name="T49" fmla="*/ 184 h 286"/>
                  <a:gd name="T50" fmla="*/ 281 w 339"/>
                  <a:gd name="T51" fmla="*/ 211 h 286"/>
                  <a:gd name="T52" fmla="*/ 291 w 339"/>
                  <a:gd name="T53" fmla="*/ 221 h 286"/>
                  <a:gd name="T54" fmla="*/ 310 w 339"/>
                  <a:gd name="T55" fmla="*/ 241 h 286"/>
                  <a:gd name="T56" fmla="*/ 328 w 339"/>
                  <a:gd name="T57" fmla="*/ 262 h 286"/>
                  <a:gd name="T58" fmla="*/ 182 w 339"/>
                  <a:gd name="T59" fmla="*/ 107 h 286"/>
                  <a:gd name="T60" fmla="*/ 192 w 339"/>
                  <a:gd name="T61" fmla="*/ 117 h 286"/>
                  <a:gd name="T62" fmla="*/ 186 w 339"/>
                  <a:gd name="T63" fmla="*/ 122 h 286"/>
                  <a:gd name="T64" fmla="*/ 180 w 339"/>
                  <a:gd name="T65" fmla="*/ 114 h 286"/>
                  <a:gd name="T66" fmla="*/ 182 w 339"/>
                  <a:gd name="T67" fmla="*/ 107 h 286"/>
                  <a:gd name="T68" fmla="*/ 182 w 339"/>
                  <a:gd name="T69" fmla="*/ 95 h 286"/>
                  <a:gd name="T70" fmla="*/ 192 w 339"/>
                  <a:gd name="T71" fmla="*/ 143 h 286"/>
                  <a:gd name="T72" fmla="*/ 189 w 339"/>
                  <a:gd name="T73" fmla="*/ 117 h 286"/>
                  <a:gd name="T74" fmla="*/ 187 w 339"/>
                  <a:gd name="T75" fmla="*/ 75 h 286"/>
                  <a:gd name="T76" fmla="*/ 155 w 339"/>
                  <a:gd name="T77" fmla="*/ 99 h 286"/>
                  <a:gd name="T78" fmla="*/ 192 w 339"/>
                  <a:gd name="T79" fmla="*/ 141 h 286"/>
                  <a:gd name="T80" fmla="*/ 192 w 339"/>
                  <a:gd name="T81" fmla="*/ 87 h 286"/>
                  <a:gd name="T82" fmla="*/ 182 w 339"/>
                  <a:gd name="T83" fmla="*/ 102 h 286"/>
                  <a:gd name="T84" fmla="*/ 167 w 339"/>
                  <a:gd name="T85" fmla="*/ 126 h 286"/>
                  <a:gd name="T86" fmla="*/ 221 w 339"/>
                  <a:gd name="T87" fmla="*/ 122 h 286"/>
                  <a:gd name="T88" fmla="*/ 180 w 339"/>
                  <a:gd name="T89" fmla="*/ 124 h 286"/>
                  <a:gd name="T90" fmla="*/ 194 w 339"/>
                  <a:gd name="T91" fmla="*/ 100 h 286"/>
                  <a:gd name="T92" fmla="*/ 218 w 339"/>
                  <a:gd name="T93" fmla="*/ 114 h 286"/>
                  <a:gd name="T94" fmla="*/ 157 w 339"/>
                  <a:gd name="T95" fmla="*/ 83 h 286"/>
                  <a:gd name="T96" fmla="*/ 323 w 339"/>
                  <a:gd name="T97" fmla="*/ 260 h 286"/>
                  <a:gd name="T98" fmla="*/ 216 w 339"/>
                  <a:gd name="T99" fmla="*/ 110 h 286"/>
                  <a:gd name="T100" fmla="*/ 197 w 339"/>
                  <a:gd name="T101" fmla="*/ 105 h 286"/>
                  <a:gd name="T102" fmla="*/ 160 w 339"/>
                  <a:gd name="T103" fmla="*/ 102 h 286"/>
                  <a:gd name="T104" fmla="*/ 330 w 339"/>
                  <a:gd name="T105" fmla="*/ 257 h 286"/>
                  <a:gd name="T106" fmla="*/ 186 w 339"/>
                  <a:gd name="T107" fmla="*/ 139 h 286"/>
                  <a:gd name="T108" fmla="*/ 281 w 339"/>
                  <a:gd name="T109" fmla="*/ 207 h 286"/>
                  <a:gd name="T110" fmla="*/ 327 w 339"/>
                  <a:gd name="T111" fmla="*/ 260 h 286"/>
                  <a:gd name="T112" fmla="*/ 177 w 339"/>
                  <a:gd name="T113" fmla="*/ 116 h 286"/>
                  <a:gd name="T114" fmla="*/ 186 w 339"/>
                  <a:gd name="T115" fmla="*/ 107 h 286"/>
                  <a:gd name="T116" fmla="*/ 179 w 339"/>
                  <a:gd name="T117" fmla="*/ 9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 h="286">
                    <a:moveTo>
                      <a:pt x="339" y="267"/>
                    </a:moveTo>
                    <a:lnTo>
                      <a:pt x="330" y="270"/>
                    </a:lnTo>
                    <a:lnTo>
                      <a:pt x="328" y="272"/>
                    </a:lnTo>
                    <a:lnTo>
                      <a:pt x="327" y="272"/>
                    </a:lnTo>
                    <a:lnTo>
                      <a:pt x="325" y="276"/>
                    </a:lnTo>
                    <a:lnTo>
                      <a:pt x="323" y="276"/>
                    </a:lnTo>
                    <a:lnTo>
                      <a:pt x="322" y="277"/>
                    </a:lnTo>
                    <a:lnTo>
                      <a:pt x="322" y="279"/>
                    </a:lnTo>
                    <a:lnTo>
                      <a:pt x="323" y="281"/>
                    </a:lnTo>
                    <a:lnTo>
                      <a:pt x="323" y="282"/>
                    </a:lnTo>
                    <a:lnTo>
                      <a:pt x="322" y="282"/>
                    </a:lnTo>
                    <a:lnTo>
                      <a:pt x="320" y="282"/>
                    </a:lnTo>
                    <a:lnTo>
                      <a:pt x="320" y="284"/>
                    </a:lnTo>
                    <a:lnTo>
                      <a:pt x="318" y="284"/>
                    </a:lnTo>
                    <a:lnTo>
                      <a:pt x="316" y="286"/>
                    </a:lnTo>
                    <a:lnTo>
                      <a:pt x="308" y="279"/>
                    </a:lnTo>
                    <a:lnTo>
                      <a:pt x="306" y="277"/>
                    </a:lnTo>
                    <a:lnTo>
                      <a:pt x="305" y="277"/>
                    </a:lnTo>
                    <a:lnTo>
                      <a:pt x="303" y="279"/>
                    </a:lnTo>
                    <a:lnTo>
                      <a:pt x="296" y="270"/>
                    </a:lnTo>
                    <a:lnTo>
                      <a:pt x="293" y="265"/>
                    </a:lnTo>
                    <a:lnTo>
                      <a:pt x="284" y="262"/>
                    </a:lnTo>
                    <a:lnTo>
                      <a:pt x="282" y="260"/>
                    </a:lnTo>
                    <a:lnTo>
                      <a:pt x="281" y="257"/>
                    </a:lnTo>
                    <a:lnTo>
                      <a:pt x="276" y="250"/>
                    </a:lnTo>
                    <a:lnTo>
                      <a:pt x="269" y="240"/>
                    </a:lnTo>
                    <a:lnTo>
                      <a:pt x="267" y="238"/>
                    </a:lnTo>
                    <a:lnTo>
                      <a:pt x="262" y="233"/>
                    </a:lnTo>
                    <a:lnTo>
                      <a:pt x="254" y="230"/>
                    </a:lnTo>
                    <a:lnTo>
                      <a:pt x="247" y="224"/>
                    </a:lnTo>
                    <a:lnTo>
                      <a:pt x="240" y="216"/>
                    </a:lnTo>
                    <a:lnTo>
                      <a:pt x="231" y="201"/>
                    </a:lnTo>
                    <a:lnTo>
                      <a:pt x="228" y="197"/>
                    </a:lnTo>
                    <a:lnTo>
                      <a:pt x="225" y="196"/>
                    </a:lnTo>
                    <a:lnTo>
                      <a:pt x="221" y="194"/>
                    </a:lnTo>
                    <a:lnTo>
                      <a:pt x="203" y="185"/>
                    </a:lnTo>
                    <a:lnTo>
                      <a:pt x="194" y="182"/>
                    </a:lnTo>
                    <a:lnTo>
                      <a:pt x="191" y="182"/>
                    </a:lnTo>
                    <a:lnTo>
                      <a:pt x="187" y="175"/>
                    </a:lnTo>
                    <a:lnTo>
                      <a:pt x="186" y="175"/>
                    </a:lnTo>
                    <a:lnTo>
                      <a:pt x="184" y="175"/>
                    </a:lnTo>
                    <a:lnTo>
                      <a:pt x="180" y="179"/>
                    </a:lnTo>
                    <a:lnTo>
                      <a:pt x="179" y="180"/>
                    </a:lnTo>
                    <a:lnTo>
                      <a:pt x="177" y="182"/>
                    </a:lnTo>
                    <a:lnTo>
                      <a:pt x="174" y="179"/>
                    </a:lnTo>
                    <a:lnTo>
                      <a:pt x="170" y="177"/>
                    </a:lnTo>
                    <a:lnTo>
                      <a:pt x="169" y="175"/>
                    </a:lnTo>
                    <a:lnTo>
                      <a:pt x="165" y="173"/>
                    </a:lnTo>
                    <a:lnTo>
                      <a:pt x="165" y="172"/>
                    </a:lnTo>
                    <a:lnTo>
                      <a:pt x="160" y="172"/>
                    </a:lnTo>
                    <a:lnTo>
                      <a:pt x="157" y="172"/>
                    </a:lnTo>
                    <a:lnTo>
                      <a:pt x="157" y="173"/>
                    </a:lnTo>
                    <a:lnTo>
                      <a:pt x="155" y="173"/>
                    </a:lnTo>
                    <a:lnTo>
                      <a:pt x="155" y="175"/>
                    </a:lnTo>
                    <a:lnTo>
                      <a:pt x="157" y="177"/>
                    </a:lnTo>
                    <a:lnTo>
                      <a:pt x="155" y="179"/>
                    </a:lnTo>
                    <a:lnTo>
                      <a:pt x="150" y="177"/>
                    </a:lnTo>
                    <a:lnTo>
                      <a:pt x="150" y="175"/>
                    </a:lnTo>
                    <a:lnTo>
                      <a:pt x="148" y="175"/>
                    </a:lnTo>
                    <a:lnTo>
                      <a:pt x="148" y="179"/>
                    </a:lnTo>
                    <a:lnTo>
                      <a:pt x="145" y="179"/>
                    </a:lnTo>
                    <a:lnTo>
                      <a:pt x="143" y="182"/>
                    </a:lnTo>
                    <a:lnTo>
                      <a:pt x="141" y="179"/>
                    </a:lnTo>
                    <a:lnTo>
                      <a:pt x="143" y="177"/>
                    </a:lnTo>
                    <a:lnTo>
                      <a:pt x="141" y="173"/>
                    </a:lnTo>
                    <a:lnTo>
                      <a:pt x="140" y="170"/>
                    </a:lnTo>
                    <a:lnTo>
                      <a:pt x="140" y="172"/>
                    </a:lnTo>
                    <a:lnTo>
                      <a:pt x="140" y="170"/>
                    </a:lnTo>
                    <a:lnTo>
                      <a:pt x="138" y="168"/>
                    </a:lnTo>
                    <a:lnTo>
                      <a:pt x="135" y="170"/>
                    </a:lnTo>
                    <a:lnTo>
                      <a:pt x="131" y="170"/>
                    </a:lnTo>
                    <a:lnTo>
                      <a:pt x="131" y="172"/>
                    </a:lnTo>
                    <a:lnTo>
                      <a:pt x="128" y="175"/>
                    </a:lnTo>
                    <a:lnTo>
                      <a:pt x="126" y="175"/>
                    </a:lnTo>
                    <a:lnTo>
                      <a:pt x="124" y="177"/>
                    </a:lnTo>
                    <a:lnTo>
                      <a:pt x="123" y="177"/>
                    </a:lnTo>
                    <a:lnTo>
                      <a:pt x="119" y="179"/>
                    </a:lnTo>
                    <a:lnTo>
                      <a:pt x="114" y="179"/>
                    </a:lnTo>
                    <a:lnTo>
                      <a:pt x="112" y="180"/>
                    </a:lnTo>
                    <a:lnTo>
                      <a:pt x="107" y="180"/>
                    </a:lnTo>
                    <a:lnTo>
                      <a:pt x="106" y="182"/>
                    </a:lnTo>
                    <a:lnTo>
                      <a:pt x="104" y="180"/>
                    </a:lnTo>
                    <a:lnTo>
                      <a:pt x="102" y="182"/>
                    </a:lnTo>
                    <a:lnTo>
                      <a:pt x="101" y="179"/>
                    </a:lnTo>
                    <a:lnTo>
                      <a:pt x="99" y="179"/>
                    </a:lnTo>
                    <a:lnTo>
                      <a:pt x="99" y="177"/>
                    </a:lnTo>
                    <a:lnTo>
                      <a:pt x="97" y="177"/>
                    </a:lnTo>
                    <a:lnTo>
                      <a:pt x="95" y="172"/>
                    </a:lnTo>
                    <a:lnTo>
                      <a:pt x="94" y="172"/>
                    </a:lnTo>
                    <a:lnTo>
                      <a:pt x="92" y="170"/>
                    </a:lnTo>
                    <a:lnTo>
                      <a:pt x="92" y="168"/>
                    </a:lnTo>
                    <a:lnTo>
                      <a:pt x="89" y="167"/>
                    </a:lnTo>
                    <a:lnTo>
                      <a:pt x="89" y="168"/>
                    </a:lnTo>
                    <a:lnTo>
                      <a:pt x="87" y="168"/>
                    </a:lnTo>
                    <a:lnTo>
                      <a:pt x="84" y="167"/>
                    </a:lnTo>
                    <a:lnTo>
                      <a:pt x="82" y="165"/>
                    </a:lnTo>
                    <a:lnTo>
                      <a:pt x="80" y="165"/>
                    </a:lnTo>
                    <a:lnTo>
                      <a:pt x="80" y="163"/>
                    </a:lnTo>
                    <a:lnTo>
                      <a:pt x="78" y="163"/>
                    </a:lnTo>
                    <a:lnTo>
                      <a:pt x="78" y="162"/>
                    </a:lnTo>
                    <a:lnTo>
                      <a:pt x="77" y="162"/>
                    </a:lnTo>
                    <a:lnTo>
                      <a:pt x="77" y="160"/>
                    </a:lnTo>
                    <a:lnTo>
                      <a:pt x="75" y="156"/>
                    </a:lnTo>
                    <a:lnTo>
                      <a:pt x="68" y="168"/>
                    </a:lnTo>
                    <a:lnTo>
                      <a:pt x="55" y="192"/>
                    </a:lnTo>
                    <a:lnTo>
                      <a:pt x="53" y="192"/>
                    </a:lnTo>
                    <a:lnTo>
                      <a:pt x="53" y="190"/>
                    </a:lnTo>
                    <a:lnTo>
                      <a:pt x="53" y="189"/>
                    </a:lnTo>
                    <a:lnTo>
                      <a:pt x="51" y="189"/>
                    </a:lnTo>
                    <a:lnTo>
                      <a:pt x="48" y="187"/>
                    </a:lnTo>
                    <a:lnTo>
                      <a:pt x="50" y="185"/>
                    </a:lnTo>
                    <a:lnTo>
                      <a:pt x="48" y="185"/>
                    </a:lnTo>
                    <a:lnTo>
                      <a:pt x="48" y="184"/>
                    </a:lnTo>
                    <a:lnTo>
                      <a:pt x="46" y="180"/>
                    </a:lnTo>
                    <a:lnTo>
                      <a:pt x="44" y="180"/>
                    </a:lnTo>
                    <a:lnTo>
                      <a:pt x="41" y="180"/>
                    </a:lnTo>
                    <a:lnTo>
                      <a:pt x="39" y="180"/>
                    </a:lnTo>
                    <a:lnTo>
                      <a:pt x="38" y="180"/>
                    </a:lnTo>
                    <a:lnTo>
                      <a:pt x="36" y="182"/>
                    </a:lnTo>
                    <a:lnTo>
                      <a:pt x="34" y="185"/>
                    </a:lnTo>
                    <a:lnTo>
                      <a:pt x="33" y="189"/>
                    </a:lnTo>
                    <a:lnTo>
                      <a:pt x="31" y="189"/>
                    </a:lnTo>
                    <a:lnTo>
                      <a:pt x="29" y="189"/>
                    </a:lnTo>
                    <a:lnTo>
                      <a:pt x="27" y="187"/>
                    </a:lnTo>
                    <a:lnTo>
                      <a:pt x="21" y="185"/>
                    </a:lnTo>
                    <a:lnTo>
                      <a:pt x="21" y="187"/>
                    </a:lnTo>
                    <a:lnTo>
                      <a:pt x="16" y="185"/>
                    </a:lnTo>
                    <a:lnTo>
                      <a:pt x="12" y="187"/>
                    </a:lnTo>
                    <a:lnTo>
                      <a:pt x="10" y="185"/>
                    </a:lnTo>
                    <a:lnTo>
                      <a:pt x="7" y="187"/>
                    </a:lnTo>
                    <a:lnTo>
                      <a:pt x="5" y="187"/>
                    </a:lnTo>
                    <a:lnTo>
                      <a:pt x="5" y="189"/>
                    </a:lnTo>
                    <a:lnTo>
                      <a:pt x="4" y="185"/>
                    </a:lnTo>
                    <a:lnTo>
                      <a:pt x="4" y="175"/>
                    </a:lnTo>
                    <a:lnTo>
                      <a:pt x="2" y="163"/>
                    </a:lnTo>
                    <a:lnTo>
                      <a:pt x="0" y="143"/>
                    </a:lnTo>
                    <a:lnTo>
                      <a:pt x="5" y="139"/>
                    </a:lnTo>
                    <a:lnTo>
                      <a:pt x="10" y="128"/>
                    </a:lnTo>
                    <a:lnTo>
                      <a:pt x="9" y="128"/>
                    </a:lnTo>
                    <a:lnTo>
                      <a:pt x="12" y="114"/>
                    </a:lnTo>
                    <a:lnTo>
                      <a:pt x="16" y="109"/>
                    </a:lnTo>
                    <a:lnTo>
                      <a:pt x="22" y="90"/>
                    </a:lnTo>
                    <a:lnTo>
                      <a:pt x="26" y="87"/>
                    </a:lnTo>
                    <a:lnTo>
                      <a:pt x="24" y="85"/>
                    </a:lnTo>
                    <a:lnTo>
                      <a:pt x="26" y="80"/>
                    </a:lnTo>
                    <a:lnTo>
                      <a:pt x="24" y="78"/>
                    </a:lnTo>
                    <a:lnTo>
                      <a:pt x="22" y="75"/>
                    </a:lnTo>
                    <a:lnTo>
                      <a:pt x="22" y="71"/>
                    </a:lnTo>
                    <a:lnTo>
                      <a:pt x="22" y="68"/>
                    </a:lnTo>
                    <a:lnTo>
                      <a:pt x="26" y="68"/>
                    </a:lnTo>
                    <a:lnTo>
                      <a:pt x="26" y="66"/>
                    </a:lnTo>
                    <a:lnTo>
                      <a:pt x="27" y="65"/>
                    </a:lnTo>
                    <a:lnTo>
                      <a:pt x="27" y="63"/>
                    </a:lnTo>
                    <a:lnTo>
                      <a:pt x="29" y="59"/>
                    </a:lnTo>
                    <a:lnTo>
                      <a:pt x="27" y="58"/>
                    </a:lnTo>
                    <a:lnTo>
                      <a:pt x="29" y="56"/>
                    </a:lnTo>
                    <a:lnTo>
                      <a:pt x="26" y="53"/>
                    </a:lnTo>
                    <a:lnTo>
                      <a:pt x="29" y="49"/>
                    </a:lnTo>
                    <a:lnTo>
                      <a:pt x="27" y="46"/>
                    </a:lnTo>
                    <a:lnTo>
                      <a:pt x="29" y="46"/>
                    </a:lnTo>
                    <a:lnTo>
                      <a:pt x="31" y="46"/>
                    </a:lnTo>
                    <a:lnTo>
                      <a:pt x="33" y="46"/>
                    </a:lnTo>
                    <a:lnTo>
                      <a:pt x="36" y="48"/>
                    </a:lnTo>
                    <a:lnTo>
                      <a:pt x="43" y="46"/>
                    </a:lnTo>
                    <a:lnTo>
                      <a:pt x="48" y="48"/>
                    </a:lnTo>
                    <a:lnTo>
                      <a:pt x="50" y="46"/>
                    </a:lnTo>
                    <a:lnTo>
                      <a:pt x="51" y="44"/>
                    </a:lnTo>
                    <a:lnTo>
                      <a:pt x="53" y="41"/>
                    </a:lnTo>
                    <a:lnTo>
                      <a:pt x="55" y="41"/>
                    </a:lnTo>
                    <a:lnTo>
                      <a:pt x="53" y="37"/>
                    </a:lnTo>
                    <a:lnTo>
                      <a:pt x="55" y="37"/>
                    </a:lnTo>
                    <a:lnTo>
                      <a:pt x="53" y="34"/>
                    </a:lnTo>
                    <a:lnTo>
                      <a:pt x="60" y="32"/>
                    </a:lnTo>
                    <a:lnTo>
                      <a:pt x="67" y="31"/>
                    </a:lnTo>
                    <a:lnTo>
                      <a:pt x="68" y="25"/>
                    </a:lnTo>
                    <a:lnTo>
                      <a:pt x="72" y="25"/>
                    </a:lnTo>
                    <a:lnTo>
                      <a:pt x="73" y="27"/>
                    </a:lnTo>
                    <a:lnTo>
                      <a:pt x="77" y="27"/>
                    </a:lnTo>
                    <a:lnTo>
                      <a:pt x="77" y="25"/>
                    </a:lnTo>
                    <a:lnTo>
                      <a:pt x="78" y="22"/>
                    </a:lnTo>
                    <a:lnTo>
                      <a:pt x="80" y="22"/>
                    </a:lnTo>
                    <a:lnTo>
                      <a:pt x="82" y="22"/>
                    </a:lnTo>
                    <a:lnTo>
                      <a:pt x="82" y="24"/>
                    </a:lnTo>
                    <a:lnTo>
                      <a:pt x="84" y="24"/>
                    </a:lnTo>
                    <a:lnTo>
                      <a:pt x="84" y="22"/>
                    </a:lnTo>
                    <a:lnTo>
                      <a:pt x="85" y="20"/>
                    </a:lnTo>
                    <a:lnTo>
                      <a:pt x="85" y="22"/>
                    </a:lnTo>
                    <a:lnTo>
                      <a:pt x="87" y="20"/>
                    </a:lnTo>
                    <a:lnTo>
                      <a:pt x="89" y="22"/>
                    </a:lnTo>
                    <a:lnTo>
                      <a:pt x="90" y="22"/>
                    </a:lnTo>
                    <a:lnTo>
                      <a:pt x="92" y="22"/>
                    </a:lnTo>
                    <a:lnTo>
                      <a:pt x="94" y="19"/>
                    </a:lnTo>
                    <a:lnTo>
                      <a:pt x="97" y="17"/>
                    </a:lnTo>
                    <a:lnTo>
                      <a:pt x="97" y="14"/>
                    </a:lnTo>
                    <a:lnTo>
                      <a:pt x="102" y="5"/>
                    </a:lnTo>
                    <a:lnTo>
                      <a:pt x="107" y="0"/>
                    </a:lnTo>
                    <a:lnTo>
                      <a:pt x="109" y="3"/>
                    </a:lnTo>
                    <a:lnTo>
                      <a:pt x="112" y="5"/>
                    </a:lnTo>
                    <a:lnTo>
                      <a:pt x="112" y="8"/>
                    </a:lnTo>
                    <a:lnTo>
                      <a:pt x="121" y="19"/>
                    </a:lnTo>
                    <a:lnTo>
                      <a:pt x="126" y="29"/>
                    </a:lnTo>
                    <a:lnTo>
                      <a:pt x="128" y="39"/>
                    </a:lnTo>
                    <a:lnTo>
                      <a:pt x="129" y="41"/>
                    </a:lnTo>
                    <a:lnTo>
                      <a:pt x="129" y="42"/>
                    </a:lnTo>
                    <a:lnTo>
                      <a:pt x="133" y="56"/>
                    </a:lnTo>
                    <a:lnTo>
                      <a:pt x="138" y="66"/>
                    </a:lnTo>
                    <a:lnTo>
                      <a:pt x="138" y="68"/>
                    </a:lnTo>
                    <a:lnTo>
                      <a:pt x="136" y="70"/>
                    </a:lnTo>
                    <a:lnTo>
                      <a:pt x="138" y="73"/>
                    </a:lnTo>
                    <a:lnTo>
                      <a:pt x="138" y="75"/>
                    </a:lnTo>
                    <a:lnTo>
                      <a:pt x="138" y="76"/>
                    </a:lnTo>
                    <a:lnTo>
                      <a:pt x="140" y="78"/>
                    </a:lnTo>
                    <a:lnTo>
                      <a:pt x="140" y="87"/>
                    </a:lnTo>
                    <a:lnTo>
                      <a:pt x="141" y="97"/>
                    </a:lnTo>
                    <a:lnTo>
                      <a:pt x="145" y="105"/>
                    </a:lnTo>
                    <a:lnTo>
                      <a:pt x="152" y="110"/>
                    </a:lnTo>
                    <a:lnTo>
                      <a:pt x="152" y="114"/>
                    </a:lnTo>
                    <a:lnTo>
                      <a:pt x="153" y="117"/>
                    </a:lnTo>
                    <a:lnTo>
                      <a:pt x="155" y="119"/>
                    </a:lnTo>
                    <a:lnTo>
                      <a:pt x="153" y="119"/>
                    </a:lnTo>
                    <a:lnTo>
                      <a:pt x="155" y="121"/>
                    </a:lnTo>
                    <a:lnTo>
                      <a:pt x="153" y="121"/>
                    </a:lnTo>
                    <a:lnTo>
                      <a:pt x="152" y="121"/>
                    </a:lnTo>
                    <a:lnTo>
                      <a:pt x="153" y="124"/>
                    </a:lnTo>
                    <a:lnTo>
                      <a:pt x="155" y="126"/>
                    </a:lnTo>
                    <a:lnTo>
                      <a:pt x="158" y="124"/>
                    </a:lnTo>
                    <a:lnTo>
                      <a:pt x="160" y="126"/>
                    </a:lnTo>
                    <a:lnTo>
                      <a:pt x="162" y="128"/>
                    </a:lnTo>
                    <a:lnTo>
                      <a:pt x="163" y="134"/>
                    </a:lnTo>
                    <a:lnTo>
                      <a:pt x="165" y="138"/>
                    </a:lnTo>
                    <a:lnTo>
                      <a:pt x="165" y="145"/>
                    </a:lnTo>
                    <a:lnTo>
                      <a:pt x="165" y="146"/>
                    </a:lnTo>
                    <a:lnTo>
                      <a:pt x="169" y="146"/>
                    </a:lnTo>
                    <a:lnTo>
                      <a:pt x="169" y="148"/>
                    </a:lnTo>
                    <a:lnTo>
                      <a:pt x="170" y="148"/>
                    </a:lnTo>
                    <a:lnTo>
                      <a:pt x="172" y="145"/>
                    </a:lnTo>
                    <a:lnTo>
                      <a:pt x="174" y="143"/>
                    </a:lnTo>
                    <a:lnTo>
                      <a:pt x="172" y="138"/>
                    </a:lnTo>
                    <a:lnTo>
                      <a:pt x="170" y="138"/>
                    </a:lnTo>
                    <a:lnTo>
                      <a:pt x="170" y="139"/>
                    </a:lnTo>
                    <a:lnTo>
                      <a:pt x="170" y="138"/>
                    </a:lnTo>
                    <a:lnTo>
                      <a:pt x="169" y="136"/>
                    </a:lnTo>
                    <a:lnTo>
                      <a:pt x="170" y="134"/>
                    </a:lnTo>
                    <a:lnTo>
                      <a:pt x="169" y="131"/>
                    </a:lnTo>
                    <a:lnTo>
                      <a:pt x="170" y="131"/>
                    </a:lnTo>
                    <a:lnTo>
                      <a:pt x="170" y="129"/>
                    </a:lnTo>
                    <a:lnTo>
                      <a:pt x="172" y="129"/>
                    </a:lnTo>
                    <a:lnTo>
                      <a:pt x="172" y="128"/>
                    </a:lnTo>
                    <a:lnTo>
                      <a:pt x="172" y="129"/>
                    </a:lnTo>
                    <a:lnTo>
                      <a:pt x="172" y="128"/>
                    </a:lnTo>
                    <a:lnTo>
                      <a:pt x="174" y="128"/>
                    </a:lnTo>
                    <a:lnTo>
                      <a:pt x="174" y="126"/>
                    </a:lnTo>
                    <a:lnTo>
                      <a:pt x="175" y="129"/>
                    </a:lnTo>
                    <a:lnTo>
                      <a:pt x="179" y="129"/>
                    </a:lnTo>
                    <a:lnTo>
                      <a:pt x="179" y="131"/>
                    </a:lnTo>
                    <a:lnTo>
                      <a:pt x="186" y="134"/>
                    </a:lnTo>
                    <a:lnTo>
                      <a:pt x="184" y="136"/>
                    </a:lnTo>
                    <a:lnTo>
                      <a:pt x="182" y="139"/>
                    </a:lnTo>
                    <a:lnTo>
                      <a:pt x="184" y="139"/>
                    </a:lnTo>
                    <a:lnTo>
                      <a:pt x="182" y="141"/>
                    </a:lnTo>
                    <a:lnTo>
                      <a:pt x="186" y="141"/>
                    </a:lnTo>
                    <a:lnTo>
                      <a:pt x="184" y="143"/>
                    </a:lnTo>
                    <a:lnTo>
                      <a:pt x="184" y="141"/>
                    </a:lnTo>
                    <a:lnTo>
                      <a:pt x="182" y="141"/>
                    </a:lnTo>
                    <a:lnTo>
                      <a:pt x="186" y="145"/>
                    </a:lnTo>
                    <a:lnTo>
                      <a:pt x="186" y="148"/>
                    </a:lnTo>
                    <a:lnTo>
                      <a:pt x="186" y="146"/>
                    </a:lnTo>
                    <a:lnTo>
                      <a:pt x="186" y="148"/>
                    </a:lnTo>
                    <a:lnTo>
                      <a:pt x="187" y="148"/>
                    </a:lnTo>
                    <a:lnTo>
                      <a:pt x="189" y="150"/>
                    </a:lnTo>
                    <a:lnTo>
                      <a:pt x="189" y="151"/>
                    </a:lnTo>
                    <a:lnTo>
                      <a:pt x="191" y="155"/>
                    </a:lnTo>
                    <a:lnTo>
                      <a:pt x="194" y="155"/>
                    </a:lnTo>
                    <a:lnTo>
                      <a:pt x="196" y="156"/>
                    </a:lnTo>
                    <a:lnTo>
                      <a:pt x="197" y="155"/>
                    </a:lnTo>
                    <a:lnTo>
                      <a:pt x="199" y="155"/>
                    </a:lnTo>
                    <a:lnTo>
                      <a:pt x="199" y="151"/>
                    </a:lnTo>
                    <a:lnTo>
                      <a:pt x="201" y="151"/>
                    </a:lnTo>
                    <a:lnTo>
                      <a:pt x="199" y="153"/>
                    </a:lnTo>
                    <a:lnTo>
                      <a:pt x="201" y="155"/>
                    </a:lnTo>
                    <a:lnTo>
                      <a:pt x="203" y="153"/>
                    </a:lnTo>
                    <a:lnTo>
                      <a:pt x="201" y="153"/>
                    </a:lnTo>
                    <a:lnTo>
                      <a:pt x="203" y="151"/>
                    </a:lnTo>
                    <a:lnTo>
                      <a:pt x="204" y="151"/>
                    </a:lnTo>
                    <a:lnTo>
                      <a:pt x="204" y="153"/>
                    </a:lnTo>
                    <a:lnTo>
                      <a:pt x="203" y="153"/>
                    </a:lnTo>
                    <a:lnTo>
                      <a:pt x="206" y="153"/>
                    </a:lnTo>
                    <a:lnTo>
                      <a:pt x="208" y="153"/>
                    </a:lnTo>
                    <a:lnTo>
                      <a:pt x="208" y="150"/>
                    </a:lnTo>
                    <a:lnTo>
                      <a:pt x="209" y="151"/>
                    </a:lnTo>
                    <a:lnTo>
                      <a:pt x="209" y="153"/>
                    </a:lnTo>
                    <a:lnTo>
                      <a:pt x="209" y="155"/>
                    </a:lnTo>
                    <a:lnTo>
                      <a:pt x="213" y="153"/>
                    </a:lnTo>
                    <a:lnTo>
                      <a:pt x="213" y="155"/>
                    </a:lnTo>
                    <a:lnTo>
                      <a:pt x="211" y="156"/>
                    </a:lnTo>
                    <a:lnTo>
                      <a:pt x="214" y="156"/>
                    </a:lnTo>
                    <a:lnTo>
                      <a:pt x="216" y="156"/>
                    </a:lnTo>
                    <a:lnTo>
                      <a:pt x="216" y="158"/>
                    </a:lnTo>
                    <a:lnTo>
                      <a:pt x="216" y="156"/>
                    </a:lnTo>
                    <a:lnTo>
                      <a:pt x="214" y="158"/>
                    </a:lnTo>
                    <a:lnTo>
                      <a:pt x="216" y="158"/>
                    </a:lnTo>
                    <a:lnTo>
                      <a:pt x="218" y="158"/>
                    </a:lnTo>
                    <a:lnTo>
                      <a:pt x="216" y="158"/>
                    </a:lnTo>
                    <a:lnTo>
                      <a:pt x="218" y="160"/>
                    </a:lnTo>
                    <a:lnTo>
                      <a:pt x="218" y="162"/>
                    </a:lnTo>
                    <a:lnTo>
                      <a:pt x="220" y="162"/>
                    </a:lnTo>
                    <a:lnTo>
                      <a:pt x="218" y="163"/>
                    </a:lnTo>
                    <a:lnTo>
                      <a:pt x="218" y="165"/>
                    </a:lnTo>
                    <a:lnTo>
                      <a:pt x="220" y="165"/>
                    </a:lnTo>
                    <a:lnTo>
                      <a:pt x="221" y="165"/>
                    </a:lnTo>
                    <a:lnTo>
                      <a:pt x="220" y="165"/>
                    </a:lnTo>
                    <a:lnTo>
                      <a:pt x="220" y="167"/>
                    </a:lnTo>
                    <a:lnTo>
                      <a:pt x="221" y="165"/>
                    </a:lnTo>
                    <a:lnTo>
                      <a:pt x="221" y="167"/>
                    </a:lnTo>
                    <a:lnTo>
                      <a:pt x="223" y="165"/>
                    </a:lnTo>
                    <a:lnTo>
                      <a:pt x="226" y="165"/>
                    </a:lnTo>
                    <a:lnTo>
                      <a:pt x="228" y="167"/>
                    </a:lnTo>
                    <a:lnTo>
                      <a:pt x="230" y="167"/>
                    </a:lnTo>
                    <a:lnTo>
                      <a:pt x="230" y="168"/>
                    </a:lnTo>
                    <a:lnTo>
                      <a:pt x="233" y="168"/>
                    </a:lnTo>
                    <a:lnTo>
                      <a:pt x="240" y="170"/>
                    </a:lnTo>
                    <a:lnTo>
                      <a:pt x="242" y="173"/>
                    </a:lnTo>
                    <a:lnTo>
                      <a:pt x="247" y="177"/>
                    </a:lnTo>
                    <a:lnTo>
                      <a:pt x="248" y="182"/>
                    </a:lnTo>
                    <a:lnTo>
                      <a:pt x="252" y="184"/>
                    </a:lnTo>
                    <a:lnTo>
                      <a:pt x="252" y="187"/>
                    </a:lnTo>
                    <a:lnTo>
                      <a:pt x="257" y="190"/>
                    </a:lnTo>
                    <a:lnTo>
                      <a:pt x="259" y="196"/>
                    </a:lnTo>
                    <a:lnTo>
                      <a:pt x="264" y="201"/>
                    </a:lnTo>
                    <a:lnTo>
                      <a:pt x="265" y="206"/>
                    </a:lnTo>
                    <a:lnTo>
                      <a:pt x="267" y="206"/>
                    </a:lnTo>
                    <a:lnTo>
                      <a:pt x="269" y="206"/>
                    </a:lnTo>
                    <a:lnTo>
                      <a:pt x="272" y="206"/>
                    </a:lnTo>
                    <a:lnTo>
                      <a:pt x="274" y="209"/>
                    </a:lnTo>
                    <a:lnTo>
                      <a:pt x="277" y="209"/>
                    </a:lnTo>
                    <a:lnTo>
                      <a:pt x="279" y="209"/>
                    </a:lnTo>
                    <a:lnTo>
                      <a:pt x="281" y="209"/>
                    </a:lnTo>
                    <a:lnTo>
                      <a:pt x="281" y="211"/>
                    </a:lnTo>
                    <a:lnTo>
                      <a:pt x="282" y="211"/>
                    </a:lnTo>
                    <a:lnTo>
                      <a:pt x="282" y="214"/>
                    </a:lnTo>
                    <a:lnTo>
                      <a:pt x="284" y="214"/>
                    </a:lnTo>
                    <a:lnTo>
                      <a:pt x="284" y="216"/>
                    </a:lnTo>
                    <a:lnTo>
                      <a:pt x="286" y="216"/>
                    </a:lnTo>
                    <a:lnTo>
                      <a:pt x="288" y="221"/>
                    </a:lnTo>
                    <a:lnTo>
                      <a:pt x="289" y="219"/>
                    </a:lnTo>
                    <a:lnTo>
                      <a:pt x="289" y="221"/>
                    </a:lnTo>
                    <a:lnTo>
                      <a:pt x="293" y="224"/>
                    </a:lnTo>
                    <a:lnTo>
                      <a:pt x="294" y="224"/>
                    </a:lnTo>
                    <a:lnTo>
                      <a:pt x="293" y="223"/>
                    </a:lnTo>
                    <a:lnTo>
                      <a:pt x="293" y="221"/>
                    </a:lnTo>
                    <a:lnTo>
                      <a:pt x="291" y="221"/>
                    </a:lnTo>
                    <a:lnTo>
                      <a:pt x="293" y="221"/>
                    </a:lnTo>
                    <a:lnTo>
                      <a:pt x="289" y="219"/>
                    </a:lnTo>
                    <a:lnTo>
                      <a:pt x="291" y="219"/>
                    </a:lnTo>
                    <a:lnTo>
                      <a:pt x="293" y="219"/>
                    </a:lnTo>
                    <a:lnTo>
                      <a:pt x="294" y="221"/>
                    </a:lnTo>
                    <a:lnTo>
                      <a:pt x="296" y="224"/>
                    </a:lnTo>
                    <a:lnTo>
                      <a:pt x="298" y="228"/>
                    </a:lnTo>
                    <a:lnTo>
                      <a:pt x="299" y="231"/>
                    </a:lnTo>
                    <a:lnTo>
                      <a:pt x="301" y="241"/>
                    </a:lnTo>
                    <a:lnTo>
                      <a:pt x="306" y="243"/>
                    </a:lnTo>
                    <a:lnTo>
                      <a:pt x="308" y="243"/>
                    </a:lnTo>
                    <a:lnTo>
                      <a:pt x="308" y="241"/>
                    </a:lnTo>
                    <a:lnTo>
                      <a:pt x="310" y="241"/>
                    </a:lnTo>
                    <a:lnTo>
                      <a:pt x="310" y="243"/>
                    </a:lnTo>
                    <a:lnTo>
                      <a:pt x="311" y="245"/>
                    </a:lnTo>
                    <a:lnTo>
                      <a:pt x="313" y="247"/>
                    </a:lnTo>
                    <a:lnTo>
                      <a:pt x="316" y="250"/>
                    </a:lnTo>
                    <a:lnTo>
                      <a:pt x="320" y="252"/>
                    </a:lnTo>
                    <a:lnTo>
                      <a:pt x="320" y="253"/>
                    </a:lnTo>
                    <a:lnTo>
                      <a:pt x="318" y="255"/>
                    </a:lnTo>
                    <a:lnTo>
                      <a:pt x="320" y="257"/>
                    </a:lnTo>
                    <a:lnTo>
                      <a:pt x="320" y="258"/>
                    </a:lnTo>
                    <a:lnTo>
                      <a:pt x="322" y="260"/>
                    </a:lnTo>
                    <a:lnTo>
                      <a:pt x="325" y="260"/>
                    </a:lnTo>
                    <a:lnTo>
                      <a:pt x="327" y="262"/>
                    </a:lnTo>
                    <a:lnTo>
                      <a:pt x="328" y="262"/>
                    </a:lnTo>
                    <a:lnTo>
                      <a:pt x="328" y="264"/>
                    </a:lnTo>
                    <a:lnTo>
                      <a:pt x="332" y="262"/>
                    </a:lnTo>
                    <a:lnTo>
                      <a:pt x="332" y="260"/>
                    </a:lnTo>
                    <a:lnTo>
                      <a:pt x="332" y="258"/>
                    </a:lnTo>
                    <a:lnTo>
                      <a:pt x="330" y="257"/>
                    </a:lnTo>
                    <a:lnTo>
                      <a:pt x="332" y="255"/>
                    </a:lnTo>
                    <a:lnTo>
                      <a:pt x="330" y="255"/>
                    </a:lnTo>
                    <a:lnTo>
                      <a:pt x="332" y="255"/>
                    </a:lnTo>
                    <a:lnTo>
                      <a:pt x="333" y="258"/>
                    </a:lnTo>
                    <a:lnTo>
                      <a:pt x="337" y="260"/>
                    </a:lnTo>
                    <a:lnTo>
                      <a:pt x="337" y="265"/>
                    </a:lnTo>
                    <a:lnTo>
                      <a:pt x="339" y="267"/>
                    </a:lnTo>
                    <a:close/>
                    <a:moveTo>
                      <a:pt x="182" y="107"/>
                    </a:moveTo>
                    <a:lnTo>
                      <a:pt x="184" y="109"/>
                    </a:lnTo>
                    <a:lnTo>
                      <a:pt x="186" y="110"/>
                    </a:lnTo>
                    <a:lnTo>
                      <a:pt x="186" y="112"/>
                    </a:lnTo>
                    <a:lnTo>
                      <a:pt x="187" y="112"/>
                    </a:lnTo>
                    <a:lnTo>
                      <a:pt x="186" y="110"/>
                    </a:lnTo>
                    <a:lnTo>
                      <a:pt x="187" y="110"/>
                    </a:lnTo>
                    <a:lnTo>
                      <a:pt x="187" y="116"/>
                    </a:lnTo>
                    <a:lnTo>
                      <a:pt x="189" y="119"/>
                    </a:lnTo>
                    <a:lnTo>
                      <a:pt x="192" y="121"/>
                    </a:lnTo>
                    <a:lnTo>
                      <a:pt x="194" y="119"/>
                    </a:lnTo>
                    <a:lnTo>
                      <a:pt x="196" y="119"/>
                    </a:lnTo>
                    <a:lnTo>
                      <a:pt x="191" y="117"/>
                    </a:lnTo>
                    <a:lnTo>
                      <a:pt x="192" y="117"/>
                    </a:lnTo>
                    <a:lnTo>
                      <a:pt x="194" y="116"/>
                    </a:lnTo>
                    <a:lnTo>
                      <a:pt x="196" y="116"/>
                    </a:lnTo>
                    <a:lnTo>
                      <a:pt x="197" y="119"/>
                    </a:lnTo>
                    <a:lnTo>
                      <a:pt x="199" y="119"/>
                    </a:lnTo>
                    <a:lnTo>
                      <a:pt x="199" y="121"/>
                    </a:lnTo>
                    <a:lnTo>
                      <a:pt x="201" y="119"/>
                    </a:lnTo>
                    <a:lnTo>
                      <a:pt x="203" y="122"/>
                    </a:lnTo>
                    <a:lnTo>
                      <a:pt x="199" y="122"/>
                    </a:lnTo>
                    <a:lnTo>
                      <a:pt x="196" y="122"/>
                    </a:lnTo>
                    <a:lnTo>
                      <a:pt x="192" y="122"/>
                    </a:lnTo>
                    <a:lnTo>
                      <a:pt x="189" y="122"/>
                    </a:lnTo>
                    <a:lnTo>
                      <a:pt x="187" y="121"/>
                    </a:lnTo>
                    <a:lnTo>
                      <a:pt x="186" y="122"/>
                    </a:lnTo>
                    <a:lnTo>
                      <a:pt x="184" y="122"/>
                    </a:lnTo>
                    <a:lnTo>
                      <a:pt x="182" y="121"/>
                    </a:lnTo>
                    <a:lnTo>
                      <a:pt x="179" y="121"/>
                    </a:lnTo>
                    <a:lnTo>
                      <a:pt x="179" y="119"/>
                    </a:lnTo>
                    <a:lnTo>
                      <a:pt x="177" y="116"/>
                    </a:lnTo>
                    <a:lnTo>
                      <a:pt x="179" y="117"/>
                    </a:lnTo>
                    <a:lnTo>
                      <a:pt x="180" y="119"/>
                    </a:lnTo>
                    <a:lnTo>
                      <a:pt x="180" y="117"/>
                    </a:lnTo>
                    <a:lnTo>
                      <a:pt x="180" y="119"/>
                    </a:lnTo>
                    <a:lnTo>
                      <a:pt x="182" y="119"/>
                    </a:lnTo>
                    <a:lnTo>
                      <a:pt x="184" y="119"/>
                    </a:lnTo>
                    <a:lnTo>
                      <a:pt x="184" y="117"/>
                    </a:lnTo>
                    <a:lnTo>
                      <a:pt x="180" y="114"/>
                    </a:lnTo>
                    <a:lnTo>
                      <a:pt x="179" y="114"/>
                    </a:lnTo>
                    <a:lnTo>
                      <a:pt x="179" y="116"/>
                    </a:lnTo>
                    <a:lnTo>
                      <a:pt x="177" y="114"/>
                    </a:lnTo>
                    <a:lnTo>
                      <a:pt x="177" y="112"/>
                    </a:lnTo>
                    <a:lnTo>
                      <a:pt x="180" y="112"/>
                    </a:lnTo>
                    <a:lnTo>
                      <a:pt x="180" y="110"/>
                    </a:lnTo>
                    <a:lnTo>
                      <a:pt x="180" y="109"/>
                    </a:lnTo>
                    <a:lnTo>
                      <a:pt x="182" y="110"/>
                    </a:lnTo>
                    <a:lnTo>
                      <a:pt x="182" y="109"/>
                    </a:lnTo>
                    <a:lnTo>
                      <a:pt x="180" y="109"/>
                    </a:lnTo>
                    <a:lnTo>
                      <a:pt x="180" y="107"/>
                    </a:lnTo>
                    <a:lnTo>
                      <a:pt x="179" y="107"/>
                    </a:lnTo>
                    <a:lnTo>
                      <a:pt x="182" y="107"/>
                    </a:lnTo>
                    <a:close/>
                    <a:moveTo>
                      <a:pt x="184" y="97"/>
                    </a:moveTo>
                    <a:lnTo>
                      <a:pt x="187" y="97"/>
                    </a:lnTo>
                    <a:lnTo>
                      <a:pt x="187" y="99"/>
                    </a:lnTo>
                    <a:lnTo>
                      <a:pt x="186" y="99"/>
                    </a:lnTo>
                    <a:lnTo>
                      <a:pt x="184" y="99"/>
                    </a:lnTo>
                    <a:lnTo>
                      <a:pt x="184" y="100"/>
                    </a:lnTo>
                    <a:lnTo>
                      <a:pt x="187" y="102"/>
                    </a:lnTo>
                    <a:lnTo>
                      <a:pt x="184" y="102"/>
                    </a:lnTo>
                    <a:lnTo>
                      <a:pt x="182" y="100"/>
                    </a:lnTo>
                    <a:lnTo>
                      <a:pt x="180" y="100"/>
                    </a:lnTo>
                    <a:lnTo>
                      <a:pt x="180" y="99"/>
                    </a:lnTo>
                    <a:lnTo>
                      <a:pt x="182" y="99"/>
                    </a:lnTo>
                    <a:lnTo>
                      <a:pt x="182" y="95"/>
                    </a:lnTo>
                    <a:lnTo>
                      <a:pt x="184" y="97"/>
                    </a:lnTo>
                    <a:close/>
                    <a:moveTo>
                      <a:pt x="197" y="148"/>
                    </a:moveTo>
                    <a:lnTo>
                      <a:pt x="197" y="151"/>
                    </a:lnTo>
                    <a:lnTo>
                      <a:pt x="196" y="153"/>
                    </a:lnTo>
                    <a:lnTo>
                      <a:pt x="194" y="153"/>
                    </a:lnTo>
                    <a:lnTo>
                      <a:pt x="194" y="151"/>
                    </a:lnTo>
                    <a:lnTo>
                      <a:pt x="196" y="148"/>
                    </a:lnTo>
                    <a:lnTo>
                      <a:pt x="197" y="148"/>
                    </a:lnTo>
                    <a:close/>
                    <a:moveTo>
                      <a:pt x="194" y="143"/>
                    </a:moveTo>
                    <a:lnTo>
                      <a:pt x="194" y="145"/>
                    </a:lnTo>
                    <a:lnTo>
                      <a:pt x="194" y="146"/>
                    </a:lnTo>
                    <a:lnTo>
                      <a:pt x="192" y="145"/>
                    </a:lnTo>
                    <a:lnTo>
                      <a:pt x="192" y="143"/>
                    </a:lnTo>
                    <a:lnTo>
                      <a:pt x="196" y="141"/>
                    </a:lnTo>
                    <a:lnTo>
                      <a:pt x="194" y="143"/>
                    </a:lnTo>
                    <a:close/>
                    <a:moveTo>
                      <a:pt x="189" y="93"/>
                    </a:moveTo>
                    <a:lnTo>
                      <a:pt x="189" y="95"/>
                    </a:lnTo>
                    <a:lnTo>
                      <a:pt x="187" y="97"/>
                    </a:lnTo>
                    <a:lnTo>
                      <a:pt x="187" y="95"/>
                    </a:lnTo>
                    <a:lnTo>
                      <a:pt x="189" y="93"/>
                    </a:lnTo>
                    <a:lnTo>
                      <a:pt x="189" y="92"/>
                    </a:lnTo>
                    <a:lnTo>
                      <a:pt x="191" y="93"/>
                    </a:lnTo>
                    <a:lnTo>
                      <a:pt x="189" y="93"/>
                    </a:lnTo>
                    <a:close/>
                    <a:moveTo>
                      <a:pt x="191" y="114"/>
                    </a:moveTo>
                    <a:lnTo>
                      <a:pt x="191" y="117"/>
                    </a:lnTo>
                    <a:lnTo>
                      <a:pt x="189" y="117"/>
                    </a:lnTo>
                    <a:lnTo>
                      <a:pt x="191" y="116"/>
                    </a:lnTo>
                    <a:lnTo>
                      <a:pt x="189" y="114"/>
                    </a:lnTo>
                    <a:lnTo>
                      <a:pt x="191" y="114"/>
                    </a:lnTo>
                    <a:close/>
                    <a:moveTo>
                      <a:pt x="330" y="257"/>
                    </a:moveTo>
                    <a:lnTo>
                      <a:pt x="330" y="260"/>
                    </a:lnTo>
                    <a:lnTo>
                      <a:pt x="328" y="258"/>
                    </a:lnTo>
                    <a:lnTo>
                      <a:pt x="328" y="257"/>
                    </a:lnTo>
                    <a:lnTo>
                      <a:pt x="327" y="255"/>
                    </a:lnTo>
                    <a:lnTo>
                      <a:pt x="328" y="255"/>
                    </a:lnTo>
                    <a:lnTo>
                      <a:pt x="330" y="257"/>
                    </a:lnTo>
                    <a:close/>
                    <a:moveTo>
                      <a:pt x="189" y="73"/>
                    </a:moveTo>
                    <a:lnTo>
                      <a:pt x="191" y="75"/>
                    </a:lnTo>
                    <a:lnTo>
                      <a:pt x="187" y="75"/>
                    </a:lnTo>
                    <a:lnTo>
                      <a:pt x="187" y="76"/>
                    </a:lnTo>
                    <a:lnTo>
                      <a:pt x="187" y="75"/>
                    </a:lnTo>
                    <a:lnTo>
                      <a:pt x="189" y="73"/>
                    </a:lnTo>
                    <a:close/>
                    <a:moveTo>
                      <a:pt x="175" y="83"/>
                    </a:moveTo>
                    <a:lnTo>
                      <a:pt x="177" y="85"/>
                    </a:lnTo>
                    <a:lnTo>
                      <a:pt x="175" y="85"/>
                    </a:lnTo>
                    <a:lnTo>
                      <a:pt x="175" y="87"/>
                    </a:lnTo>
                    <a:lnTo>
                      <a:pt x="175" y="85"/>
                    </a:lnTo>
                    <a:lnTo>
                      <a:pt x="174" y="83"/>
                    </a:lnTo>
                    <a:lnTo>
                      <a:pt x="175" y="83"/>
                    </a:lnTo>
                    <a:close/>
                    <a:moveTo>
                      <a:pt x="153" y="93"/>
                    </a:moveTo>
                    <a:lnTo>
                      <a:pt x="155" y="97"/>
                    </a:lnTo>
                    <a:lnTo>
                      <a:pt x="155" y="99"/>
                    </a:lnTo>
                    <a:lnTo>
                      <a:pt x="153" y="99"/>
                    </a:lnTo>
                    <a:lnTo>
                      <a:pt x="153" y="95"/>
                    </a:lnTo>
                    <a:lnTo>
                      <a:pt x="152" y="93"/>
                    </a:lnTo>
                    <a:lnTo>
                      <a:pt x="153" y="93"/>
                    </a:lnTo>
                    <a:close/>
                    <a:moveTo>
                      <a:pt x="187" y="97"/>
                    </a:moveTo>
                    <a:lnTo>
                      <a:pt x="191" y="97"/>
                    </a:lnTo>
                    <a:lnTo>
                      <a:pt x="191" y="100"/>
                    </a:lnTo>
                    <a:lnTo>
                      <a:pt x="187" y="100"/>
                    </a:lnTo>
                    <a:lnTo>
                      <a:pt x="187" y="97"/>
                    </a:lnTo>
                    <a:close/>
                    <a:moveTo>
                      <a:pt x="192" y="139"/>
                    </a:moveTo>
                    <a:lnTo>
                      <a:pt x="194" y="139"/>
                    </a:lnTo>
                    <a:lnTo>
                      <a:pt x="194" y="141"/>
                    </a:lnTo>
                    <a:lnTo>
                      <a:pt x="192" y="141"/>
                    </a:lnTo>
                    <a:lnTo>
                      <a:pt x="192" y="139"/>
                    </a:lnTo>
                    <a:close/>
                    <a:moveTo>
                      <a:pt x="220" y="124"/>
                    </a:moveTo>
                    <a:lnTo>
                      <a:pt x="223" y="124"/>
                    </a:lnTo>
                    <a:lnTo>
                      <a:pt x="223" y="128"/>
                    </a:lnTo>
                    <a:lnTo>
                      <a:pt x="220" y="128"/>
                    </a:lnTo>
                    <a:lnTo>
                      <a:pt x="220" y="124"/>
                    </a:lnTo>
                    <a:close/>
                    <a:moveTo>
                      <a:pt x="160" y="104"/>
                    </a:moveTo>
                    <a:lnTo>
                      <a:pt x="163" y="104"/>
                    </a:lnTo>
                    <a:lnTo>
                      <a:pt x="163" y="105"/>
                    </a:lnTo>
                    <a:lnTo>
                      <a:pt x="160" y="105"/>
                    </a:lnTo>
                    <a:lnTo>
                      <a:pt x="160" y="104"/>
                    </a:lnTo>
                    <a:close/>
                    <a:moveTo>
                      <a:pt x="191" y="87"/>
                    </a:moveTo>
                    <a:lnTo>
                      <a:pt x="192" y="87"/>
                    </a:lnTo>
                    <a:lnTo>
                      <a:pt x="192" y="88"/>
                    </a:lnTo>
                    <a:lnTo>
                      <a:pt x="191" y="88"/>
                    </a:lnTo>
                    <a:lnTo>
                      <a:pt x="191" y="87"/>
                    </a:lnTo>
                    <a:close/>
                    <a:moveTo>
                      <a:pt x="325" y="250"/>
                    </a:moveTo>
                    <a:lnTo>
                      <a:pt x="327" y="250"/>
                    </a:lnTo>
                    <a:lnTo>
                      <a:pt x="327" y="252"/>
                    </a:lnTo>
                    <a:lnTo>
                      <a:pt x="325" y="252"/>
                    </a:lnTo>
                    <a:lnTo>
                      <a:pt x="325" y="250"/>
                    </a:lnTo>
                    <a:close/>
                    <a:moveTo>
                      <a:pt x="182" y="102"/>
                    </a:moveTo>
                    <a:lnTo>
                      <a:pt x="184" y="102"/>
                    </a:lnTo>
                    <a:lnTo>
                      <a:pt x="184" y="104"/>
                    </a:lnTo>
                    <a:lnTo>
                      <a:pt x="182" y="104"/>
                    </a:lnTo>
                    <a:lnTo>
                      <a:pt x="182" y="102"/>
                    </a:lnTo>
                    <a:close/>
                    <a:moveTo>
                      <a:pt x="323" y="253"/>
                    </a:moveTo>
                    <a:lnTo>
                      <a:pt x="325" y="253"/>
                    </a:lnTo>
                    <a:lnTo>
                      <a:pt x="325" y="255"/>
                    </a:lnTo>
                    <a:lnTo>
                      <a:pt x="323" y="255"/>
                    </a:lnTo>
                    <a:lnTo>
                      <a:pt x="323" y="253"/>
                    </a:lnTo>
                    <a:close/>
                    <a:moveTo>
                      <a:pt x="186" y="107"/>
                    </a:moveTo>
                    <a:lnTo>
                      <a:pt x="187" y="107"/>
                    </a:lnTo>
                    <a:lnTo>
                      <a:pt x="187" y="109"/>
                    </a:lnTo>
                    <a:lnTo>
                      <a:pt x="186" y="109"/>
                    </a:lnTo>
                    <a:lnTo>
                      <a:pt x="186" y="107"/>
                    </a:lnTo>
                    <a:close/>
                    <a:moveTo>
                      <a:pt x="169" y="129"/>
                    </a:moveTo>
                    <a:lnTo>
                      <a:pt x="167" y="128"/>
                    </a:lnTo>
                    <a:lnTo>
                      <a:pt x="167" y="126"/>
                    </a:lnTo>
                    <a:lnTo>
                      <a:pt x="169" y="129"/>
                    </a:lnTo>
                    <a:close/>
                    <a:moveTo>
                      <a:pt x="196" y="145"/>
                    </a:moveTo>
                    <a:lnTo>
                      <a:pt x="197" y="145"/>
                    </a:lnTo>
                    <a:lnTo>
                      <a:pt x="197" y="146"/>
                    </a:lnTo>
                    <a:lnTo>
                      <a:pt x="196" y="146"/>
                    </a:lnTo>
                    <a:lnTo>
                      <a:pt x="196" y="145"/>
                    </a:lnTo>
                    <a:close/>
                    <a:moveTo>
                      <a:pt x="197" y="126"/>
                    </a:moveTo>
                    <a:lnTo>
                      <a:pt x="201" y="126"/>
                    </a:lnTo>
                    <a:lnTo>
                      <a:pt x="201" y="128"/>
                    </a:lnTo>
                    <a:lnTo>
                      <a:pt x="197" y="128"/>
                    </a:lnTo>
                    <a:lnTo>
                      <a:pt x="197" y="126"/>
                    </a:lnTo>
                    <a:close/>
                    <a:moveTo>
                      <a:pt x="220" y="122"/>
                    </a:moveTo>
                    <a:lnTo>
                      <a:pt x="221" y="122"/>
                    </a:lnTo>
                    <a:lnTo>
                      <a:pt x="220" y="122"/>
                    </a:lnTo>
                    <a:close/>
                    <a:moveTo>
                      <a:pt x="177" y="114"/>
                    </a:moveTo>
                    <a:lnTo>
                      <a:pt x="179" y="114"/>
                    </a:lnTo>
                    <a:lnTo>
                      <a:pt x="179" y="116"/>
                    </a:lnTo>
                    <a:lnTo>
                      <a:pt x="177" y="116"/>
                    </a:lnTo>
                    <a:lnTo>
                      <a:pt x="177" y="114"/>
                    </a:lnTo>
                    <a:close/>
                    <a:moveTo>
                      <a:pt x="209" y="105"/>
                    </a:moveTo>
                    <a:lnTo>
                      <a:pt x="211" y="105"/>
                    </a:lnTo>
                    <a:lnTo>
                      <a:pt x="211" y="107"/>
                    </a:lnTo>
                    <a:lnTo>
                      <a:pt x="209" y="107"/>
                    </a:lnTo>
                    <a:lnTo>
                      <a:pt x="209" y="105"/>
                    </a:lnTo>
                    <a:close/>
                    <a:moveTo>
                      <a:pt x="179" y="124"/>
                    </a:moveTo>
                    <a:lnTo>
                      <a:pt x="180" y="124"/>
                    </a:lnTo>
                    <a:lnTo>
                      <a:pt x="179" y="124"/>
                    </a:lnTo>
                    <a:close/>
                    <a:moveTo>
                      <a:pt x="218" y="126"/>
                    </a:moveTo>
                    <a:lnTo>
                      <a:pt x="220" y="126"/>
                    </a:lnTo>
                    <a:lnTo>
                      <a:pt x="220" y="128"/>
                    </a:lnTo>
                    <a:lnTo>
                      <a:pt x="218" y="128"/>
                    </a:lnTo>
                    <a:lnTo>
                      <a:pt x="218" y="126"/>
                    </a:lnTo>
                    <a:close/>
                    <a:moveTo>
                      <a:pt x="184" y="90"/>
                    </a:moveTo>
                    <a:lnTo>
                      <a:pt x="184" y="92"/>
                    </a:lnTo>
                    <a:lnTo>
                      <a:pt x="184" y="90"/>
                    </a:lnTo>
                    <a:close/>
                    <a:moveTo>
                      <a:pt x="204" y="148"/>
                    </a:moveTo>
                    <a:lnTo>
                      <a:pt x="206" y="148"/>
                    </a:lnTo>
                    <a:lnTo>
                      <a:pt x="204" y="148"/>
                    </a:lnTo>
                    <a:close/>
                    <a:moveTo>
                      <a:pt x="194" y="100"/>
                    </a:moveTo>
                    <a:lnTo>
                      <a:pt x="196" y="100"/>
                    </a:lnTo>
                    <a:lnTo>
                      <a:pt x="196" y="102"/>
                    </a:lnTo>
                    <a:lnTo>
                      <a:pt x="194" y="102"/>
                    </a:lnTo>
                    <a:lnTo>
                      <a:pt x="194" y="100"/>
                    </a:lnTo>
                    <a:close/>
                    <a:moveTo>
                      <a:pt x="328" y="260"/>
                    </a:moveTo>
                    <a:lnTo>
                      <a:pt x="330" y="260"/>
                    </a:lnTo>
                    <a:lnTo>
                      <a:pt x="330" y="262"/>
                    </a:lnTo>
                    <a:lnTo>
                      <a:pt x="328" y="262"/>
                    </a:lnTo>
                    <a:lnTo>
                      <a:pt x="328" y="260"/>
                    </a:lnTo>
                    <a:close/>
                    <a:moveTo>
                      <a:pt x="201" y="150"/>
                    </a:moveTo>
                    <a:lnTo>
                      <a:pt x="203" y="150"/>
                    </a:lnTo>
                    <a:lnTo>
                      <a:pt x="201" y="150"/>
                    </a:lnTo>
                    <a:close/>
                    <a:moveTo>
                      <a:pt x="218" y="114"/>
                    </a:moveTo>
                    <a:lnTo>
                      <a:pt x="220" y="114"/>
                    </a:lnTo>
                    <a:lnTo>
                      <a:pt x="218" y="114"/>
                    </a:lnTo>
                    <a:close/>
                    <a:moveTo>
                      <a:pt x="218" y="158"/>
                    </a:moveTo>
                    <a:lnTo>
                      <a:pt x="220" y="158"/>
                    </a:lnTo>
                    <a:lnTo>
                      <a:pt x="220" y="160"/>
                    </a:lnTo>
                    <a:lnTo>
                      <a:pt x="218" y="160"/>
                    </a:lnTo>
                    <a:lnTo>
                      <a:pt x="218" y="158"/>
                    </a:lnTo>
                    <a:close/>
                    <a:moveTo>
                      <a:pt x="187" y="102"/>
                    </a:moveTo>
                    <a:lnTo>
                      <a:pt x="189" y="102"/>
                    </a:lnTo>
                    <a:lnTo>
                      <a:pt x="189" y="104"/>
                    </a:lnTo>
                    <a:lnTo>
                      <a:pt x="187" y="104"/>
                    </a:lnTo>
                    <a:lnTo>
                      <a:pt x="187" y="102"/>
                    </a:lnTo>
                    <a:close/>
                    <a:moveTo>
                      <a:pt x="157" y="83"/>
                    </a:moveTo>
                    <a:lnTo>
                      <a:pt x="160" y="83"/>
                    </a:lnTo>
                    <a:lnTo>
                      <a:pt x="157" y="83"/>
                    </a:lnTo>
                    <a:close/>
                    <a:moveTo>
                      <a:pt x="194" y="110"/>
                    </a:moveTo>
                    <a:lnTo>
                      <a:pt x="196" y="110"/>
                    </a:lnTo>
                    <a:lnTo>
                      <a:pt x="194" y="110"/>
                    </a:lnTo>
                    <a:close/>
                    <a:moveTo>
                      <a:pt x="223" y="126"/>
                    </a:moveTo>
                    <a:lnTo>
                      <a:pt x="225" y="126"/>
                    </a:lnTo>
                    <a:lnTo>
                      <a:pt x="225" y="128"/>
                    </a:lnTo>
                    <a:lnTo>
                      <a:pt x="223" y="128"/>
                    </a:lnTo>
                    <a:lnTo>
                      <a:pt x="223" y="126"/>
                    </a:lnTo>
                    <a:close/>
                    <a:moveTo>
                      <a:pt x="322" y="258"/>
                    </a:moveTo>
                    <a:lnTo>
                      <a:pt x="323" y="258"/>
                    </a:lnTo>
                    <a:lnTo>
                      <a:pt x="323" y="260"/>
                    </a:lnTo>
                    <a:lnTo>
                      <a:pt x="322" y="260"/>
                    </a:lnTo>
                    <a:lnTo>
                      <a:pt x="322" y="258"/>
                    </a:lnTo>
                    <a:close/>
                    <a:moveTo>
                      <a:pt x="206" y="107"/>
                    </a:moveTo>
                    <a:lnTo>
                      <a:pt x="206" y="109"/>
                    </a:lnTo>
                    <a:lnTo>
                      <a:pt x="206" y="107"/>
                    </a:lnTo>
                    <a:close/>
                    <a:moveTo>
                      <a:pt x="180" y="90"/>
                    </a:moveTo>
                    <a:lnTo>
                      <a:pt x="182" y="90"/>
                    </a:lnTo>
                    <a:lnTo>
                      <a:pt x="180" y="90"/>
                    </a:lnTo>
                    <a:close/>
                    <a:moveTo>
                      <a:pt x="175" y="126"/>
                    </a:moveTo>
                    <a:lnTo>
                      <a:pt x="175" y="128"/>
                    </a:lnTo>
                    <a:lnTo>
                      <a:pt x="175" y="126"/>
                    </a:lnTo>
                    <a:close/>
                    <a:moveTo>
                      <a:pt x="214" y="110"/>
                    </a:moveTo>
                    <a:lnTo>
                      <a:pt x="216" y="110"/>
                    </a:lnTo>
                    <a:lnTo>
                      <a:pt x="216" y="112"/>
                    </a:lnTo>
                    <a:lnTo>
                      <a:pt x="214" y="112"/>
                    </a:lnTo>
                    <a:lnTo>
                      <a:pt x="214" y="110"/>
                    </a:lnTo>
                    <a:close/>
                    <a:moveTo>
                      <a:pt x="189" y="105"/>
                    </a:moveTo>
                    <a:lnTo>
                      <a:pt x="191" y="105"/>
                    </a:lnTo>
                    <a:lnTo>
                      <a:pt x="189" y="105"/>
                    </a:lnTo>
                    <a:close/>
                    <a:moveTo>
                      <a:pt x="220" y="119"/>
                    </a:moveTo>
                    <a:lnTo>
                      <a:pt x="221" y="119"/>
                    </a:lnTo>
                    <a:lnTo>
                      <a:pt x="220" y="119"/>
                    </a:lnTo>
                    <a:close/>
                    <a:moveTo>
                      <a:pt x="327" y="258"/>
                    </a:moveTo>
                    <a:lnTo>
                      <a:pt x="327" y="260"/>
                    </a:lnTo>
                    <a:lnTo>
                      <a:pt x="327" y="258"/>
                    </a:lnTo>
                    <a:close/>
                    <a:moveTo>
                      <a:pt x="197" y="105"/>
                    </a:moveTo>
                    <a:lnTo>
                      <a:pt x="199" y="105"/>
                    </a:lnTo>
                    <a:lnTo>
                      <a:pt x="199" y="107"/>
                    </a:lnTo>
                    <a:lnTo>
                      <a:pt x="197" y="107"/>
                    </a:lnTo>
                    <a:lnTo>
                      <a:pt x="197" y="105"/>
                    </a:lnTo>
                    <a:close/>
                    <a:moveTo>
                      <a:pt x="322" y="255"/>
                    </a:moveTo>
                    <a:lnTo>
                      <a:pt x="323" y="255"/>
                    </a:lnTo>
                    <a:lnTo>
                      <a:pt x="322" y="255"/>
                    </a:lnTo>
                    <a:close/>
                    <a:moveTo>
                      <a:pt x="170" y="83"/>
                    </a:moveTo>
                    <a:lnTo>
                      <a:pt x="172" y="83"/>
                    </a:lnTo>
                    <a:lnTo>
                      <a:pt x="172" y="85"/>
                    </a:lnTo>
                    <a:lnTo>
                      <a:pt x="170" y="85"/>
                    </a:lnTo>
                    <a:lnTo>
                      <a:pt x="170" y="83"/>
                    </a:lnTo>
                    <a:close/>
                    <a:moveTo>
                      <a:pt x="160" y="102"/>
                    </a:moveTo>
                    <a:lnTo>
                      <a:pt x="160" y="104"/>
                    </a:lnTo>
                    <a:lnTo>
                      <a:pt x="160" y="102"/>
                    </a:lnTo>
                    <a:close/>
                    <a:moveTo>
                      <a:pt x="213" y="114"/>
                    </a:moveTo>
                    <a:lnTo>
                      <a:pt x="213" y="116"/>
                    </a:lnTo>
                    <a:lnTo>
                      <a:pt x="213" y="114"/>
                    </a:lnTo>
                    <a:close/>
                    <a:moveTo>
                      <a:pt x="209" y="109"/>
                    </a:moveTo>
                    <a:lnTo>
                      <a:pt x="209" y="110"/>
                    </a:lnTo>
                    <a:lnTo>
                      <a:pt x="209" y="109"/>
                    </a:lnTo>
                    <a:close/>
                    <a:moveTo>
                      <a:pt x="330" y="257"/>
                    </a:moveTo>
                    <a:lnTo>
                      <a:pt x="332" y="257"/>
                    </a:lnTo>
                    <a:lnTo>
                      <a:pt x="332" y="258"/>
                    </a:lnTo>
                    <a:lnTo>
                      <a:pt x="330" y="258"/>
                    </a:lnTo>
                    <a:lnTo>
                      <a:pt x="330" y="257"/>
                    </a:lnTo>
                    <a:close/>
                    <a:moveTo>
                      <a:pt x="194" y="146"/>
                    </a:moveTo>
                    <a:lnTo>
                      <a:pt x="194" y="148"/>
                    </a:lnTo>
                    <a:lnTo>
                      <a:pt x="194" y="146"/>
                    </a:lnTo>
                    <a:close/>
                    <a:moveTo>
                      <a:pt x="325" y="258"/>
                    </a:moveTo>
                    <a:lnTo>
                      <a:pt x="325" y="260"/>
                    </a:lnTo>
                    <a:lnTo>
                      <a:pt x="325" y="258"/>
                    </a:lnTo>
                    <a:close/>
                    <a:moveTo>
                      <a:pt x="196" y="146"/>
                    </a:moveTo>
                    <a:lnTo>
                      <a:pt x="197" y="146"/>
                    </a:lnTo>
                    <a:lnTo>
                      <a:pt x="197" y="148"/>
                    </a:lnTo>
                    <a:lnTo>
                      <a:pt x="196" y="148"/>
                    </a:lnTo>
                    <a:lnTo>
                      <a:pt x="196" y="146"/>
                    </a:lnTo>
                    <a:close/>
                    <a:moveTo>
                      <a:pt x="184" y="139"/>
                    </a:moveTo>
                    <a:lnTo>
                      <a:pt x="186" y="139"/>
                    </a:lnTo>
                    <a:lnTo>
                      <a:pt x="184" y="139"/>
                    </a:lnTo>
                    <a:close/>
                    <a:moveTo>
                      <a:pt x="327" y="253"/>
                    </a:moveTo>
                    <a:lnTo>
                      <a:pt x="327" y="255"/>
                    </a:lnTo>
                    <a:lnTo>
                      <a:pt x="327" y="253"/>
                    </a:lnTo>
                    <a:close/>
                    <a:moveTo>
                      <a:pt x="199" y="109"/>
                    </a:moveTo>
                    <a:lnTo>
                      <a:pt x="199" y="110"/>
                    </a:lnTo>
                    <a:lnTo>
                      <a:pt x="199" y="109"/>
                    </a:lnTo>
                    <a:close/>
                    <a:moveTo>
                      <a:pt x="204" y="114"/>
                    </a:moveTo>
                    <a:lnTo>
                      <a:pt x="206" y="114"/>
                    </a:lnTo>
                    <a:lnTo>
                      <a:pt x="204" y="114"/>
                    </a:lnTo>
                    <a:close/>
                    <a:moveTo>
                      <a:pt x="281" y="207"/>
                    </a:moveTo>
                    <a:lnTo>
                      <a:pt x="281" y="209"/>
                    </a:lnTo>
                    <a:lnTo>
                      <a:pt x="281" y="207"/>
                    </a:lnTo>
                    <a:close/>
                    <a:moveTo>
                      <a:pt x="216" y="117"/>
                    </a:moveTo>
                    <a:lnTo>
                      <a:pt x="218" y="117"/>
                    </a:lnTo>
                    <a:lnTo>
                      <a:pt x="218" y="119"/>
                    </a:lnTo>
                    <a:lnTo>
                      <a:pt x="216" y="119"/>
                    </a:lnTo>
                    <a:lnTo>
                      <a:pt x="216" y="117"/>
                    </a:lnTo>
                    <a:close/>
                    <a:moveTo>
                      <a:pt x="192" y="104"/>
                    </a:moveTo>
                    <a:lnTo>
                      <a:pt x="194" y="104"/>
                    </a:lnTo>
                    <a:lnTo>
                      <a:pt x="194" y="105"/>
                    </a:lnTo>
                    <a:lnTo>
                      <a:pt x="192" y="105"/>
                    </a:lnTo>
                    <a:lnTo>
                      <a:pt x="192" y="104"/>
                    </a:lnTo>
                    <a:close/>
                    <a:moveTo>
                      <a:pt x="327" y="260"/>
                    </a:moveTo>
                    <a:lnTo>
                      <a:pt x="328" y="260"/>
                    </a:lnTo>
                    <a:lnTo>
                      <a:pt x="327" y="260"/>
                    </a:lnTo>
                    <a:close/>
                    <a:moveTo>
                      <a:pt x="225" y="163"/>
                    </a:moveTo>
                    <a:lnTo>
                      <a:pt x="226" y="163"/>
                    </a:lnTo>
                    <a:lnTo>
                      <a:pt x="226" y="165"/>
                    </a:lnTo>
                    <a:lnTo>
                      <a:pt x="225" y="165"/>
                    </a:lnTo>
                    <a:lnTo>
                      <a:pt x="225" y="163"/>
                    </a:lnTo>
                    <a:close/>
                    <a:moveTo>
                      <a:pt x="328" y="253"/>
                    </a:moveTo>
                    <a:lnTo>
                      <a:pt x="330" y="253"/>
                    </a:lnTo>
                    <a:lnTo>
                      <a:pt x="328" y="253"/>
                    </a:lnTo>
                    <a:close/>
                    <a:moveTo>
                      <a:pt x="187" y="143"/>
                    </a:moveTo>
                    <a:lnTo>
                      <a:pt x="187" y="145"/>
                    </a:lnTo>
                    <a:lnTo>
                      <a:pt x="187" y="143"/>
                    </a:lnTo>
                    <a:close/>
                    <a:moveTo>
                      <a:pt x="175" y="116"/>
                    </a:moveTo>
                    <a:lnTo>
                      <a:pt x="177" y="116"/>
                    </a:lnTo>
                    <a:lnTo>
                      <a:pt x="175" y="116"/>
                    </a:lnTo>
                    <a:close/>
                    <a:moveTo>
                      <a:pt x="189" y="141"/>
                    </a:moveTo>
                    <a:lnTo>
                      <a:pt x="189" y="143"/>
                    </a:lnTo>
                    <a:lnTo>
                      <a:pt x="189" y="141"/>
                    </a:lnTo>
                    <a:close/>
                    <a:moveTo>
                      <a:pt x="186" y="139"/>
                    </a:moveTo>
                    <a:lnTo>
                      <a:pt x="187" y="139"/>
                    </a:lnTo>
                    <a:lnTo>
                      <a:pt x="186" y="139"/>
                    </a:lnTo>
                    <a:close/>
                    <a:moveTo>
                      <a:pt x="279" y="207"/>
                    </a:moveTo>
                    <a:lnTo>
                      <a:pt x="279" y="209"/>
                    </a:lnTo>
                    <a:lnTo>
                      <a:pt x="279" y="207"/>
                    </a:lnTo>
                    <a:close/>
                    <a:moveTo>
                      <a:pt x="184" y="105"/>
                    </a:moveTo>
                    <a:lnTo>
                      <a:pt x="186" y="105"/>
                    </a:lnTo>
                    <a:lnTo>
                      <a:pt x="186" y="107"/>
                    </a:lnTo>
                    <a:lnTo>
                      <a:pt x="184" y="107"/>
                    </a:lnTo>
                    <a:lnTo>
                      <a:pt x="184" y="105"/>
                    </a:lnTo>
                    <a:close/>
                    <a:moveTo>
                      <a:pt x="170" y="126"/>
                    </a:moveTo>
                    <a:lnTo>
                      <a:pt x="172" y="126"/>
                    </a:lnTo>
                    <a:lnTo>
                      <a:pt x="172" y="128"/>
                    </a:lnTo>
                    <a:lnTo>
                      <a:pt x="170" y="128"/>
                    </a:lnTo>
                    <a:lnTo>
                      <a:pt x="170" y="126"/>
                    </a:lnTo>
                    <a:close/>
                    <a:moveTo>
                      <a:pt x="191" y="83"/>
                    </a:moveTo>
                    <a:lnTo>
                      <a:pt x="192" y="83"/>
                    </a:lnTo>
                    <a:lnTo>
                      <a:pt x="192" y="85"/>
                    </a:lnTo>
                    <a:lnTo>
                      <a:pt x="191" y="85"/>
                    </a:lnTo>
                    <a:lnTo>
                      <a:pt x="191" y="83"/>
                    </a:lnTo>
                    <a:close/>
                    <a:moveTo>
                      <a:pt x="179" y="97"/>
                    </a:moveTo>
                    <a:lnTo>
                      <a:pt x="179" y="99"/>
                    </a:lnTo>
                    <a:lnTo>
                      <a:pt x="179" y="97"/>
                    </a:lnTo>
                    <a:close/>
                    <a:moveTo>
                      <a:pt x="310" y="241"/>
                    </a:moveTo>
                    <a:lnTo>
                      <a:pt x="311" y="241"/>
                    </a:lnTo>
                    <a:lnTo>
                      <a:pt x="311" y="243"/>
                    </a:lnTo>
                    <a:lnTo>
                      <a:pt x="310" y="243"/>
                    </a:lnTo>
                    <a:lnTo>
                      <a:pt x="310" y="241"/>
                    </a:lnTo>
                    <a:close/>
                    <a:moveTo>
                      <a:pt x="209" y="153"/>
                    </a:moveTo>
                    <a:lnTo>
                      <a:pt x="211" y="153"/>
                    </a:lnTo>
                    <a:lnTo>
                      <a:pt x="209" y="153"/>
                    </a:lnTo>
                    <a:close/>
                  </a:path>
                </a:pathLst>
              </a:custGeom>
              <a:solidFill>
                <a:schemeClr val="accent1">
                  <a:lumMod val="7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200" b="1" kern="1200" dirty="0">
                    <a:latin typeface="Arial" charset="0"/>
                    <a:ea typeface="+mn-ea"/>
                    <a:cs typeface="+mn-cs"/>
                  </a:rPr>
                  <a:t>2</a:t>
                </a:r>
              </a:p>
            </p:txBody>
          </p:sp>
          <p:sp>
            <p:nvSpPr>
              <p:cNvPr id="231" name="Freeform 27">
                <a:extLst>
                  <a:ext uri="{FF2B5EF4-FFF2-40B4-BE49-F238E27FC236}">
                    <a16:creationId xmlns:a16="http://schemas.microsoft.com/office/drawing/2014/main" id="{53B29F12-3D56-4CD0-8A44-B07DBBA037AC}"/>
                  </a:ext>
                </a:extLst>
              </p:cNvPr>
              <p:cNvSpPr>
                <a:spLocks/>
              </p:cNvSpPr>
              <p:nvPr/>
            </p:nvSpPr>
            <p:spPr bwMode="gray">
              <a:xfrm>
                <a:off x="7227888" y="2254250"/>
                <a:ext cx="1206500" cy="927100"/>
              </a:xfrm>
              <a:custGeom>
                <a:avLst/>
                <a:gdLst>
                  <a:gd name="T0" fmla="*/ 451 w 760"/>
                  <a:gd name="T1" fmla="*/ 160 h 584"/>
                  <a:gd name="T2" fmla="*/ 459 w 760"/>
                  <a:gd name="T3" fmla="*/ 201 h 584"/>
                  <a:gd name="T4" fmla="*/ 488 w 760"/>
                  <a:gd name="T5" fmla="*/ 193 h 584"/>
                  <a:gd name="T6" fmla="*/ 491 w 760"/>
                  <a:gd name="T7" fmla="*/ 218 h 584"/>
                  <a:gd name="T8" fmla="*/ 520 w 760"/>
                  <a:gd name="T9" fmla="*/ 257 h 584"/>
                  <a:gd name="T10" fmla="*/ 556 w 760"/>
                  <a:gd name="T11" fmla="*/ 298 h 584"/>
                  <a:gd name="T12" fmla="*/ 619 w 760"/>
                  <a:gd name="T13" fmla="*/ 320 h 584"/>
                  <a:gd name="T14" fmla="*/ 760 w 760"/>
                  <a:gd name="T15" fmla="*/ 351 h 584"/>
                  <a:gd name="T16" fmla="*/ 665 w 760"/>
                  <a:gd name="T17" fmla="*/ 448 h 584"/>
                  <a:gd name="T18" fmla="*/ 558 w 760"/>
                  <a:gd name="T19" fmla="*/ 504 h 584"/>
                  <a:gd name="T20" fmla="*/ 493 w 760"/>
                  <a:gd name="T21" fmla="*/ 540 h 584"/>
                  <a:gd name="T22" fmla="*/ 457 w 760"/>
                  <a:gd name="T23" fmla="*/ 546 h 584"/>
                  <a:gd name="T24" fmla="*/ 444 w 760"/>
                  <a:gd name="T25" fmla="*/ 555 h 584"/>
                  <a:gd name="T26" fmla="*/ 425 w 760"/>
                  <a:gd name="T27" fmla="*/ 555 h 584"/>
                  <a:gd name="T28" fmla="*/ 401 w 760"/>
                  <a:gd name="T29" fmla="*/ 545 h 584"/>
                  <a:gd name="T30" fmla="*/ 349 w 760"/>
                  <a:gd name="T31" fmla="*/ 560 h 584"/>
                  <a:gd name="T32" fmla="*/ 321 w 760"/>
                  <a:gd name="T33" fmla="*/ 579 h 584"/>
                  <a:gd name="T34" fmla="*/ 291 w 760"/>
                  <a:gd name="T35" fmla="*/ 575 h 584"/>
                  <a:gd name="T36" fmla="*/ 277 w 760"/>
                  <a:gd name="T37" fmla="*/ 574 h 584"/>
                  <a:gd name="T38" fmla="*/ 208 w 760"/>
                  <a:gd name="T39" fmla="*/ 535 h 584"/>
                  <a:gd name="T40" fmla="*/ 151 w 760"/>
                  <a:gd name="T41" fmla="*/ 529 h 584"/>
                  <a:gd name="T42" fmla="*/ 146 w 760"/>
                  <a:gd name="T43" fmla="*/ 494 h 584"/>
                  <a:gd name="T44" fmla="*/ 128 w 760"/>
                  <a:gd name="T45" fmla="*/ 482 h 584"/>
                  <a:gd name="T46" fmla="*/ 109 w 760"/>
                  <a:gd name="T47" fmla="*/ 467 h 584"/>
                  <a:gd name="T48" fmla="*/ 102 w 760"/>
                  <a:gd name="T49" fmla="*/ 434 h 584"/>
                  <a:gd name="T50" fmla="*/ 97 w 760"/>
                  <a:gd name="T51" fmla="*/ 422 h 584"/>
                  <a:gd name="T52" fmla="*/ 83 w 760"/>
                  <a:gd name="T53" fmla="*/ 414 h 584"/>
                  <a:gd name="T54" fmla="*/ 73 w 760"/>
                  <a:gd name="T55" fmla="*/ 405 h 584"/>
                  <a:gd name="T56" fmla="*/ 61 w 760"/>
                  <a:gd name="T57" fmla="*/ 400 h 584"/>
                  <a:gd name="T58" fmla="*/ 51 w 760"/>
                  <a:gd name="T59" fmla="*/ 381 h 584"/>
                  <a:gd name="T60" fmla="*/ 39 w 760"/>
                  <a:gd name="T61" fmla="*/ 370 h 584"/>
                  <a:gd name="T62" fmla="*/ 26 w 760"/>
                  <a:gd name="T63" fmla="*/ 364 h 584"/>
                  <a:gd name="T64" fmla="*/ 15 w 760"/>
                  <a:gd name="T65" fmla="*/ 364 h 584"/>
                  <a:gd name="T66" fmla="*/ 4 w 760"/>
                  <a:gd name="T67" fmla="*/ 361 h 584"/>
                  <a:gd name="T68" fmla="*/ 5 w 760"/>
                  <a:gd name="T69" fmla="*/ 346 h 584"/>
                  <a:gd name="T70" fmla="*/ 12 w 760"/>
                  <a:gd name="T71" fmla="*/ 339 h 584"/>
                  <a:gd name="T72" fmla="*/ 12 w 760"/>
                  <a:gd name="T73" fmla="*/ 329 h 584"/>
                  <a:gd name="T74" fmla="*/ 26 w 760"/>
                  <a:gd name="T75" fmla="*/ 325 h 584"/>
                  <a:gd name="T76" fmla="*/ 39 w 760"/>
                  <a:gd name="T77" fmla="*/ 332 h 584"/>
                  <a:gd name="T78" fmla="*/ 56 w 760"/>
                  <a:gd name="T79" fmla="*/ 322 h 584"/>
                  <a:gd name="T80" fmla="*/ 70 w 760"/>
                  <a:gd name="T81" fmla="*/ 240 h 584"/>
                  <a:gd name="T82" fmla="*/ 82 w 760"/>
                  <a:gd name="T83" fmla="*/ 203 h 584"/>
                  <a:gd name="T84" fmla="*/ 100 w 760"/>
                  <a:gd name="T85" fmla="*/ 199 h 584"/>
                  <a:gd name="T86" fmla="*/ 107 w 760"/>
                  <a:gd name="T87" fmla="*/ 165 h 584"/>
                  <a:gd name="T88" fmla="*/ 123 w 760"/>
                  <a:gd name="T89" fmla="*/ 138 h 584"/>
                  <a:gd name="T90" fmla="*/ 141 w 760"/>
                  <a:gd name="T91" fmla="*/ 113 h 584"/>
                  <a:gd name="T92" fmla="*/ 160 w 760"/>
                  <a:gd name="T93" fmla="*/ 99 h 584"/>
                  <a:gd name="T94" fmla="*/ 179 w 760"/>
                  <a:gd name="T95" fmla="*/ 43 h 584"/>
                  <a:gd name="T96" fmla="*/ 196 w 760"/>
                  <a:gd name="T97" fmla="*/ 29 h 584"/>
                  <a:gd name="T98" fmla="*/ 214 w 760"/>
                  <a:gd name="T99" fmla="*/ 24 h 584"/>
                  <a:gd name="T100" fmla="*/ 226 w 760"/>
                  <a:gd name="T101" fmla="*/ 33 h 584"/>
                  <a:gd name="T102" fmla="*/ 252 w 760"/>
                  <a:gd name="T103" fmla="*/ 6 h 584"/>
                  <a:gd name="T104" fmla="*/ 264 w 760"/>
                  <a:gd name="T105" fmla="*/ 12 h 584"/>
                  <a:gd name="T106" fmla="*/ 274 w 760"/>
                  <a:gd name="T107" fmla="*/ 23 h 584"/>
                  <a:gd name="T108" fmla="*/ 294 w 760"/>
                  <a:gd name="T109" fmla="*/ 23 h 584"/>
                  <a:gd name="T110" fmla="*/ 313 w 760"/>
                  <a:gd name="T111" fmla="*/ 12 h 584"/>
                  <a:gd name="T112" fmla="*/ 320 w 760"/>
                  <a:gd name="T113" fmla="*/ 23 h 584"/>
                  <a:gd name="T114" fmla="*/ 330 w 760"/>
                  <a:gd name="T115" fmla="*/ 17 h 584"/>
                  <a:gd name="T116" fmla="*/ 349 w 760"/>
                  <a:gd name="T117" fmla="*/ 23 h 584"/>
                  <a:gd name="T118" fmla="*/ 369 w 760"/>
                  <a:gd name="T119" fmla="*/ 26 h 584"/>
                  <a:gd name="T120" fmla="*/ 429 w 760"/>
                  <a:gd name="T121" fmla="*/ 74 h 584"/>
                  <a:gd name="T122" fmla="*/ 468 w 760"/>
                  <a:gd name="T123" fmla="*/ 109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0" h="584">
                    <a:moveTo>
                      <a:pt x="478" y="123"/>
                    </a:moveTo>
                    <a:lnTo>
                      <a:pt x="474" y="128"/>
                    </a:lnTo>
                    <a:lnTo>
                      <a:pt x="473" y="131"/>
                    </a:lnTo>
                    <a:lnTo>
                      <a:pt x="468" y="137"/>
                    </a:lnTo>
                    <a:lnTo>
                      <a:pt x="464" y="143"/>
                    </a:lnTo>
                    <a:lnTo>
                      <a:pt x="456" y="155"/>
                    </a:lnTo>
                    <a:lnTo>
                      <a:pt x="452" y="159"/>
                    </a:lnTo>
                    <a:lnTo>
                      <a:pt x="451" y="160"/>
                    </a:lnTo>
                    <a:lnTo>
                      <a:pt x="449" y="160"/>
                    </a:lnTo>
                    <a:lnTo>
                      <a:pt x="446" y="174"/>
                    </a:lnTo>
                    <a:lnTo>
                      <a:pt x="447" y="186"/>
                    </a:lnTo>
                    <a:lnTo>
                      <a:pt x="446" y="199"/>
                    </a:lnTo>
                    <a:lnTo>
                      <a:pt x="454" y="201"/>
                    </a:lnTo>
                    <a:lnTo>
                      <a:pt x="456" y="203"/>
                    </a:lnTo>
                    <a:lnTo>
                      <a:pt x="456" y="201"/>
                    </a:lnTo>
                    <a:lnTo>
                      <a:pt x="459" y="201"/>
                    </a:lnTo>
                    <a:lnTo>
                      <a:pt x="461" y="201"/>
                    </a:lnTo>
                    <a:lnTo>
                      <a:pt x="464" y="199"/>
                    </a:lnTo>
                    <a:lnTo>
                      <a:pt x="468" y="199"/>
                    </a:lnTo>
                    <a:lnTo>
                      <a:pt x="476" y="198"/>
                    </a:lnTo>
                    <a:lnTo>
                      <a:pt x="478" y="199"/>
                    </a:lnTo>
                    <a:lnTo>
                      <a:pt x="481" y="196"/>
                    </a:lnTo>
                    <a:lnTo>
                      <a:pt x="486" y="194"/>
                    </a:lnTo>
                    <a:lnTo>
                      <a:pt x="488" y="193"/>
                    </a:lnTo>
                    <a:lnTo>
                      <a:pt x="491" y="196"/>
                    </a:lnTo>
                    <a:lnTo>
                      <a:pt x="495" y="194"/>
                    </a:lnTo>
                    <a:lnTo>
                      <a:pt x="497" y="199"/>
                    </a:lnTo>
                    <a:lnTo>
                      <a:pt x="500" y="199"/>
                    </a:lnTo>
                    <a:lnTo>
                      <a:pt x="502" y="199"/>
                    </a:lnTo>
                    <a:lnTo>
                      <a:pt x="505" y="199"/>
                    </a:lnTo>
                    <a:lnTo>
                      <a:pt x="493" y="216"/>
                    </a:lnTo>
                    <a:lnTo>
                      <a:pt x="491" y="218"/>
                    </a:lnTo>
                    <a:lnTo>
                      <a:pt x="491" y="222"/>
                    </a:lnTo>
                    <a:lnTo>
                      <a:pt x="495" y="223"/>
                    </a:lnTo>
                    <a:lnTo>
                      <a:pt x="500" y="237"/>
                    </a:lnTo>
                    <a:lnTo>
                      <a:pt x="508" y="244"/>
                    </a:lnTo>
                    <a:lnTo>
                      <a:pt x="512" y="254"/>
                    </a:lnTo>
                    <a:lnTo>
                      <a:pt x="514" y="254"/>
                    </a:lnTo>
                    <a:lnTo>
                      <a:pt x="515" y="254"/>
                    </a:lnTo>
                    <a:lnTo>
                      <a:pt x="520" y="257"/>
                    </a:lnTo>
                    <a:lnTo>
                      <a:pt x="522" y="269"/>
                    </a:lnTo>
                    <a:lnTo>
                      <a:pt x="524" y="269"/>
                    </a:lnTo>
                    <a:lnTo>
                      <a:pt x="527" y="271"/>
                    </a:lnTo>
                    <a:lnTo>
                      <a:pt x="531" y="278"/>
                    </a:lnTo>
                    <a:lnTo>
                      <a:pt x="534" y="279"/>
                    </a:lnTo>
                    <a:lnTo>
                      <a:pt x="541" y="281"/>
                    </a:lnTo>
                    <a:lnTo>
                      <a:pt x="549" y="290"/>
                    </a:lnTo>
                    <a:lnTo>
                      <a:pt x="556" y="298"/>
                    </a:lnTo>
                    <a:lnTo>
                      <a:pt x="559" y="300"/>
                    </a:lnTo>
                    <a:lnTo>
                      <a:pt x="570" y="303"/>
                    </a:lnTo>
                    <a:lnTo>
                      <a:pt x="578" y="307"/>
                    </a:lnTo>
                    <a:lnTo>
                      <a:pt x="593" y="312"/>
                    </a:lnTo>
                    <a:lnTo>
                      <a:pt x="599" y="313"/>
                    </a:lnTo>
                    <a:lnTo>
                      <a:pt x="604" y="315"/>
                    </a:lnTo>
                    <a:lnTo>
                      <a:pt x="610" y="317"/>
                    </a:lnTo>
                    <a:lnTo>
                      <a:pt x="619" y="320"/>
                    </a:lnTo>
                    <a:lnTo>
                      <a:pt x="633" y="325"/>
                    </a:lnTo>
                    <a:lnTo>
                      <a:pt x="641" y="327"/>
                    </a:lnTo>
                    <a:lnTo>
                      <a:pt x="672" y="337"/>
                    </a:lnTo>
                    <a:lnTo>
                      <a:pt x="673" y="337"/>
                    </a:lnTo>
                    <a:lnTo>
                      <a:pt x="709" y="351"/>
                    </a:lnTo>
                    <a:lnTo>
                      <a:pt x="711" y="351"/>
                    </a:lnTo>
                    <a:lnTo>
                      <a:pt x="757" y="351"/>
                    </a:lnTo>
                    <a:lnTo>
                      <a:pt x="760" y="351"/>
                    </a:lnTo>
                    <a:lnTo>
                      <a:pt x="738" y="373"/>
                    </a:lnTo>
                    <a:lnTo>
                      <a:pt x="735" y="376"/>
                    </a:lnTo>
                    <a:lnTo>
                      <a:pt x="728" y="383"/>
                    </a:lnTo>
                    <a:lnTo>
                      <a:pt x="706" y="407"/>
                    </a:lnTo>
                    <a:lnTo>
                      <a:pt x="701" y="410"/>
                    </a:lnTo>
                    <a:lnTo>
                      <a:pt x="685" y="426"/>
                    </a:lnTo>
                    <a:lnTo>
                      <a:pt x="675" y="438"/>
                    </a:lnTo>
                    <a:lnTo>
                      <a:pt x="665" y="448"/>
                    </a:lnTo>
                    <a:lnTo>
                      <a:pt x="656" y="456"/>
                    </a:lnTo>
                    <a:lnTo>
                      <a:pt x="643" y="470"/>
                    </a:lnTo>
                    <a:lnTo>
                      <a:pt x="636" y="478"/>
                    </a:lnTo>
                    <a:lnTo>
                      <a:pt x="616" y="499"/>
                    </a:lnTo>
                    <a:lnTo>
                      <a:pt x="607" y="506"/>
                    </a:lnTo>
                    <a:lnTo>
                      <a:pt x="604" y="506"/>
                    </a:lnTo>
                    <a:lnTo>
                      <a:pt x="588" y="506"/>
                    </a:lnTo>
                    <a:lnTo>
                      <a:pt x="558" y="504"/>
                    </a:lnTo>
                    <a:lnTo>
                      <a:pt x="541" y="509"/>
                    </a:lnTo>
                    <a:lnTo>
                      <a:pt x="531" y="512"/>
                    </a:lnTo>
                    <a:lnTo>
                      <a:pt x="512" y="521"/>
                    </a:lnTo>
                    <a:lnTo>
                      <a:pt x="508" y="526"/>
                    </a:lnTo>
                    <a:lnTo>
                      <a:pt x="508" y="529"/>
                    </a:lnTo>
                    <a:lnTo>
                      <a:pt x="505" y="535"/>
                    </a:lnTo>
                    <a:lnTo>
                      <a:pt x="498" y="540"/>
                    </a:lnTo>
                    <a:lnTo>
                      <a:pt x="493" y="540"/>
                    </a:lnTo>
                    <a:lnTo>
                      <a:pt x="485" y="543"/>
                    </a:lnTo>
                    <a:lnTo>
                      <a:pt x="466" y="543"/>
                    </a:lnTo>
                    <a:lnTo>
                      <a:pt x="466" y="545"/>
                    </a:lnTo>
                    <a:lnTo>
                      <a:pt x="464" y="545"/>
                    </a:lnTo>
                    <a:lnTo>
                      <a:pt x="463" y="543"/>
                    </a:lnTo>
                    <a:lnTo>
                      <a:pt x="461" y="545"/>
                    </a:lnTo>
                    <a:lnTo>
                      <a:pt x="461" y="543"/>
                    </a:lnTo>
                    <a:lnTo>
                      <a:pt x="457" y="546"/>
                    </a:lnTo>
                    <a:lnTo>
                      <a:pt x="456" y="548"/>
                    </a:lnTo>
                    <a:lnTo>
                      <a:pt x="454" y="550"/>
                    </a:lnTo>
                    <a:lnTo>
                      <a:pt x="454" y="552"/>
                    </a:lnTo>
                    <a:lnTo>
                      <a:pt x="452" y="553"/>
                    </a:lnTo>
                    <a:lnTo>
                      <a:pt x="449" y="555"/>
                    </a:lnTo>
                    <a:lnTo>
                      <a:pt x="447" y="555"/>
                    </a:lnTo>
                    <a:lnTo>
                      <a:pt x="446" y="553"/>
                    </a:lnTo>
                    <a:lnTo>
                      <a:pt x="444" y="555"/>
                    </a:lnTo>
                    <a:lnTo>
                      <a:pt x="442" y="553"/>
                    </a:lnTo>
                    <a:lnTo>
                      <a:pt x="440" y="555"/>
                    </a:lnTo>
                    <a:lnTo>
                      <a:pt x="439" y="553"/>
                    </a:lnTo>
                    <a:lnTo>
                      <a:pt x="435" y="555"/>
                    </a:lnTo>
                    <a:lnTo>
                      <a:pt x="434" y="553"/>
                    </a:lnTo>
                    <a:lnTo>
                      <a:pt x="432" y="555"/>
                    </a:lnTo>
                    <a:lnTo>
                      <a:pt x="427" y="555"/>
                    </a:lnTo>
                    <a:lnTo>
                      <a:pt x="425" y="555"/>
                    </a:lnTo>
                    <a:lnTo>
                      <a:pt x="423" y="555"/>
                    </a:lnTo>
                    <a:lnTo>
                      <a:pt x="423" y="557"/>
                    </a:lnTo>
                    <a:lnTo>
                      <a:pt x="418" y="555"/>
                    </a:lnTo>
                    <a:lnTo>
                      <a:pt x="417" y="557"/>
                    </a:lnTo>
                    <a:lnTo>
                      <a:pt x="413" y="555"/>
                    </a:lnTo>
                    <a:lnTo>
                      <a:pt x="406" y="546"/>
                    </a:lnTo>
                    <a:lnTo>
                      <a:pt x="403" y="545"/>
                    </a:lnTo>
                    <a:lnTo>
                      <a:pt x="401" y="545"/>
                    </a:lnTo>
                    <a:lnTo>
                      <a:pt x="400" y="541"/>
                    </a:lnTo>
                    <a:lnTo>
                      <a:pt x="396" y="540"/>
                    </a:lnTo>
                    <a:lnTo>
                      <a:pt x="395" y="540"/>
                    </a:lnTo>
                    <a:lnTo>
                      <a:pt x="393" y="541"/>
                    </a:lnTo>
                    <a:lnTo>
                      <a:pt x="391" y="541"/>
                    </a:lnTo>
                    <a:lnTo>
                      <a:pt x="378" y="546"/>
                    </a:lnTo>
                    <a:lnTo>
                      <a:pt x="364" y="553"/>
                    </a:lnTo>
                    <a:lnTo>
                      <a:pt x="349" y="560"/>
                    </a:lnTo>
                    <a:lnTo>
                      <a:pt x="344" y="570"/>
                    </a:lnTo>
                    <a:lnTo>
                      <a:pt x="335" y="579"/>
                    </a:lnTo>
                    <a:lnTo>
                      <a:pt x="333" y="584"/>
                    </a:lnTo>
                    <a:lnTo>
                      <a:pt x="332" y="582"/>
                    </a:lnTo>
                    <a:lnTo>
                      <a:pt x="330" y="580"/>
                    </a:lnTo>
                    <a:lnTo>
                      <a:pt x="328" y="580"/>
                    </a:lnTo>
                    <a:lnTo>
                      <a:pt x="321" y="580"/>
                    </a:lnTo>
                    <a:lnTo>
                      <a:pt x="321" y="579"/>
                    </a:lnTo>
                    <a:lnTo>
                      <a:pt x="320" y="579"/>
                    </a:lnTo>
                    <a:lnTo>
                      <a:pt x="318" y="580"/>
                    </a:lnTo>
                    <a:lnTo>
                      <a:pt x="315" y="579"/>
                    </a:lnTo>
                    <a:lnTo>
                      <a:pt x="310" y="577"/>
                    </a:lnTo>
                    <a:lnTo>
                      <a:pt x="306" y="577"/>
                    </a:lnTo>
                    <a:lnTo>
                      <a:pt x="303" y="577"/>
                    </a:lnTo>
                    <a:lnTo>
                      <a:pt x="301" y="577"/>
                    </a:lnTo>
                    <a:lnTo>
                      <a:pt x="291" y="575"/>
                    </a:lnTo>
                    <a:lnTo>
                      <a:pt x="289" y="572"/>
                    </a:lnTo>
                    <a:lnTo>
                      <a:pt x="287" y="574"/>
                    </a:lnTo>
                    <a:lnTo>
                      <a:pt x="286" y="572"/>
                    </a:lnTo>
                    <a:lnTo>
                      <a:pt x="284" y="574"/>
                    </a:lnTo>
                    <a:lnTo>
                      <a:pt x="282" y="570"/>
                    </a:lnTo>
                    <a:lnTo>
                      <a:pt x="281" y="570"/>
                    </a:lnTo>
                    <a:lnTo>
                      <a:pt x="281" y="572"/>
                    </a:lnTo>
                    <a:lnTo>
                      <a:pt x="277" y="574"/>
                    </a:lnTo>
                    <a:lnTo>
                      <a:pt x="264" y="572"/>
                    </a:lnTo>
                    <a:lnTo>
                      <a:pt x="260" y="572"/>
                    </a:lnTo>
                    <a:lnTo>
                      <a:pt x="253" y="567"/>
                    </a:lnTo>
                    <a:lnTo>
                      <a:pt x="250" y="563"/>
                    </a:lnTo>
                    <a:lnTo>
                      <a:pt x="240" y="558"/>
                    </a:lnTo>
                    <a:lnTo>
                      <a:pt x="226" y="548"/>
                    </a:lnTo>
                    <a:lnTo>
                      <a:pt x="209" y="538"/>
                    </a:lnTo>
                    <a:lnTo>
                      <a:pt x="208" y="535"/>
                    </a:lnTo>
                    <a:lnTo>
                      <a:pt x="206" y="535"/>
                    </a:lnTo>
                    <a:lnTo>
                      <a:pt x="204" y="533"/>
                    </a:lnTo>
                    <a:lnTo>
                      <a:pt x="194" y="529"/>
                    </a:lnTo>
                    <a:lnTo>
                      <a:pt x="185" y="529"/>
                    </a:lnTo>
                    <a:lnTo>
                      <a:pt x="184" y="529"/>
                    </a:lnTo>
                    <a:lnTo>
                      <a:pt x="180" y="529"/>
                    </a:lnTo>
                    <a:lnTo>
                      <a:pt x="165" y="529"/>
                    </a:lnTo>
                    <a:lnTo>
                      <a:pt x="151" y="529"/>
                    </a:lnTo>
                    <a:lnTo>
                      <a:pt x="150" y="528"/>
                    </a:lnTo>
                    <a:lnTo>
                      <a:pt x="151" y="524"/>
                    </a:lnTo>
                    <a:lnTo>
                      <a:pt x="150" y="523"/>
                    </a:lnTo>
                    <a:lnTo>
                      <a:pt x="150" y="521"/>
                    </a:lnTo>
                    <a:lnTo>
                      <a:pt x="143" y="512"/>
                    </a:lnTo>
                    <a:lnTo>
                      <a:pt x="143" y="504"/>
                    </a:lnTo>
                    <a:lnTo>
                      <a:pt x="143" y="497"/>
                    </a:lnTo>
                    <a:lnTo>
                      <a:pt x="146" y="494"/>
                    </a:lnTo>
                    <a:lnTo>
                      <a:pt x="145" y="489"/>
                    </a:lnTo>
                    <a:lnTo>
                      <a:pt x="146" y="485"/>
                    </a:lnTo>
                    <a:lnTo>
                      <a:pt x="141" y="485"/>
                    </a:lnTo>
                    <a:lnTo>
                      <a:pt x="138" y="482"/>
                    </a:lnTo>
                    <a:lnTo>
                      <a:pt x="134" y="484"/>
                    </a:lnTo>
                    <a:lnTo>
                      <a:pt x="133" y="482"/>
                    </a:lnTo>
                    <a:lnTo>
                      <a:pt x="129" y="480"/>
                    </a:lnTo>
                    <a:lnTo>
                      <a:pt x="128" y="482"/>
                    </a:lnTo>
                    <a:lnTo>
                      <a:pt x="123" y="484"/>
                    </a:lnTo>
                    <a:lnTo>
                      <a:pt x="119" y="485"/>
                    </a:lnTo>
                    <a:lnTo>
                      <a:pt x="117" y="484"/>
                    </a:lnTo>
                    <a:lnTo>
                      <a:pt x="117" y="480"/>
                    </a:lnTo>
                    <a:lnTo>
                      <a:pt x="119" y="480"/>
                    </a:lnTo>
                    <a:lnTo>
                      <a:pt x="117" y="477"/>
                    </a:lnTo>
                    <a:lnTo>
                      <a:pt x="109" y="470"/>
                    </a:lnTo>
                    <a:lnTo>
                      <a:pt x="109" y="467"/>
                    </a:lnTo>
                    <a:lnTo>
                      <a:pt x="102" y="456"/>
                    </a:lnTo>
                    <a:lnTo>
                      <a:pt x="102" y="448"/>
                    </a:lnTo>
                    <a:lnTo>
                      <a:pt x="100" y="446"/>
                    </a:lnTo>
                    <a:lnTo>
                      <a:pt x="100" y="443"/>
                    </a:lnTo>
                    <a:lnTo>
                      <a:pt x="100" y="439"/>
                    </a:lnTo>
                    <a:lnTo>
                      <a:pt x="100" y="438"/>
                    </a:lnTo>
                    <a:lnTo>
                      <a:pt x="102" y="436"/>
                    </a:lnTo>
                    <a:lnTo>
                      <a:pt x="102" y="434"/>
                    </a:lnTo>
                    <a:lnTo>
                      <a:pt x="102" y="433"/>
                    </a:lnTo>
                    <a:lnTo>
                      <a:pt x="102" y="431"/>
                    </a:lnTo>
                    <a:lnTo>
                      <a:pt x="104" y="429"/>
                    </a:lnTo>
                    <a:lnTo>
                      <a:pt x="102" y="427"/>
                    </a:lnTo>
                    <a:lnTo>
                      <a:pt x="100" y="426"/>
                    </a:lnTo>
                    <a:lnTo>
                      <a:pt x="99" y="424"/>
                    </a:lnTo>
                    <a:lnTo>
                      <a:pt x="99" y="422"/>
                    </a:lnTo>
                    <a:lnTo>
                      <a:pt x="97" y="422"/>
                    </a:lnTo>
                    <a:lnTo>
                      <a:pt x="97" y="421"/>
                    </a:lnTo>
                    <a:lnTo>
                      <a:pt x="95" y="421"/>
                    </a:lnTo>
                    <a:lnTo>
                      <a:pt x="94" y="421"/>
                    </a:lnTo>
                    <a:lnTo>
                      <a:pt x="92" y="422"/>
                    </a:lnTo>
                    <a:lnTo>
                      <a:pt x="90" y="421"/>
                    </a:lnTo>
                    <a:lnTo>
                      <a:pt x="89" y="419"/>
                    </a:lnTo>
                    <a:lnTo>
                      <a:pt x="87" y="417"/>
                    </a:lnTo>
                    <a:lnTo>
                      <a:pt x="83" y="414"/>
                    </a:lnTo>
                    <a:lnTo>
                      <a:pt x="83" y="415"/>
                    </a:lnTo>
                    <a:lnTo>
                      <a:pt x="78" y="414"/>
                    </a:lnTo>
                    <a:lnTo>
                      <a:pt x="78" y="410"/>
                    </a:lnTo>
                    <a:lnTo>
                      <a:pt x="78" y="409"/>
                    </a:lnTo>
                    <a:lnTo>
                      <a:pt x="77" y="409"/>
                    </a:lnTo>
                    <a:lnTo>
                      <a:pt x="77" y="407"/>
                    </a:lnTo>
                    <a:lnTo>
                      <a:pt x="75" y="405"/>
                    </a:lnTo>
                    <a:lnTo>
                      <a:pt x="73" y="405"/>
                    </a:lnTo>
                    <a:lnTo>
                      <a:pt x="72" y="405"/>
                    </a:lnTo>
                    <a:lnTo>
                      <a:pt x="68" y="405"/>
                    </a:lnTo>
                    <a:lnTo>
                      <a:pt x="68" y="404"/>
                    </a:lnTo>
                    <a:lnTo>
                      <a:pt x="66" y="404"/>
                    </a:lnTo>
                    <a:lnTo>
                      <a:pt x="66" y="402"/>
                    </a:lnTo>
                    <a:lnTo>
                      <a:pt x="65" y="400"/>
                    </a:lnTo>
                    <a:lnTo>
                      <a:pt x="63" y="402"/>
                    </a:lnTo>
                    <a:lnTo>
                      <a:pt x="61" y="400"/>
                    </a:lnTo>
                    <a:lnTo>
                      <a:pt x="61" y="395"/>
                    </a:lnTo>
                    <a:lnTo>
                      <a:pt x="56" y="392"/>
                    </a:lnTo>
                    <a:lnTo>
                      <a:pt x="55" y="390"/>
                    </a:lnTo>
                    <a:lnTo>
                      <a:pt x="53" y="390"/>
                    </a:lnTo>
                    <a:lnTo>
                      <a:pt x="53" y="388"/>
                    </a:lnTo>
                    <a:lnTo>
                      <a:pt x="53" y="387"/>
                    </a:lnTo>
                    <a:lnTo>
                      <a:pt x="53" y="383"/>
                    </a:lnTo>
                    <a:lnTo>
                      <a:pt x="51" y="381"/>
                    </a:lnTo>
                    <a:lnTo>
                      <a:pt x="51" y="380"/>
                    </a:lnTo>
                    <a:lnTo>
                      <a:pt x="49" y="376"/>
                    </a:lnTo>
                    <a:lnTo>
                      <a:pt x="49" y="375"/>
                    </a:lnTo>
                    <a:lnTo>
                      <a:pt x="44" y="375"/>
                    </a:lnTo>
                    <a:lnTo>
                      <a:pt x="44" y="371"/>
                    </a:lnTo>
                    <a:lnTo>
                      <a:pt x="41" y="371"/>
                    </a:lnTo>
                    <a:lnTo>
                      <a:pt x="41" y="370"/>
                    </a:lnTo>
                    <a:lnTo>
                      <a:pt x="39" y="370"/>
                    </a:lnTo>
                    <a:lnTo>
                      <a:pt x="36" y="366"/>
                    </a:lnTo>
                    <a:lnTo>
                      <a:pt x="32" y="366"/>
                    </a:lnTo>
                    <a:lnTo>
                      <a:pt x="32" y="364"/>
                    </a:lnTo>
                    <a:lnTo>
                      <a:pt x="31" y="364"/>
                    </a:lnTo>
                    <a:lnTo>
                      <a:pt x="31" y="366"/>
                    </a:lnTo>
                    <a:lnTo>
                      <a:pt x="27" y="364"/>
                    </a:lnTo>
                    <a:lnTo>
                      <a:pt x="27" y="363"/>
                    </a:lnTo>
                    <a:lnTo>
                      <a:pt x="26" y="364"/>
                    </a:lnTo>
                    <a:lnTo>
                      <a:pt x="26" y="363"/>
                    </a:lnTo>
                    <a:lnTo>
                      <a:pt x="24" y="363"/>
                    </a:lnTo>
                    <a:lnTo>
                      <a:pt x="22" y="363"/>
                    </a:lnTo>
                    <a:lnTo>
                      <a:pt x="21" y="364"/>
                    </a:lnTo>
                    <a:lnTo>
                      <a:pt x="21" y="363"/>
                    </a:lnTo>
                    <a:lnTo>
                      <a:pt x="19" y="364"/>
                    </a:lnTo>
                    <a:lnTo>
                      <a:pt x="17" y="364"/>
                    </a:lnTo>
                    <a:lnTo>
                      <a:pt x="15" y="364"/>
                    </a:lnTo>
                    <a:lnTo>
                      <a:pt x="15" y="363"/>
                    </a:lnTo>
                    <a:lnTo>
                      <a:pt x="14" y="361"/>
                    </a:lnTo>
                    <a:lnTo>
                      <a:pt x="12" y="361"/>
                    </a:lnTo>
                    <a:lnTo>
                      <a:pt x="9" y="359"/>
                    </a:lnTo>
                    <a:lnTo>
                      <a:pt x="9" y="361"/>
                    </a:lnTo>
                    <a:lnTo>
                      <a:pt x="7" y="361"/>
                    </a:lnTo>
                    <a:lnTo>
                      <a:pt x="5" y="359"/>
                    </a:lnTo>
                    <a:lnTo>
                      <a:pt x="4" y="361"/>
                    </a:lnTo>
                    <a:lnTo>
                      <a:pt x="4" y="359"/>
                    </a:lnTo>
                    <a:lnTo>
                      <a:pt x="0" y="356"/>
                    </a:lnTo>
                    <a:lnTo>
                      <a:pt x="2" y="356"/>
                    </a:lnTo>
                    <a:lnTo>
                      <a:pt x="0" y="353"/>
                    </a:lnTo>
                    <a:lnTo>
                      <a:pt x="4" y="353"/>
                    </a:lnTo>
                    <a:lnTo>
                      <a:pt x="4" y="349"/>
                    </a:lnTo>
                    <a:lnTo>
                      <a:pt x="5" y="349"/>
                    </a:lnTo>
                    <a:lnTo>
                      <a:pt x="5" y="346"/>
                    </a:lnTo>
                    <a:lnTo>
                      <a:pt x="7" y="346"/>
                    </a:lnTo>
                    <a:lnTo>
                      <a:pt x="7" y="347"/>
                    </a:lnTo>
                    <a:lnTo>
                      <a:pt x="7" y="344"/>
                    </a:lnTo>
                    <a:lnTo>
                      <a:pt x="10" y="344"/>
                    </a:lnTo>
                    <a:lnTo>
                      <a:pt x="10" y="342"/>
                    </a:lnTo>
                    <a:lnTo>
                      <a:pt x="9" y="341"/>
                    </a:lnTo>
                    <a:lnTo>
                      <a:pt x="10" y="339"/>
                    </a:lnTo>
                    <a:lnTo>
                      <a:pt x="12" y="339"/>
                    </a:lnTo>
                    <a:lnTo>
                      <a:pt x="10" y="337"/>
                    </a:lnTo>
                    <a:lnTo>
                      <a:pt x="10" y="336"/>
                    </a:lnTo>
                    <a:lnTo>
                      <a:pt x="10" y="334"/>
                    </a:lnTo>
                    <a:lnTo>
                      <a:pt x="12" y="332"/>
                    </a:lnTo>
                    <a:lnTo>
                      <a:pt x="10" y="332"/>
                    </a:lnTo>
                    <a:lnTo>
                      <a:pt x="10" y="330"/>
                    </a:lnTo>
                    <a:lnTo>
                      <a:pt x="10" y="329"/>
                    </a:lnTo>
                    <a:lnTo>
                      <a:pt x="12" y="329"/>
                    </a:lnTo>
                    <a:lnTo>
                      <a:pt x="14" y="327"/>
                    </a:lnTo>
                    <a:lnTo>
                      <a:pt x="15" y="327"/>
                    </a:lnTo>
                    <a:lnTo>
                      <a:pt x="17" y="327"/>
                    </a:lnTo>
                    <a:lnTo>
                      <a:pt x="21" y="329"/>
                    </a:lnTo>
                    <a:lnTo>
                      <a:pt x="22" y="327"/>
                    </a:lnTo>
                    <a:lnTo>
                      <a:pt x="24" y="327"/>
                    </a:lnTo>
                    <a:lnTo>
                      <a:pt x="26" y="327"/>
                    </a:lnTo>
                    <a:lnTo>
                      <a:pt x="26" y="325"/>
                    </a:lnTo>
                    <a:lnTo>
                      <a:pt x="27" y="327"/>
                    </a:lnTo>
                    <a:lnTo>
                      <a:pt x="29" y="325"/>
                    </a:lnTo>
                    <a:lnTo>
                      <a:pt x="29" y="327"/>
                    </a:lnTo>
                    <a:lnTo>
                      <a:pt x="31" y="327"/>
                    </a:lnTo>
                    <a:lnTo>
                      <a:pt x="32" y="327"/>
                    </a:lnTo>
                    <a:lnTo>
                      <a:pt x="36" y="327"/>
                    </a:lnTo>
                    <a:lnTo>
                      <a:pt x="36" y="330"/>
                    </a:lnTo>
                    <a:lnTo>
                      <a:pt x="39" y="332"/>
                    </a:lnTo>
                    <a:lnTo>
                      <a:pt x="43" y="329"/>
                    </a:lnTo>
                    <a:lnTo>
                      <a:pt x="46" y="329"/>
                    </a:lnTo>
                    <a:lnTo>
                      <a:pt x="46" y="325"/>
                    </a:lnTo>
                    <a:lnTo>
                      <a:pt x="49" y="325"/>
                    </a:lnTo>
                    <a:lnTo>
                      <a:pt x="51" y="325"/>
                    </a:lnTo>
                    <a:lnTo>
                      <a:pt x="53" y="325"/>
                    </a:lnTo>
                    <a:lnTo>
                      <a:pt x="55" y="324"/>
                    </a:lnTo>
                    <a:lnTo>
                      <a:pt x="56" y="322"/>
                    </a:lnTo>
                    <a:lnTo>
                      <a:pt x="58" y="320"/>
                    </a:lnTo>
                    <a:lnTo>
                      <a:pt x="60" y="298"/>
                    </a:lnTo>
                    <a:lnTo>
                      <a:pt x="58" y="274"/>
                    </a:lnTo>
                    <a:lnTo>
                      <a:pt x="58" y="269"/>
                    </a:lnTo>
                    <a:lnTo>
                      <a:pt x="63" y="254"/>
                    </a:lnTo>
                    <a:lnTo>
                      <a:pt x="63" y="247"/>
                    </a:lnTo>
                    <a:lnTo>
                      <a:pt x="68" y="242"/>
                    </a:lnTo>
                    <a:lnTo>
                      <a:pt x="70" y="240"/>
                    </a:lnTo>
                    <a:lnTo>
                      <a:pt x="70" y="239"/>
                    </a:lnTo>
                    <a:lnTo>
                      <a:pt x="66" y="228"/>
                    </a:lnTo>
                    <a:lnTo>
                      <a:pt x="68" y="225"/>
                    </a:lnTo>
                    <a:lnTo>
                      <a:pt x="66" y="223"/>
                    </a:lnTo>
                    <a:lnTo>
                      <a:pt x="66" y="218"/>
                    </a:lnTo>
                    <a:lnTo>
                      <a:pt x="72" y="215"/>
                    </a:lnTo>
                    <a:lnTo>
                      <a:pt x="75" y="208"/>
                    </a:lnTo>
                    <a:lnTo>
                      <a:pt x="82" y="203"/>
                    </a:lnTo>
                    <a:lnTo>
                      <a:pt x="87" y="206"/>
                    </a:lnTo>
                    <a:lnTo>
                      <a:pt x="90" y="210"/>
                    </a:lnTo>
                    <a:lnTo>
                      <a:pt x="90" y="213"/>
                    </a:lnTo>
                    <a:lnTo>
                      <a:pt x="92" y="213"/>
                    </a:lnTo>
                    <a:lnTo>
                      <a:pt x="94" y="211"/>
                    </a:lnTo>
                    <a:lnTo>
                      <a:pt x="95" y="211"/>
                    </a:lnTo>
                    <a:lnTo>
                      <a:pt x="100" y="203"/>
                    </a:lnTo>
                    <a:lnTo>
                      <a:pt x="100" y="199"/>
                    </a:lnTo>
                    <a:lnTo>
                      <a:pt x="102" y="189"/>
                    </a:lnTo>
                    <a:lnTo>
                      <a:pt x="100" y="186"/>
                    </a:lnTo>
                    <a:lnTo>
                      <a:pt x="102" y="182"/>
                    </a:lnTo>
                    <a:lnTo>
                      <a:pt x="102" y="181"/>
                    </a:lnTo>
                    <a:lnTo>
                      <a:pt x="106" y="176"/>
                    </a:lnTo>
                    <a:lnTo>
                      <a:pt x="106" y="174"/>
                    </a:lnTo>
                    <a:lnTo>
                      <a:pt x="107" y="171"/>
                    </a:lnTo>
                    <a:lnTo>
                      <a:pt x="107" y="165"/>
                    </a:lnTo>
                    <a:lnTo>
                      <a:pt x="106" y="160"/>
                    </a:lnTo>
                    <a:lnTo>
                      <a:pt x="107" y="157"/>
                    </a:lnTo>
                    <a:lnTo>
                      <a:pt x="116" y="150"/>
                    </a:lnTo>
                    <a:lnTo>
                      <a:pt x="117" y="147"/>
                    </a:lnTo>
                    <a:lnTo>
                      <a:pt x="119" y="145"/>
                    </a:lnTo>
                    <a:lnTo>
                      <a:pt x="119" y="143"/>
                    </a:lnTo>
                    <a:lnTo>
                      <a:pt x="121" y="142"/>
                    </a:lnTo>
                    <a:lnTo>
                      <a:pt x="123" y="138"/>
                    </a:lnTo>
                    <a:lnTo>
                      <a:pt x="124" y="137"/>
                    </a:lnTo>
                    <a:lnTo>
                      <a:pt x="124" y="135"/>
                    </a:lnTo>
                    <a:lnTo>
                      <a:pt x="134" y="116"/>
                    </a:lnTo>
                    <a:lnTo>
                      <a:pt x="138" y="116"/>
                    </a:lnTo>
                    <a:lnTo>
                      <a:pt x="138" y="114"/>
                    </a:lnTo>
                    <a:lnTo>
                      <a:pt x="138" y="113"/>
                    </a:lnTo>
                    <a:lnTo>
                      <a:pt x="140" y="114"/>
                    </a:lnTo>
                    <a:lnTo>
                      <a:pt x="141" y="113"/>
                    </a:lnTo>
                    <a:lnTo>
                      <a:pt x="141" y="114"/>
                    </a:lnTo>
                    <a:lnTo>
                      <a:pt x="153" y="111"/>
                    </a:lnTo>
                    <a:lnTo>
                      <a:pt x="158" y="111"/>
                    </a:lnTo>
                    <a:lnTo>
                      <a:pt x="158" y="113"/>
                    </a:lnTo>
                    <a:lnTo>
                      <a:pt x="162" y="113"/>
                    </a:lnTo>
                    <a:lnTo>
                      <a:pt x="162" y="109"/>
                    </a:lnTo>
                    <a:lnTo>
                      <a:pt x="162" y="102"/>
                    </a:lnTo>
                    <a:lnTo>
                      <a:pt x="160" y="99"/>
                    </a:lnTo>
                    <a:lnTo>
                      <a:pt x="165" y="82"/>
                    </a:lnTo>
                    <a:lnTo>
                      <a:pt x="167" y="80"/>
                    </a:lnTo>
                    <a:lnTo>
                      <a:pt x="172" y="70"/>
                    </a:lnTo>
                    <a:lnTo>
                      <a:pt x="172" y="67"/>
                    </a:lnTo>
                    <a:lnTo>
                      <a:pt x="174" y="60"/>
                    </a:lnTo>
                    <a:lnTo>
                      <a:pt x="179" y="55"/>
                    </a:lnTo>
                    <a:lnTo>
                      <a:pt x="175" y="48"/>
                    </a:lnTo>
                    <a:lnTo>
                      <a:pt x="179" y="43"/>
                    </a:lnTo>
                    <a:lnTo>
                      <a:pt x="180" y="33"/>
                    </a:lnTo>
                    <a:lnTo>
                      <a:pt x="180" y="31"/>
                    </a:lnTo>
                    <a:lnTo>
                      <a:pt x="182" y="31"/>
                    </a:lnTo>
                    <a:lnTo>
                      <a:pt x="185" y="29"/>
                    </a:lnTo>
                    <a:lnTo>
                      <a:pt x="187" y="31"/>
                    </a:lnTo>
                    <a:lnTo>
                      <a:pt x="191" y="29"/>
                    </a:lnTo>
                    <a:lnTo>
                      <a:pt x="196" y="31"/>
                    </a:lnTo>
                    <a:lnTo>
                      <a:pt x="196" y="29"/>
                    </a:lnTo>
                    <a:lnTo>
                      <a:pt x="202" y="31"/>
                    </a:lnTo>
                    <a:lnTo>
                      <a:pt x="204" y="33"/>
                    </a:lnTo>
                    <a:lnTo>
                      <a:pt x="206" y="33"/>
                    </a:lnTo>
                    <a:lnTo>
                      <a:pt x="208" y="33"/>
                    </a:lnTo>
                    <a:lnTo>
                      <a:pt x="209" y="29"/>
                    </a:lnTo>
                    <a:lnTo>
                      <a:pt x="211" y="26"/>
                    </a:lnTo>
                    <a:lnTo>
                      <a:pt x="213" y="24"/>
                    </a:lnTo>
                    <a:lnTo>
                      <a:pt x="214" y="24"/>
                    </a:lnTo>
                    <a:lnTo>
                      <a:pt x="216" y="24"/>
                    </a:lnTo>
                    <a:lnTo>
                      <a:pt x="219" y="24"/>
                    </a:lnTo>
                    <a:lnTo>
                      <a:pt x="221" y="24"/>
                    </a:lnTo>
                    <a:lnTo>
                      <a:pt x="223" y="28"/>
                    </a:lnTo>
                    <a:lnTo>
                      <a:pt x="223" y="29"/>
                    </a:lnTo>
                    <a:lnTo>
                      <a:pt x="225" y="29"/>
                    </a:lnTo>
                    <a:lnTo>
                      <a:pt x="223" y="31"/>
                    </a:lnTo>
                    <a:lnTo>
                      <a:pt x="226" y="33"/>
                    </a:lnTo>
                    <a:lnTo>
                      <a:pt x="228" y="33"/>
                    </a:lnTo>
                    <a:lnTo>
                      <a:pt x="228" y="34"/>
                    </a:lnTo>
                    <a:lnTo>
                      <a:pt x="228" y="36"/>
                    </a:lnTo>
                    <a:lnTo>
                      <a:pt x="230" y="36"/>
                    </a:lnTo>
                    <a:lnTo>
                      <a:pt x="243" y="12"/>
                    </a:lnTo>
                    <a:lnTo>
                      <a:pt x="250" y="0"/>
                    </a:lnTo>
                    <a:lnTo>
                      <a:pt x="252" y="4"/>
                    </a:lnTo>
                    <a:lnTo>
                      <a:pt x="252" y="6"/>
                    </a:lnTo>
                    <a:lnTo>
                      <a:pt x="253" y="6"/>
                    </a:lnTo>
                    <a:lnTo>
                      <a:pt x="253" y="7"/>
                    </a:lnTo>
                    <a:lnTo>
                      <a:pt x="255" y="7"/>
                    </a:lnTo>
                    <a:lnTo>
                      <a:pt x="255" y="9"/>
                    </a:lnTo>
                    <a:lnTo>
                      <a:pt x="257" y="9"/>
                    </a:lnTo>
                    <a:lnTo>
                      <a:pt x="259" y="11"/>
                    </a:lnTo>
                    <a:lnTo>
                      <a:pt x="262" y="12"/>
                    </a:lnTo>
                    <a:lnTo>
                      <a:pt x="264" y="12"/>
                    </a:lnTo>
                    <a:lnTo>
                      <a:pt x="264" y="11"/>
                    </a:lnTo>
                    <a:lnTo>
                      <a:pt x="267" y="12"/>
                    </a:lnTo>
                    <a:lnTo>
                      <a:pt x="267" y="14"/>
                    </a:lnTo>
                    <a:lnTo>
                      <a:pt x="269" y="16"/>
                    </a:lnTo>
                    <a:lnTo>
                      <a:pt x="270" y="16"/>
                    </a:lnTo>
                    <a:lnTo>
                      <a:pt x="272" y="21"/>
                    </a:lnTo>
                    <a:lnTo>
                      <a:pt x="274" y="21"/>
                    </a:lnTo>
                    <a:lnTo>
                      <a:pt x="274" y="23"/>
                    </a:lnTo>
                    <a:lnTo>
                      <a:pt x="276" y="23"/>
                    </a:lnTo>
                    <a:lnTo>
                      <a:pt x="277" y="26"/>
                    </a:lnTo>
                    <a:lnTo>
                      <a:pt x="279" y="24"/>
                    </a:lnTo>
                    <a:lnTo>
                      <a:pt x="281" y="26"/>
                    </a:lnTo>
                    <a:lnTo>
                      <a:pt x="282" y="24"/>
                    </a:lnTo>
                    <a:lnTo>
                      <a:pt x="287" y="24"/>
                    </a:lnTo>
                    <a:lnTo>
                      <a:pt x="289" y="23"/>
                    </a:lnTo>
                    <a:lnTo>
                      <a:pt x="294" y="23"/>
                    </a:lnTo>
                    <a:lnTo>
                      <a:pt x="298" y="21"/>
                    </a:lnTo>
                    <a:lnTo>
                      <a:pt x="299" y="21"/>
                    </a:lnTo>
                    <a:lnTo>
                      <a:pt x="301" y="19"/>
                    </a:lnTo>
                    <a:lnTo>
                      <a:pt x="303" y="19"/>
                    </a:lnTo>
                    <a:lnTo>
                      <a:pt x="306" y="16"/>
                    </a:lnTo>
                    <a:lnTo>
                      <a:pt x="306" y="14"/>
                    </a:lnTo>
                    <a:lnTo>
                      <a:pt x="310" y="14"/>
                    </a:lnTo>
                    <a:lnTo>
                      <a:pt x="313" y="12"/>
                    </a:lnTo>
                    <a:lnTo>
                      <a:pt x="315" y="14"/>
                    </a:lnTo>
                    <a:lnTo>
                      <a:pt x="315" y="16"/>
                    </a:lnTo>
                    <a:lnTo>
                      <a:pt x="315" y="14"/>
                    </a:lnTo>
                    <a:lnTo>
                      <a:pt x="316" y="17"/>
                    </a:lnTo>
                    <a:lnTo>
                      <a:pt x="318" y="21"/>
                    </a:lnTo>
                    <a:lnTo>
                      <a:pt x="316" y="23"/>
                    </a:lnTo>
                    <a:lnTo>
                      <a:pt x="318" y="26"/>
                    </a:lnTo>
                    <a:lnTo>
                      <a:pt x="320" y="23"/>
                    </a:lnTo>
                    <a:lnTo>
                      <a:pt x="323" y="23"/>
                    </a:lnTo>
                    <a:lnTo>
                      <a:pt x="323" y="19"/>
                    </a:lnTo>
                    <a:lnTo>
                      <a:pt x="325" y="19"/>
                    </a:lnTo>
                    <a:lnTo>
                      <a:pt x="325" y="21"/>
                    </a:lnTo>
                    <a:lnTo>
                      <a:pt x="330" y="23"/>
                    </a:lnTo>
                    <a:lnTo>
                      <a:pt x="332" y="21"/>
                    </a:lnTo>
                    <a:lnTo>
                      <a:pt x="330" y="19"/>
                    </a:lnTo>
                    <a:lnTo>
                      <a:pt x="330" y="17"/>
                    </a:lnTo>
                    <a:lnTo>
                      <a:pt x="332" y="17"/>
                    </a:lnTo>
                    <a:lnTo>
                      <a:pt x="332" y="16"/>
                    </a:lnTo>
                    <a:lnTo>
                      <a:pt x="335" y="16"/>
                    </a:lnTo>
                    <a:lnTo>
                      <a:pt x="340" y="16"/>
                    </a:lnTo>
                    <a:lnTo>
                      <a:pt x="340" y="17"/>
                    </a:lnTo>
                    <a:lnTo>
                      <a:pt x="344" y="19"/>
                    </a:lnTo>
                    <a:lnTo>
                      <a:pt x="345" y="21"/>
                    </a:lnTo>
                    <a:lnTo>
                      <a:pt x="349" y="23"/>
                    </a:lnTo>
                    <a:lnTo>
                      <a:pt x="352" y="26"/>
                    </a:lnTo>
                    <a:lnTo>
                      <a:pt x="354" y="24"/>
                    </a:lnTo>
                    <a:lnTo>
                      <a:pt x="355" y="23"/>
                    </a:lnTo>
                    <a:lnTo>
                      <a:pt x="359" y="19"/>
                    </a:lnTo>
                    <a:lnTo>
                      <a:pt x="361" y="19"/>
                    </a:lnTo>
                    <a:lnTo>
                      <a:pt x="362" y="19"/>
                    </a:lnTo>
                    <a:lnTo>
                      <a:pt x="366" y="26"/>
                    </a:lnTo>
                    <a:lnTo>
                      <a:pt x="369" y="26"/>
                    </a:lnTo>
                    <a:lnTo>
                      <a:pt x="378" y="29"/>
                    </a:lnTo>
                    <a:lnTo>
                      <a:pt x="396" y="38"/>
                    </a:lnTo>
                    <a:lnTo>
                      <a:pt x="400" y="40"/>
                    </a:lnTo>
                    <a:lnTo>
                      <a:pt x="403" y="41"/>
                    </a:lnTo>
                    <a:lnTo>
                      <a:pt x="406" y="45"/>
                    </a:lnTo>
                    <a:lnTo>
                      <a:pt x="415" y="60"/>
                    </a:lnTo>
                    <a:lnTo>
                      <a:pt x="422" y="68"/>
                    </a:lnTo>
                    <a:lnTo>
                      <a:pt x="429" y="74"/>
                    </a:lnTo>
                    <a:lnTo>
                      <a:pt x="437" y="77"/>
                    </a:lnTo>
                    <a:lnTo>
                      <a:pt x="442" y="82"/>
                    </a:lnTo>
                    <a:lnTo>
                      <a:pt x="444" y="84"/>
                    </a:lnTo>
                    <a:lnTo>
                      <a:pt x="451" y="94"/>
                    </a:lnTo>
                    <a:lnTo>
                      <a:pt x="456" y="101"/>
                    </a:lnTo>
                    <a:lnTo>
                      <a:pt x="457" y="104"/>
                    </a:lnTo>
                    <a:lnTo>
                      <a:pt x="459" y="106"/>
                    </a:lnTo>
                    <a:lnTo>
                      <a:pt x="468" y="109"/>
                    </a:lnTo>
                    <a:lnTo>
                      <a:pt x="471" y="114"/>
                    </a:lnTo>
                    <a:lnTo>
                      <a:pt x="478" y="123"/>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2" name="Freeform 28">
                <a:extLst>
                  <a:ext uri="{FF2B5EF4-FFF2-40B4-BE49-F238E27FC236}">
                    <a16:creationId xmlns:a16="http://schemas.microsoft.com/office/drawing/2014/main" id="{70E06474-6201-4DF4-87FF-6E44549947CB}"/>
                  </a:ext>
                </a:extLst>
              </p:cNvPr>
              <p:cNvSpPr>
                <a:spLocks noEditPoints="1"/>
              </p:cNvSpPr>
              <p:nvPr/>
            </p:nvSpPr>
            <p:spPr bwMode="gray">
              <a:xfrm>
                <a:off x="5276850" y="3267075"/>
                <a:ext cx="466725" cy="504825"/>
              </a:xfrm>
              <a:custGeom>
                <a:avLst/>
                <a:gdLst>
                  <a:gd name="T0" fmla="*/ 228 w 294"/>
                  <a:gd name="T1" fmla="*/ 17 h 318"/>
                  <a:gd name="T2" fmla="*/ 224 w 294"/>
                  <a:gd name="T3" fmla="*/ 31 h 318"/>
                  <a:gd name="T4" fmla="*/ 226 w 294"/>
                  <a:gd name="T5" fmla="*/ 43 h 318"/>
                  <a:gd name="T6" fmla="*/ 224 w 294"/>
                  <a:gd name="T7" fmla="*/ 55 h 318"/>
                  <a:gd name="T8" fmla="*/ 238 w 294"/>
                  <a:gd name="T9" fmla="*/ 51 h 318"/>
                  <a:gd name="T10" fmla="*/ 250 w 294"/>
                  <a:gd name="T11" fmla="*/ 50 h 318"/>
                  <a:gd name="T12" fmla="*/ 269 w 294"/>
                  <a:gd name="T13" fmla="*/ 45 h 318"/>
                  <a:gd name="T14" fmla="*/ 286 w 294"/>
                  <a:gd name="T15" fmla="*/ 60 h 318"/>
                  <a:gd name="T16" fmla="*/ 287 w 294"/>
                  <a:gd name="T17" fmla="*/ 85 h 318"/>
                  <a:gd name="T18" fmla="*/ 272 w 294"/>
                  <a:gd name="T19" fmla="*/ 92 h 318"/>
                  <a:gd name="T20" fmla="*/ 264 w 294"/>
                  <a:gd name="T21" fmla="*/ 114 h 318"/>
                  <a:gd name="T22" fmla="*/ 267 w 294"/>
                  <a:gd name="T23" fmla="*/ 131 h 318"/>
                  <a:gd name="T24" fmla="*/ 277 w 294"/>
                  <a:gd name="T25" fmla="*/ 140 h 318"/>
                  <a:gd name="T26" fmla="*/ 292 w 294"/>
                  <a:gd name="T27" fmla="*/ 147 h 318"/>
                  <a:gd name="T28" fmla="*/ 292 w 294"/>
                  <a:gd name="T29" fmla="*/ 162 h 318"/>
                  <a:gd name="T30" fmla="*/ 294 w 294"/>
                  <a:gd name="T31" fmla="*/ 181 h 318"/>
                  <a:gd name="T32" fmla="*/ 289 w 294"/>
                  <a:gd name="T33" fmla="*/ 198 h 318"/>
                  <a:gd name="T34" fmla="*/ 289 w 294"/>
                  <a:gd name="T35" fmla="*/ 211 h 318"/>
                  <a:gd name="T36" fmla="*/ 282 w 294"/>
                  <a:gd name="T37" fmla="*/ 225 h 318"/>
                  <a:gd name="T38" fmla="*/ 275 w 294"/>
                  <a:gd name="T39" fmla="*/ 240 h 318"/>
                  <a:gd name="T40" fmla="*/ 264 w 294"/>
                  <a:gd name="T41" fmla="*/ 244 h 318"/>
                  <a:gd name="T42" fmla="*/ 257 w 294"/>
                  <a:gd name="T43" fmla="*/ 223 h 318"/>
                  <a:gd name="T44" fmla="*/ 230 w 294"/>
                  <a:gd name="T45" fmla="*/ 238 h 318"/>
                  <a:gd name="T46" fmla="*/ 214 w 294"/>
                  <a:gd name="T47" fmla="*/ 230 h 318"/>
                  <a:gd name="T48" fmla="*/ 207 w 294"/>
                  <a:gd name="T49" fmla="*/ 215 h 318"/>
                  <a:gd name="T50" fmla="*/ 196 w 294"/>
                  <a:gd name="T51" fmla="*/ 210 h 318"/>
                  <a:gd name="T52" fmla="*/ 189 w 294"/>
                  <a:gd name="T53" fmla="*/ 218 h 318"/>
                  <a:gd name="T54" fmla="*/ 190 w 294"/>
                  <a:gd name="T55" fmla="*/ 233 h 318"/>
                  <a:gd name="T56" fmla="*/ 167 w 294"/>
                  <a:gd name="T57" fmla="*/ 237 h 318"/>
                  <a:gd name="T58" fmla="*/ 148 w 294"/>
                  <a:gd name="T59" fmla="*/ 235 h 318"/>
                  <a:gd name="T60" fmla="*/ 145 w 294"/>
                  <a:gd name="T61" fmla="*/ 262 h 318"/>
                  <a:gd name="T62" fmla="*/ 165 w 294"/>
                  <a:gd name="T63" fmla="*/ 283 h 318"/>
                  <a:gd name="T64" fmla="*/ 145 w 294"/>
                  <a:gd name="T65" fmla="*/ 291 h 318"/>
                  <a:gd name="T66" fmla="*/ 117 w 294"/>
                  <a:gd name="T67" fmla="*/ 313 h 318"/>
                  <a:gd name="T68" fmla="*/ 85 w 294"/>
                  <a:gd name="T69" fmla="*/ 273 h 318"/>
                  <a:gd name="T70" fmla="*/ 27 w 294"/>
                  <a:gd name="T71" fmla="*/ 213 h 318"/>
                  <a:gd name="T72" fmla="*/ 9 w 294"/>
                  <a:gd name="T73" fmla="*/ 170 h 318"/>
                  <a:gd name="T74" fmla="*/ 5 w 294"/>
                  <a:gd name="T75" fmla="*/ 157 h 318"/>
                  <a:gd name="T76" fmla="*/ 12 w 294"/>
                  <a:gd name="T77" fmla="*/ 155 h 318"/>
                  <a:gd name="T78" fmla="*/ 22 w 294"/>
                  <a:gd name="T79" fmla="*/ 147 h 318"/>
                  <a:gd name="T80" fmla="*/ 34 w 294"/>
                  <a:gd name="T81" fmla="*/ 102 h 318"/>
                  <a:gd name="T82" fmla="*/ 41 w 294"/>
                  <a:gd name="T83" fmla="*/ 109 h 318"/>
                  <a:gd name="T84" fmla="*/ 56 w 294"/>
                  <a:gd name="T85" fmla="*/ 118 h 318"/>
                  <a:gd name="T86" fmla="*/ 63 w 294"/>
                  <a:gd name="T87" fmla="*/ 109 h 318"/>
                  <a:gd name="T88" fmla="*/ 54 w 294"/>
                  <a:gd name="T89" fmla="*/ 109 h 318"/>
                  <a:gd name="T90" fmla="*/ 41 w 294"/>
                  <a:gd name="T91" fmla="*/ 102 h 318"/>
                  <a:gd name="T92" fmla="*/ 38 w 294"/>
                  <a:gd name="T93" fmla="*/ 85 h 318"/>
                  <a:gd name="T94" fmla="*/ 43 w 294"/>
                  <a:gd name="T95" fmla="*/ 89 h 318"/>
                  <a:gd name="T96" fmla="*/ 46 w 294"/>
                  <a:gd name="T97" fmla="*/ 90 h 318"/>
                  <a:gd name="T98" fmla="*/ 53 w 294"/>
                  <a:gd name="T99" fmla="*/ 63 h 318"/>
                  <a:gd name="T100" fmla="*/ 65 w 294"/>
                  <a:gd name="T101" fmla="*/ 67 h 318"/>
                  <a:gd name="T102" fmla="*/ 134 w 294"/>
                  <a:gd name="T103" fmla="*/ 5 h 318"/>
                  <a:gd name="T104" fmla="*/ 158 w 294"/>
                  <a:gd name="T105" fmla="*/ 2 h 318"/>
                  <a:gd name="T106" fmla="*/ 189 w 294"/>
                  <a:gd name="T107" fmla="*/ 4 h 318"/>
                  <a:gd name="T108" fmla="*/ 213 w 294"/>
                  <a:gd name="T109" fmla="*/ 4 h 318"/>
                  <a:gd name="T110" fmla="*/ 231 w 294"/>
                  <a:gd name="T111" fmla="*/ 4 h 318"/>
                  <a:gd name="T112" fmla="*/ 61 w 294"/>
                  <a:gd name="T113" fmla="*/ 107 h 318"/>
                  <a:gd name="T114" fmla="*/ 60 w 294"/>
                  <a:gd name="T115" fmla="*/ 10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 h="318">
                    <a:moveTo>
                      <a:pt x="233" y="7"/>
                    </a:moveTo>
                    <a:lnTo>
                      <a:pt x="231" y="9"/>
                    </a:lnTo>
                    <a:lnTo>
                      <a:pt x="233" y="9"/>
                    </a:lnTo>
                    <a:lnTo>
                      <a:pt x="231" y="9"/>
                    </a:lnTo>
                    <a:lnTo>
                      <a:pt x="233" y="11"/>
                    </a:lnTo>
                    <a:lnTo>
                      <a:pt x="233" y="12"/>
                    </a:lnTo>
                    <a:lnTo>
                      <a:pt x="231" y="14"/>
                    </a:lnTo>
                    <a:lnTo>
                      <a:pt x="230" y="16"/>
                    </a:lnTo>
                    <a:lnTo>
                      <a:pt x="228" y="17"/>
                    </a:lnTo>
                    <a:lnTo>
                      <a:pt x="228" y="19"/>
                    </a:lnTo>
                    <a:lnTo>
                      <a:pt x="224" y="22"/>
                    </a:lnTo>
                    <a:lnTo>
                      <a:pt x="226" y="22"/>
                    </a:lnTo>
                    <a:lnTo>
                      <a:pt x="228" y="24"/>
                    </a:lnTo>
                    <a:lnTo>
                      <a:pt x="226" y="26"/>
                    </a:lnTo>
                    <a:lnTo>
                      <a:pt x="226" y="28"/>
                    </a:lnTo>
                    <a:lnTo>
                      <a:pt x="226" y="29"/>
                    </a:lnTo>
                    <a:lnTo>
                      <a:pt x="224" y="29"/>
                    </a:lnTo>
                    <a:lnTo>
                      <a:pt x="224" y="31"/>
                    </a:lnTo>
                    <a:lnTo>
                      <a:pt x="224" y="36"/>
                    </a:lnTo>
                    <a:lnTo>
                      <a:pt x="224" y="38"/>
                    </a:lnTo>
                    <a:lnTo>
                      <a:pt x="223" y="38"/>
                    </a:lnTo>
                    <a:lnTo>
                      <a:pt x="224" y="38"/>
                    </a:lnTo>
                    <a:lnTo>
                      <a:pt x="224" y="39"/>
                    </a:lnTo>
                    <a:lnTo>
                      <a:pt x="224" y="41"/>
                    </a:lnTo>
                    <a:lnTo>
                      <a:pt x="226" y="39"/>
                    </a:lnTo>
                    <a:lnTo>
                      <a:pt x="226" y="41"/>
                    </a:lnTo>
                    <a:lnTo>
                      <a:pt x="226" y="43"/>
                    </a:lnTo>
                    <a:lnTo>
                      <a:pt x="228" y="43"/>
                    </a:lnTo>
                    <a:lnTo>
                      <a:pt x="230" y="46"/>
                    </a:lnTo>
                    <a:lnTo>
                      <a:pt x="230" y="48"/>
                    </a:lnTo>
                    <a:lnTo>
                      <a:pt x="230" y="50"/>
                    </a:lnTo>
                    <a:lnTo>
                      <a:pt x="231" y="50"/>
                    </a:lnTo>
                    <a:lnTo>
                      <a:pt x="228" y="53"/>
                    </a:lnTo>
                    <a:lnTo>
                      <a:pt x="226" y="51"/>
                    </a:lnTo>
                    <a:lnTo>
                      <a:pt x="226" y="55"/>
                    </a:lnTo>
                    <a:lnTo>
                      <a:pt x="224" y="55"/>
                    </a:lnTo>
                    <a:lnTo>
                      <a:pt x="226" y="56"/>
                    </a:lnTo>
                    <a:lnTo>
                      <a:pt x="231" y="55"/>
                    </a:lnTo>
                    <a:lnTo>
                      <a:pt x="233" y="56"/>
                    </a:lnTo>
                    <a:lnTo>
                      <a:pt x="233" y="55"/>
                    </a:lnTo>
                    <a:lnTo>
                      <a:pt x="233" y="53"/>
                    </a:lnTo>
                    <a:lnTo>
                      <a:pt x="235" y="55"/>
                    </a:lnTo>
                    <a:lnTo>
                      <a:pt x="236" y="53"/>
                    </a:lnTo>
                    <a:lnTo>
                      <a:pt x="238" y="53"/>
                    </a:lnTo>
                    <a:lnTo>
                      <a:pt x="238" y="51"/>
                    </a:lnTo>
                    <a:lnTo>
                      <a:pt x="240" y="51"/>
                    </a:lnTo>
                    <a:lnTo>
                      <a:pt x="240" y="53"/>
                    </a:lnTo>
                    <a:lnTo>
                      <a:pt x="240" y="51"/>
                    </a:lnTo>
                    <a:lnTo>
                      <a:pt x="241" y="53"/>
                    </a:lnTo>
                    <a:lnTo>
                      <a:pt x="243" y="53"/>
                    </a:lnTo>
                    <a:lnTo>
                      <a:pt x="245" y="53"/>
                    </a:lnTo>
                    <a:lnTo>
                      <a:pt x="247" y="51"/>
                    </a:lnTo>
                    <a:lnTo>
                      <a:pt x="248" y="50"/>
                    </a:lnTo>
                    <a:lnTo>
                      <a:pt x="250" y="50"/>
                    </a:lnTo>
                    <a:lnTo>
                      <a:pt x="253" y="50"/>
                    </a:lnTo>
                    <a:lnTo>
                      <a:pt x="255" y="48"/>
                    </a:lnTo>
                    <a:lnTo>
                      <a:pt x="255" y="50"/>
                    </a:lnTo>
                    <a:lnTo>
                      <a:pt x="257" y="48"/>
                    </a:lnTo>
                    <a:lnTo>
                      <a:pt x="257" y="46"/>
                    </a:lnTo>
                    <a:lnTo>
                      <a:pt x="258" y="46"/>
                    </a:lnTo>
                    <a:lnTo>
                      <a:pt x="258" y="45"/>
                    </a:lnTo>
                    <a:lnTo>
                      <a:pt x="267" y="46"/>
                    </a:lnTo>
                    <a:lnTo>
                      <a:pt x="269" y="45"/>
                    </a:lnTo>
                    <a:lnTo>
                      <a:pt x="272" y="48"/>
                    </a:lnTo>
                    <a:lnTo>
                      <a:pt x="274" y="46"/>
                    </a:lnTo>
                    <a:lnTo>
                      <a:pt x="277" y="46"/>
                    </a:lnTo>
                    <a:lnTo>
                      <a:pt x="277" y="48"/>
                    </a:lnTo>
                    <a:lnTo>
                      <a:pt x="282" y="50"/>
                    </a:lnTo>
                    <a:lnTo>
                      <a:pt x="284" y="51"/>
                    </a:lnTo>
                    <a:lnTo>
                      <a:pt x="282" y="55"/>
                    </a:lnTo>
                    <a:lnTo>
                      <a:pt x="284" y="56"/>
                    </a:lnTo>
                    <a:lnTo>
                      <a:pt x="286" y="60"/>
                    </a:lnTo>
                    <a:lnTo>
                      <a:pt x="287" y="62"/>
                    </a:lnTo>
                    <a:lnTo>
                      <a:pt x="289" y="68"/>
                    </a:lnTo>
                    <a:lnTo>
                      <a:pt x="292" y="70"/>
                    </a:lnTo>
                    <a:lnTo>
                      <a:pt x="292" y="73"/>
                    </a:lnTo>
                    <a:lnTo>
                      <a:pt x="291" y="73"/>
                    </a:lnTo>
                    <a:lnTo>
                      <a:pt x="292" y="75"/>
                    </a:lnTo>
                    <a:lnTo>
                      <a:pt x="286" y="82"/>
                    </a:lnTo>
                    <a:lnTo>
                      <a:pt x="286" y="84"/>
                    </a:lnTo>
                    <a:lnTo>
                      <a:pt x="287" y="85"/>
                    </a:lnTo>
                    <a:lnTo>
                      <a:pt x="282" y="87"/>
                    </a:lnTo>
                    <a:lnTo>
                      <a:pt x="282" y="89"/>
                    </a:lnTo>
                    <a:lnTo>
                      <a:pt x="282" y="90"/>
                    </a:lnTo>
                    <a:lnTo>
                      <a:pt x="279" y="90"/>
                    </a:lnTo>
                    <a:lnTo>
                      <a:pt x="279" y="89"/>
                    </a:lnTo>
                    <a:lnTo>
                      <a:pt x="277" y="90"/>
                    </a:lnTo>
                    <a:lnTo>
                      <a:pt x="275" y="89"/>
                    </a:lnTo>
                    <a:lnTo>
                      <a:pt x="272" y="90"/>
                    </a:lnTo>
                    <a:lnTo>
                      <a:pt x="272" y="92"/>
                    </a:lnTo>
                    <a:lnTo>
                      <a:pt x="272" y="94"/>
                    </a:lnTo>
                    <a:lnTo>
                      <a:pt x="270" y="96"/>
                    </a:lnTo>
                    <a:lnTo>
                      <a:pt x="267" y="99"/>
                    </a:lnTo>
                    <a:lnTo>
                      <a:pt x="265" y="101"/>
                    </a:lnTo>
                    <a:lnTo>
                      <a:pt x="265" y="104"/>
                    </a:lnTo>
                    <a:lnTo>
                      <a:pt x="262" y="106"/>
                    </a:lnTo>
                    <a:lnTo>
                      <a:pt x="262" y="107"/>
                    </a:lnTo>
                    <a:lnTo>
                      <a:pt x="264" y="111"/>
                    </a:lnTo>
                    <a:lnTo>
                      <a:pt x="264" y="114"/>
                    </a:lnTo>
                    <a:lnTo>
                      <a:pt x="265" y="116"/>
                    </a:lnTo>
                    <a:lnTo>
                      <a:pt x="265" y="118"/>
                    </a:lnTo>
                    <a:lnTo>
                      <a:pt x="267" y="118"/>
                    </a:lnTo>
                    <a:lnTo>
                      <a:pt x="269" y="119"/>
                    </a:lnTo>
                    <a:lnTo>
                      <a:pt x="269" y="123"/>
                    </a:lnTo>
                    <a:lnTo>
                      <a:pt x="264" y="125"/>
                    </a:lnTo>
                    <a:lnTo>
                      <a:pt x="264" y="126"/>
                    </a:lnTo>
                    <a:lnTo>
                      <a:pt x="265" y="130"/>
                    </a:lnTo>
                    <a:lnTo>
                      <a:pt x="267" y="131"/>
                    </a:lnTo>
                    <a:lnTo>
                      <a:pt x="267" y="130"/>
                    </a:lnTo>
                    <a:lnTo>
                      <a:pt x="269" y="131"/>
                    </a:lnTo>
                    <a:lnTo>
                      <a:pt x="270" y="130"/>
                    </a:lnTo>
                    <a:lnTo>
                      <a:pt x="270" y="131"/>
                    </a:lnTo>
                    <a:lnTo>
                      <a:pt x="272" y="130"/>
                    </a:lnTo>
                    <a:lnTo>
                      <a:pt x="274" y="131"/>
                    </a:lnTo>
                    <a:lnTo>
                      <a:pt x="275" y="131"/>
                    </a:lnTo>
                    <a:lnTo>
                      <a:pt x="277" y="136"/>
                    </a:lnTo>
                    <a:lnTo>
                      <a:pt x="277" y="140"/>
                    </a:lnTo>
                    <a:lnTo>
                      <a:pt x="279" y="140"/>
                    </a:lnTo>
                    <a:lnTo>
                      <a:pt x="282" y="142"/>
                    </a:lnTo>
                    <a:lnTo>
                      <a:pt x="284" y="140"/>
                    </a:lnTo>
                    <a:lnTo>
                      <a:pt x="287" y="142"/>
                    </a:lnTo>
                    <a:lnTo>
                      <a:pt x="289" y="142"/>
                    </a:lnTo>
                    <a:lnTo>
                      <a:pt x="291" y="143"/>
                    </a:lnTo>
                    <a:lnTo>
                      <a:pt x="289" y="145"/>
                    </a:lnTo>
                    <a:lnTo>
                      <a:pt x="291" y="145"/>
                    </a:lnTo>
                    <a:lnTo>
                      <a:pt x="292" y="147"/>
                    </a:lnTo>
                    <a:lnTo>
                      <a:pt x="292" y="148"/>
                    </a:lnTo>
                    <a:lnTo>
                      <a:pt x="294" y="148"/>
                    </a:lnTo>
                    <a:lnTo>
                      <a:pt x="294" y="150"/>
                    </a:lnTo>
                    <a:lnTo>
                      <a:pt x="294" y="152"/>
                    </a:lnTo>
                    <a:lnTo>
                      <a:pt x="291" y="155"/>
                    </a:lnTo>
                    <a:lnTo>
                      <a:pt x="292" y="157"/>
                    </a:lnTo>
                    <a:lnTo>
                      <a:pt x="291" y="159"/>
                    </a:lnTo>
                    <a:lnTo>
                      <a:pt x="292" y="160"/>
                    </a:lnTo>
                    <a:lnTo>
                      <a:pt x="292" y="162"/>
                    </a:lnTo>
                    <a:lnTo>
                      <a:pt x="289" y="165"/>
                    </a:lnTo>
                    <a:lnTo>
                      <a:pt x="291" y="165"/>
                    </a:lnTo>
                    <a:lnTo>
                      <a:pt x="291" y="167"/>
                    </a:lnTo>
                    <a:lnTo>
                      <a:pt x="289" y="170"/>
                    </a:lnTo>
                    <a:lnTo>
                      <a:pt x="291" y="170"/>
                    </a:lnTo>
                    <a:lnTo>
                      <a:pt x="292" y="174"/>
                    </a:lnTo>
                    <a:lnTo>
                      <a:pt x="291" y="177"/>
                    </a:lnTo>
                    <a:lnTo>
                      <a:pt x="292" y="179"/>
                    </a:lnTo>
                    <a:lnTo>
                      <a:pt x="294" y="181"/>
                    </a:lnTo>
                    <a:lnTo>
                      <a:pt x="292" y="184"/>
                    </a:lnTo>
                    <a:lnTo>
                      <a:pt x="291" y="186"/>
                    </a:lnTo>
                    <a:lnTo>
                      <a:pt x="294" y="189"/>
                    </a:lnTo>
                    <a:lnTo>
                      <a:pt x="292" y="193"/>
                    </a:lnTo>
                    <a:lnTo>
                      <a:pt x="292" y="194"/>
                    </a:lnTo>
                    <a:lnTo>
                      <a:pt x="291" y="194"/>
                    </a:lnTo>
                    <a:lnTo>
                      <a:pt x="292" y="196"/>
                    </a:lnTo>
                    <a:lnTo>
                      <a:pt x="291" y="196"/>
                    </a:lnTo>
                    <a:lnTo>
                      <a:pt x="289" y="198"/>
                    </a:lnTo>
                    <a:lnTo>
                      <a:pt x="287" y="199"/>
                    </a:lnTo>
                    <a:lnTo>
                      <a:pt x="289" y="201"/>
                    </a:lnTo>
                    <a:lnTo>
                      <a:pt x="289" y="203"/>
                    </a:lnTo>
                    <a:lnTo>
                      <a:pt x="291" y="203"/>
                    </a:lnTo>
                    <a:lnTo>
                      <a:pt x="292" y="203"/>
                    </a:lnTo>
                    <a:lnTo>
                      <a:pt x="289" y="206"/>
                    </a:lnTo>
                    <a:lnTo>
                      <a:pt x="289" y="208"/>
                    </a:lnTo>
                    <a:lnTo>
                      <a:pt x="291" y="208"/>
                    </a:lnTo>
                    <a:lnTo>
                      <a:pt x="289" y="211"/>
                    </a:lnTo>
                    <a:lnTo>
                      <a:pt x="289" y="213"/>
                    </a:lnTo>
                    <a:lnTo>
                      <a:pt x="287" y="215"/>
                    </a:lnTo>
                    <a:lnTo>
                      <a:pt x="284" y="216"/>
                    </a:lnTo>
                    <a:lnTo>
                      <a:pt x="282" y="218"/>
                    </a:lnTo>
                    <a:lnTo>
                      <a:pt x="281" y="218"/>
                    </a:lnTo>
                    <a:lnTo>
                      <a:pt x="281" y="220"/>
                    </a:lnTo>
                    <a:lnTo>
                      <a:pt x="282" y="221"/>
                    </a:lnTo>
                    <a:lnTo>
                      <a:pt x="281" y="223"/>
                    </a:lnTo>
                    <a:lnTo>
                      <a:pt x="282" y="225"/>
                    </a:lnTo>
                    <a:lnTo>
                      <a:pt x="279" y="227"/>
                    </a:lnTo>
                    <a:lnTo>
                      <a:pt x="279" y="228"/>
                    </a:lnTo>
                    <a:lnTo>
                      <a:pt x="275" y="230"/>
                    </a:lnTo>
                    <a:lnTo>
                      <a:pt x="277" y="232"/>
                    </a:lnTo>
                    <a:lnTo>
                      <a:pt x="277" y="233"/>
                    </a:lnTo>
                    <a:lnTo>
                      <a:pt x="281" y="237"/>
                    </a:lnTo>
                    <a:lnTo>
                      <a:pt x="279" y="237"/>
                    </a:lnTo>
                    <a:lnTo>
                      <a:pt x="275" y="238"/>
                    </a:lnTo>
                    <a:lnTo>
                      <a:pt x="275" y="240"/>
                    </a:lnTo>
                    <a:lnTo>
                      <a:pt x="275" y="242"/>
                    </a:lnTo>
                    <a:lnTo>
                      <a:pt x="274" y="244"/>
                    </a:lnTo>
                    <a:lnTo>
                      <a:pt x="274" y="245"/>
                    </a:lnTo>
                    <a:lnTo>
                      <a:pt x="272" y="244"/>
                    </a:lnTo>
                    <a:lnTo>
                      <a:pt x="270" y="244"/>
                    </a:lnTo>
                    <a:lnTo>
                      <a:pt x="269" y="244"/>
                    </a:lnTo>
                    <a:lnTo>
                      <a:pt x="267" y="242"/>
                    </a:lnTo>
                    <a:lnTo>
                      <a:pt x="265" y="242"/>
                    </a:lnTo>
                    <a:lnTo>
                      <a:pt x="264" y="244"/>
                    </a:lnTo>
                    <a:lnTo>
                      <a:pt x="262" y="244"/>
                    </a:lnTo>
                    <a:lnTo>
                      <a:pt x="262" y="240"/>
                    </a:lnTo>
                    <a:lnTo>
                      <a:pt x="265" y="237"/>
                    </a:lnTo>
                    <a:lnTo>
                      <a:pt x="262" y="235"/>
                    </a:lnTo>
                    <a:lnTo>
                      <a:pt x="262" y="233"/>
                    </a:lnTo>
                    <a:lnTo>
                      <a:pt x="260" y="232"/>
                    </a:lnTo>
                    <a:lnTo>
                      <a:pt x="258" y="227"/>
                    </a:lnTo>
                    <a:lnTo>
                      <a:pt x="257" y="225"/>
                    </a:lnTo>
                    <a:lnTo>
                      <a:pt x="257" y="223"/>
                    </a:lnTo>
                    <a:lnTo>
                      <a:pt x="255" y="225"/>
                    </a:lnTo>
                    <a:lnTo>
                      <a:pt x="253" y="230"/>
                    </a:lnTo>
                    <a:lnTo>
                      <a:pt x="248" y="235"/>
                    </a:lnTo>
                    <a:lnTo>
                      <a:pt x="247" y="237"/>
                    </a:lnTo>
                    <a:lnTo>
                      <a:pt x="241" y="240"/>
                    </a:lnTo>
                    <a:lnTo>
                      <a:pt x="240" y="240"/>
                    </a:lnTo>
                    <a:lnTo>
                      <a:pt x="236" y="240"/>
                    </a:lnTo>
                    <a:lnTo>
                      <a:pt x="235" y="238"/>
                    </a:lnTo>
                    <a:lnTo>
                      <a:pt x="230" y="238"/>
                    </a:lnTo>
                    <a:lnTo>
                      <a:pt x="228" y="237"/>
                    </a:lnTo>
                    <a:lnTo>
                      <a:pt x="224" y="238"/>
                    </a:lnTo>
                    <a:lnTo>
                      <a:pt x="219" y="235"/>
                    </a:lnTo>
                    <a:lnTo>
                      <a:pt x="218" y="238"/>
                    </a:lnTo>
                    <a:lnTo>
                      <a:pt x="218" y="235"/>
                    </a:lnTo>
                    <a:lnTo>
                      <a:pt x="219" y="233"/>
                    </a:lnTo>
                    <a:lnTo>
                      <a:pt x="218" y="233"/>
                    </a:lnTo>
                    <a:lnTo>
                      <a:pt x="216" y="228"/>
                    </a:lnTo>
                    <a:lnTo>
                      <a:pt x="214" y="230"/>
                    </a:lnTo>
                    <a:lnTo>
                      <a:pt x="214" y="228"/>
                    </a:lnTo>
                    <a:lnTo>
                      <a:pt x="213" y="227"/>
                    </a:lnTo>
                    <a:lnTo>
                      <a:pt x="213" y="225"/>
                    </a:lnTo>
                    <a:lnTo>
                      <a:pt x="211" y="223"/>
                    </a:lnTo>
                    <a:lnTo>
                      <a:pt x="213" y="223"/>
                    </a:lnTo>
                    <a:lnTo>
                      <a:pt x="211" y="221"/>
                    </a:lnTo>
                    <a:lnTo>
                      <a:pt x="209" y="218"/>
                    </a:lnTo>
                    <a:lnTo>
                      <a:pt x="209" y="216"/>
                    </a:lnTo>
                    <a:lnTo>
                      <a:pt x="207" y="215"/>
                    </a:lnTo>
                    <a:lnTo>
                      <a:pt x="209" y="215"/>
                    </a:lnTo>
                    <a:lnTo>
                      <a:pt x="207" y="215"/>
                    </a:lnTo>
                    <a:lnTo>
                      <a:pt x="206" y="213"/>
                    </a:lnTo>
                    <a:lnTo>
                      <a:pt x="204" y="215"/>
                    </a:lnTo>
                    <a:lnTo>
                      <a:pt x="202" y="211"/>
                    </a:lnTo>
                    <a:lnTo>
                      <a:pt x="201" y="211"/>
                    </a:lnTo>
                    <a:lnTo>
                      <a:pt x="199" y="210"/>
                    </a:lnTo>
                    <a:lnTo>
                      <a:pt x="197" y="210"/>
                    </a:lnTo>
                    <a:lnTo>
                      <a:pt x="196" y="210"/>
                    </a:lnTo>
                    <a:lnTo>
                      <a:pt x="196" y="211"/>
                    </a:lnTo>
                    <a:lnTo>
                      <a:pt x="194" y="213"/>
                    </a:lnTo>
                    <a:lnTo>
                      <a:pt x="194" y="215"/>
                    </a:lnTo>
                    <a:lnTo>
                      <a:pt x="192" y="215"/>
                    </a:lnTo>
                    <a:lnTo>
                      <a:pt x="190" y="213"/>
                    </a:lnTo>
                    <a:lnTo>
                      <a:pt x="189" y="213"/>
                    </a:lnTo>
                    <a:lnTo>
                      <a:pt x="189" y="215"/>
                    </a:lnTo>
                    <a:lnTo>
                      <a:pt x="190" y="216"/>
                    </a:lnTo>
                    <a:lnTo>
                      <a:pt x="189" y="218"/>
                    </a:lnTo>
                    <a:lnTo>
                      <a:pt x="190" y="220"/>
                    </a:lnTo>
                    <a:lnTo>
                      <a:pt x="189" y="221"/>
                    </a:lnTo>
                    <a:lnTo>
                      <a:pt x="192" y="225"/>
                    </a:lnTo>
                    <a:lnTo>
                      <a:pt x="190" y="227"/>
                    </a:lnTo>
                    <a:lnTo>
                      <a:pt x="192" y="228"/>
                    </a:lnTo>
                    <a:lnTo>
                      <a:pt x="190" y="230"/>
                    </a:lnTo>
                    <a:lnTo>
                      <a:pt x="192" y="230"/>
                    </a:lnTo>
                    <a:lnTo>
                      <a:pt x="190" y="232"/>
                    </a:lnTo>
                    <a:lnTo>
                      <a:pt x="190" y="233"/>
                    </a:lnTo>
                    <a:lnTo>
                      <a:pt x="190" y="235"/>
                    </a:lnTo>
                    <a:lnTo>
                      <a:pt x="190" y="237"/>
                    </a:lnTo>
                    <a:lnTo>
                      <a:pt x="192" y="235"/>
                    </a:lnTo>
                    <a:lnTo>
                      <a:pt x="192" y="237"/>
                    </a:lnTo>
                    <a:lnTo>
                      <a:pt x="192" y="238"/>
                    </a:lnTo>
                    <a:lnTo>
                      <a:pt x="192" y="240"/>
                    </a:lnTo>
                    <a:lnTo>
                      <a:pt x="173" y="240"/>
                    </a:lnTo>
                    <a:lnTo>
                      <a:pt x="168" y="240"/>
                    </a:lnTo>
                    <a:lnTo>
                      <a:pt x="167" y="237"/>
                    </a:lnTo>
                    <a:lnTo>
                      <a:pt x="165" y="235"/>
                    </a:lnTo>
                    <a:lnTo>
                      <a:pt x="162" y="237"/>
                    </a:lnTo>
                    <a:lnTo>
                      <a:pt x="156" y="238"/>
                    </a:lnTo>
                    <a:lnTo>
                      <a:pt x="153" y="242"/>
                    </a:lnTo>
                    <a:lnTo>
                      <a:pt x="153" y="240"/>
                    </a:lnTo>
                    <a:lnTo>
                      <a:pt x="151" y="240"/>
                    </a:lnTo>
                    <a:lnTo>
                      <a:pt x="150" y="237"/>
                    </a:lnTo>
                    <a:lnTo>
                      <a:pt x="148" y="237"/>
                    </a:lnTo>
                    <a:lnTo>
                      <a:pt x="148" y="235"/>
                    </a:lnTo>
                    <a:lnTo>
                      <a:pt x="146" y="237"/>
                    </a:lnTo>
                    <a:lnTo>
                      <a:pt x="145" y="237"/>
                    </a:lnTo>
                    <a:lnTo>
                      <a:pt x="146" y="238"/>
                    </a:lnTo>
                    <a:lnTo>
                      <a:pt x="146" y="245"/>
                    </a:lnTo>
                    <a:lnTo>
                      <a:pt x="150" y="250"/>
                    </a:lnTo>
                    <a:lnTo>
                      <a:pt x="148" y="255"/>
                    </a:lnTo>
                    <a:lnTo>
                      <a:pt x="145" y="261"/>
                    </a:lnTo>
                    <a:lnTo>
                      <a:pt x="143" y="262"/>
                    </a:lnTo>
                    <a:lnTo>
                      <a:pt x="145" y="262"/>
                    </a:lnTo>
                    <a:lnTo>
                      <a:pt x="146" y="264"/>
                    </a:lnTo>
                    <a:lnTo>
                      <a:pt x="148" y="259"/>
                    </a:lnTo>
                    <a:lnTo>
                      <a:pt x="150" y="261"/>
                    </a:lnTo>
                    <a:lnTo>
                      <a:pt x="153" y="266"/>
                    </a:lnTo>
                    <a:lnTo>
                      <a:pt x="156" y="271"/>
                    </a:lnTo>
                    <a:lnTo>
                      <a:pt x="153" y="273"/>
                    </a:lnTo>
                    <a:lnTo>
                      <a:pt x="153" y="276"/>
                    </a:lnTo>
                    <a:lnTo>
                      <a:pt x="160" y="281"/>
                    </a:lnTo>
                    <a:lnTo>
                      <a:pt x="165" y="283"/>
                    </a:lnTo>
                    <a:lnTo>
                      <a:pt x="165" y="291"/>
                    </a:lnTo>
                    <a:lnTo>
                      <a:pt x="163" y="295"/>
                    </a:lnTo>
                    <a:lnTo>
                      <a:pt x="160" y="295"/>
                    </a:lnTo>
                    <a:lnTo>
                      <a:pt x="160" y="298"/>
                    </a:lnTo>
                    <a:lnTo>
                      <a:pt x="163" y="303"/>
                    </a:lnTo>
                    <a:lnTo>
                      <a:pt x="158" y="307"/>
                    </a:lnTo>
                    <a:lnTo>
                      <a:pt x="153" y="303"/>
                    </a:lnTo>
                    <a:lnTo>
                      <a:pt x="150" y="296"/>
                    </a:lnTo>
                    <a:lnTo>
                      <a:pt x="145" y="291"/>
                    </a:lnTo>
                    <a:lnTo>
                      <a:pt x="141" y="291"/>
                    </a:lnTo>
                    <a:lnTo>
                      <a:pt x="139" y="298"/>
                    </a:lnTo>
                    <a:lnTo>
                      <a:pt x="138" y="300"/>
                    </a:lnTo>
                    <a:lnTo>
                      <a:pt x="133" y="300"/>
                    </a:lnTo>
                    <a:lnTo>
                      <a:pt x="128" y="305"/>
                    </a:lnTo>
                    <a:lnTo>
                      <a:pt x="126" y="308"/>
                    </a:lnTo>
                    <a:lnTo>
                      <a:pt x="128" y="312"/>
                    </a:lnTo>
                    <a:lnTo>
                      <a:pt x="122" y="318"/>
                    </a:lnTo>
                    <a:lnTo>
                      <a:pt x="117" y="313"/>
                    </a:lnTo>
                    <a:lnTo>
                      <a:pt x="116" y="312"/>
                    </a:lnTo>
                    <a:lnTo>
                      <a:pt x="117" y="310"/>
                    </a:lnTo>
                    <a:lnTo>
                      <a:pt x="112" y="303"/>
                    </a:lnTo>
                    <a:lnTo>
                      <a:pt x="97" y="291"/>
                    </a:lnTo>
                    <a:lnTo>
                      <a:pt x="99" y="290"/>
                    </a:lnTo>
                    <a:lnTo>
                      <a:pt x="99" y="286"/>
                    </a:lnTo>
                    <a:lnTo>
                      <a:pt x="94" y="283"/>
                    </a:lnTo>
                    <a:lnTo>
                      <a:pt x="92" y="281"/>
                    </a:lnTo>
                    <a:lnTo>
                      <a:pt x="85" y="273"/>
                    </a:lnTo>
                    <a:lnTo>
                      <a:pt x="78" y="267"/>
                    </a:lnTo>
                    <a:lnTo>
                      <a:pt x="73" y="264"/>
                    </a:lnTo>
                    <a:lnTo>
                      <a:pt x="60" y="254"/>
                    </a:lnTo>
                    <a:lnTo>
                      <a:pt x="58" y="252"/>
                    </a:lnTo>
                    <a:lnTo>
                      <a:pt x="46" y="240"/>
                    </a:lnTo>
                    <a:lnTo>
                      <a:pt x="44" y="237"/>
                    </a:lnTo>
                    <a:lnTo>
                      <a:pt x="44" y="230"/>
                    </a:lnTo>
                    <a:lnTo>
                      <a:pt x="29" y="215"/>
                    </a:lnTo>
                    <a:lnTo>
                      <a:pt x="27" y="213"/>
                    </a:lnTo>
                    <a:lnTo>
                      <a:pt x="27" y="210"/>
                    </a:lnTo>
                    <a:lnTo>
                      <a:pt x="29" y="208"/>
                    </a:lnTo>
                    <a:lnTo>
                      <a:pt x="26" y="199"/>
                    </a:lnTo>
                    <a:lnTo>
                      <a:pt x="15" y="186"/>
                    </a:lnTo>
                    <a:lnTo>
                      <a:pt x="14" y="182"/>
                    </a:lnTo>
                    <a:lnTo>
                      <a:pt x="14" y="181"/>
                    </a:lnTo>
                    <a:lnTo>
                      <a:pt x="14" y="179"/>
                    </a:lnTo>
                    <a:lnTo>
                      <a:pt x="7" y="169"/>
                    </a:lnTo>
                    <a:lnTo>
                      <a:pt x="9" y="170"/>
                    </a:lnTo>
                    <a:lnTo>
                      <a:pt x="9" y="169"/>
                    </a:lnTo>
                    <a:lnTo>
                      <a:pt x="0" y="152"/>
                    </a:lnTo>
                    <a:lnTo>
                      <a:pt x="0" y="148"/>
                    </a:lnTo>
                    <a:lnTo>
                      <a:pt x="0" y="150"/>
                    </a:lnTo>
                    <a:lnTo>
                      <a:pt x="2" y="150"/>
                    </a:lnTo>
                    <a:lnTo>
                      <a:pt x="2" y="152"/>
                    </a:lnTo>
                    <a:lnTo>
                      <a:pt x="4" y="152"/>
                    </a:lnTo>
                    <a:lnTo>
                      <a:pt x="4" y="153"/>
                    </a:lnTo>
                    <a:lnTo>
                      <a:pt x="5" y="157"/>
                    </a:lnTo>
                    <a:lnTo>
                      <a:pt x="7" y="160"/>
                    </a:lnTo>
                    <a:lnTo>
                      <a:pt x="9" y="160"/>
                    </a:lnTo>
                    <a:lnTo>
                      <a:pt x="7" y="160"/>
                    </a:lnTo>
                    <a:lnTo>
                      <a:pt x="9" y="155"/>
                    </a:lnTo>
                    <a:lnTo>
                      <a:pt x="10" y="157"/>
                    </a:lnTo>
                    <a:lnTo>
                      <a:pt x="9" y="155"/>
                    </a:lnTo>
                    <a:lnTo>
                      <a:pt x="9" y="153"/>
                    </a:lnTo>
                    <a:lnTo>
                      <a:pt x="10" y="155"/>
                    </a:lnTo>
                    <a:lnTo>
                      <a:pt x="12" y="155"/>
                    </a:lnTo>
                    <a:lnTo>
                      <a:pt x="12" y="152"/>
                    </a:lnTo>
                    <a:lnTo>
                      <a:pt x="15" y="150"/>
                    </a:lnTo>
                    <a:lnTo>
                      <a:pt x="17" y="153"/>
                    </a:lnTo>
                    <a:lnTo>
                      <a:pt x="19" y="153"/>
                    </a:lnTo>
                    <a:lnTo>
                      <a:pt x="19" y="157"/>
                    </a:lnTo>
                    <a:lnTo>
                      <a:pt x="21" y="153"/>
                    </a:lnTo>
                    <a:lnTo>
                      <a:pt x="21" y="150"/>
                    </a:lnTo>
                    <a:lnTo>
                      <a:pt x="22" y="148"/>
                    </a:lnTo>
                    <a:lnTo>
                      <a:pt x="22" y="147"/>
                    </a:lnTo>
                    <a:lnTo>
                      <a:pt x="27" y="142"/>
                    </a:lnTo>
                    <a:lnTo>
                      <a:pt x="29" y="136"/>
                    </a:lnTo>
                    <a:lnTo>
                      <a:pt x="31" y="128"/>
                    </a:lnTo>
                    <a:lnTo>
                      <a:pt x="31" y="125"/>
                    </a:lnTo>
                    <a:lnTo>
                      <a:pt x="31" y="119"/>
                    </a:lnTo>
                    <a:lnTo>
                      <a:pt x="32" y="118"/>
                    </a:lnTo>
                    <a:lnTo>
                      <a:pt x="29" y="102"/>
                    </a:lnTo>
                    <a:lnTo>
                      <a:pt x="32" y="99"/>
                    </a:lnTo>
                    <a:lnTo>
                      <a:pt x="34" y="102"/>
                    </a:lnTo>
                    <a:lnTo>
                      <a:pt x="32" y="102"/>
                    </a:lnTo>
                    <a:lnTo>
                      <a:pt x="34" y="106"/>
                    </a:lnTo>
                    <a:lnTo>
                      <a:pt x="34" y="107"/>
                    </a:lnTo>
                    <a:lnTo>
                      <a:pt x="36" y="107"/>
                    </a:lnTo>
                    <a:lnTo>
                      <a:pt x="38" y="109"/>
                    </a:lnTo>
                    <a:lnTo>
                      <a:pt x="39" y="111"/>
                    </a:lnTo>
                    <a:lnTo>
                      <a:pt x="39" y="113"/>
                    </a:lnTo>
                    <a:lnTo>
                      <a:pt x="39" y="109"/>
                    </a:lnTo>
                    <a:lnTo>
                      <a:pt x="41" y="109"/>
                    </a:lnTo>
                    <a:lnTo>
                      <a:pt x="44" y="109"/>
                    </a:lnTo>
                    <a:lnTo>
                      <a:pt x="44" y="114"/>
                    </a:lnTo>
                    <a:lnTo>
                      <a:pt x="44" y="111"/>
                    </a:lnTo>
                    <a:lnTo>
                      <a:pt x="46" y="109"/>
                    </a:lnTo>
                    <a:lnTo>
                      <a:pt x="48" y="111"/>
                    </a:lnTo>
                    <a:lnTo>
                      <a:pt x="49" y="111"/>
                    </a:lnTo>
                    <a:lnTo>
                      <a:pt x="53" y="111"/>
                    </a:lnTo>
                    <a:lnTo>
                      <a:pt x="54" y="116"/>
                    </a:lnTo>
                    <a:lnTo>
                      <a:pt x="56" y="118"/>
                    </a:lnTo>
                    <a:lnTo>
                      <a:pt x="58" y="116"/>
                    </a:lnTo>
                    <a:lnTo>
                      <a:pt x="56" y="118"/>
                    </a:lnTo>
                    <a:lnTo>
                      <a:pt x="56" y="116"/>
                    </a:lnTo>
                    <a:lnTo>
                      <a:pt x="54" y="113"/>
                    </a:lnTo>
                    <a:lnTo>
                      <a:pt x="53" y="111"/>
                    </a:lnTo>
                    <a:lnTo>
                      <a:pt x="56" y="111"/>
                    </a:lnTo>
                    <a:lnTo>
                      <a:pt x="60" y="109"/>
                    </a:lnTo>
                    <a:lnTo>
                      <a:pt x="61" y="107"/>
                    </a:lnTo>
                    <a:lnTo>
                      <a:pt x="63" y="109"/>
                    </a:lnTo>
                    <a:lnTo>
                      <a:pt x="65" y="109"/>
                    </a:lnTo>
                    <a:lnTo>
                      <a:pt x="66" y="107"/>
                    </a:lnTo>
                    <a:lnTo>
                      <a:pt x="70" y="109"/>
                    </a:lnTo>
                    <a:lnTo>
                      <a:pt x="66" y="107"/>
                    </a:lnTo>
                    <a:lnTo>
                      <a:pt x="63" y="109"/>
                    </a:lnTo>
                    <a:lnTo>
                      <a:pt x="61" y="107"/>
                    </a:lnTo>
                    <a:lnTo>
                      <a:pt x="60" y="109"/>
                    </a:lnTo>
                    <a:lnTo>
                      <a:pt x="56" y="109"/>
                    </a:lnTo>
                    <a:lnTo>
                      <a:pt x="54" y="109"/>
                    </a:lnTo>
                    <a:lnTo>
                      <a:pt x="51" y="107"/>
                    </a:lnTo>
                    <a:lnTo>
                      <a:pt x="51" y="106"/>
                    </a:lnTo>
                    <a:lnTo>
                      <a:pt x="49" y="107"/>
                    </a:lnTo>
                    <a:lnTo>
                      <a:pt x="43" y="102"/>
                    </a:lnTo>
                    <a:lnTo>
                      <a:pt x="44" y="101"/>
                    </a:lnTo>
                    <a:lnTo>
                      <a:pt x="44" y="99"/>
                    </a:lnTo>
                    <a:lnTo>
                      <a:pt x="44" y="101"/>
                    </a:lnTo>
                    <a:lnTo>
                      <a:pt x="43" y="102"/>
                    </a:lnTo>
                    <a:lnTo>
                      <a:pt x="41" y="102"/>
                    </a:lnTo>
                    <a:lnTo>
                      <a:pt x="39" y="102"/>
                    </a:lnTo>
                    <a:lnTo>
                      <a:pt x="39" y="99"/>
                    </a:lnTo>
                    <a:lnTo>
                      <a:pt x="34" y="92"/>
                    </a:lnTo>
                    <a:lnTo>
                      <a:pt x="32" y="90"/>
                    </a:lnTo>
                    <a:lnTo>
                      <a:pt x="31" y="92"/>
                    </a:lnTo>
                    <a:lnTo>
                      <a:pt x="31" y="87"/>
                    </a:lnTo>
                    <a:lnTo>
                      <a:pt x="31" y="85"/>
                    </a:lnTo>
                    <a:lnTo>
                      <a:pt x="34" y="85"/>
                    </a:lnTo>
                    <a:lnTo>
                      <a:pt x="38" y="85"/>
                    </a:lnTo>
                    <a:lnTo>
                      <a:pt x="39" y="84"/>
                    </a:lnTo>
                    <a:lnTo>
                      <a:pt x="41" y="85"/>
                    </a:lnTo>
                    <a:lnTo>
                      <a:pt x="41" y="87"/>
                    </a:lnTo>
                    <a:lnTo>
                      <a:pt x="39" y="87"/>
                    </a:lnTo>
                    <a:lnTo>
                      <a:pt x="38" y="89"/>
                    </a:lnTo>
                    <a:lnTo>
                      <a:pt x="39" y="87"/>
                    </a:lnTo>
                    <a:lnTo>
                      <a:pt x="41" y="89"/>
                    </a:lnTo>
                    <a:lnTo>
                      <a:pt x="43" y="87"/>
                    </a:lnTo>
                    <a:lnTo>
                      <a:pt x="43" y="89"/>
                    </a:lnTo>
                    <a:lnTo>
                      <a:pt x="43" y="90"/>
                    </a:lnTo>
                    <a:lnTo>
                      <a:pt x="44" y="92"/>
                    </a:lnTo>
                    <a:lnTo>
                      <a:pt x="43" y="92"/>
                    </a:lnTo>
                    <a:lnTo>
                      <a:pt x="44" y="92"/>
                    </a:lnTo>
                    <a:lnTo>
                      <a:pt x="44" y="94"/>
                    </a:lnTo>
                    <a:lnTo>
                      <a:pt x="46" y="96"/>
                    </a:lnTo>
                    <a:lnTo>
                      <a:pt x="44" y="92"/>
                    </a:lnTo>
                    <a:lnTo>
                      <a:pt x="49" y="94"/>
                    </a:lnTo>
                    <a:lnTo>
                      <a:pt x="46" y="90"/>
                    </a:lnTo>
                    <a:lnTo>
                      <a:pt x="46" y="89"/>
                    </a:lnTo>
                    <a:lnTo>
                      <a:pt x="46" y="87"/>
                    </a:lnTo>
                    <a:lnTo>
                      <a:pt x="46" y="80"/>
                    </a:lnTo>
                    <a:lnTo>
                      <a:pt x="43" y="70"/>
                    </a:lnTo>
                    <a:lnTo>
                      <a:pt x="44" y="67"/>
                    </a:lnTo>
                    <a:lnTo>
                      <a:pt x="48" y="67"/>
                    </a:lnTo>
                    <a:lnTo>
                      <a:pt x="48" y="63"/>
                    </a:lnTo>
                    <a:lnTo>
                      <a:pt x="51" y="65"/>
                    </a:lnTo>
                    <a:lnTo>
                      <a:pt x="53" y="63"/>
                    </a:lnTo>
                    <a:lnTo>
                      <a:pt x="54" y="65"/>
                    </a:lnTo>
                    <a:lnTo>
                      <a:pt x="54" y="67"/>
                    </a:lnTo>
                    <a:lnTo>
                      <a:pt x="58" y="67"/>
                    </a:lnTo>
                    <a:lnTo>
                      <a:pt x="60" y="67"/>
                    </a:lnTo>
                    <a:lnTo>
                      <a:pt x="60" y="70"/>
                    </a:lnTo>
                    <a:lnTo>
                      <a:pt x="63" y="70"/>
                    </a:lnTo>
                    <a:lnTo>
                      <a:pt x="65" y="70"/>
                    </a:lnTo>
                    <a:lnTo>
                      <a:pt x="65" y="68"/>
                    </a:lnTo>
                    <a:lnTo>
                      <a:pt x="65" y="67"/>
                    </a:lnTo>
                    <a:lnTo>
                      <a:pt x="87" y="67"/>
                    </a:lnTo>
                    <a:lnTo>
                      <a:pt x="104" y="67"/>
                    </a:lnTo>
                    <a:lnTo>
                      <a:pt x="114" y="67"/>
                    </a:lnTo>
                    <a:lnTo>
                      <a:pt x="133" y="67"/>
                    </a:lnTo>
                    <a:lnTo>
                      <a:pt x="133" y="43"/>
                    </a:lnTo>
                    <a:lnTo>
                      <a:pt x="133" y="29"/>
                    </a:lnTo>
                    <a:lnTo>
                      <a:pt x="133" y="11"/>
                    </a:lnTo>
                    <a:lnTo>
                      <a:pt x="134" y="7"/>
                    </a:lnTo>
                    <a:lnTo>
                      <a:pt x="134" y="5"/>
                    </a:lnTo>
                    <a:lnTo>
                      <a:pt x="134" y="4"/>
                    </a:lnTo>
                    <a:lnTo>
                      <a:pt x="134" y="2"/>
                    </a:lnTo>
                    <a:lnTo>
                      <a:pt x="143" y="2"/>
                    </a:lnTo>
                    <a:lnTo>
                      <a:pt x="146" y="0"/>
                    </a:lnTo>
                    <a:lnTo>
                      <a:pt x="146" y="2"/>
                    </a:lnTo>
                    <a:lnTo>
                      <a:pt x="150" y="0"/>
                    </a:lnTo>
                    <a:lnTo>
                      <a:pt x="153" y="2"/>
                    </a:lnTo>
                    <a:lnTo>
                      <a:pt x="155" y="2"/>
                    </a:lnTo>
                    <a:lnTo>
                      <a:pt x="158" y="2"/>
                    </a:lnTo>
                    <a:lnTo>
                      <a:pt x="160" y="2"/>
                    </a:lnTo>
                    <a:lnTo>
                      <a:pt x="165" y="2"/>
                    </a:lnTo>
                    <a:lnTo>
                      <a:pt x="172" y="2"/>
                    </a:lnTo>
                    <a:lnTo>
                      <a:pt x="173" y="2"/>
                    </a:lnTo>
                    <a:lnTo>
                      <a:pt x="177" y="2"/>
                    </a:lnTo>
                    <a:lnTo>
                      <a:pt x="179" y="4"/>
                    </a:lnTo>
                    <a:lnTo>
                      <a:pt x="180" y="4"/>
                    </a:lnTo>
                    <a:lnTo>
                      <a:pt x="182" y="2"/>
                    </a:lnTo>
                    <a:lnTo>
                      <a:pt x="189" y="4"/>
                    </a:lnTo>
                    <a:lnTo>
                      <a:pt x="194" y="4"/>
                    </a:lnTo>
                    <a:lnTo>
                      <a:pt x="196" y="2"/>
                    </a:lnTo>
                    <a:lnTo>
                      <a:pt x="197" y="4"/>
                    </a:lnTo>
                    <a:lnTo>
                      <a:pt x="201" y="4"/>
                    </a:lnTo>
                    <a:lnTo>
                      <a:pt x="204" y="5"/>
                    </a:lnTo>
                    <a:lnTo>
                      <a:pt x="207" y="4"/>
                    </a:lnTo>
                    <a:lnTo>
                      <a:pt x="209" y="5"/>
                    </a:lnTo>
                    <a:lnTo>
                      <a:pt x="211" y="4"/>
                    </a:lnTo>
                    <a:lnTo>
                      <a:pt x="213" y="4"/>
                    </a:lnTo>
                    <a:lnTo>
                      <a:pt x="216" y="4"/>
                    </a:lnTo>
                    <a:lnTo>
                      <a:pt x="219" y="4"/>
                    </a:lnTo>
                    <a:lnTo>
                      <a:pt x="221" y="4"/>
                    </a:lnTo>
                    <a:lnTo>
                      <a:pt x="224" y="2"/>
                    </a:lnTo>
                    <a:lnTo>
                      <a:pt x="226" y="2"/>
                    </a:lnTo>
                    <a:lnTo>
                      <a:pt x="226" y="4"/>
                    </a:lnTo>
                    <a:lnTo>
                      <a:pt x="228" y="4"/>
                    </a:lnTo>
                    <a:lnTo>
                      <a:pt x="230" y="2"/>
                    </a:lnTo>
                    <a:lnTo>
                      <a:pt x="231" y="4"/>
                    </a:lnTo>
                    <a:lnTo>
                      <a:pt x="233" y="5"/>
                    </a:lnTo>
                    <a:lnTo>
                      <a:pt x="231" y="7"/>
                    </a:lnTo>
                    <a:lnTo>
                      <a:pt x="233" y="7"/>
                    </a:lnTo>
                    <a:close/>
                    <a:moveTo>
                      <a:pt x="43" y="90"/>
                    </a:moveTo>
                    <a:lnTo>
                      <a:pt x="44" y="90"/>
                    </a:lnTo>
                    <a:lnTo>
                      <a:pt x="44" y="92"/>
                    </a:lnTo>
                    <a:lnTo>
                      <a:pt x="43" y="92"/>
                    </a:lnTo>
                    <a:lnTo>
                      <a:pt x="43" y="90"/>
                    </a:lnTo>
                    <a:close/>
                    <a:moveTo>
                      <a:pt x="61" y="107"/>
                    </a:moveTo>
                    <a:lnTo>
                      <a:pt x="63" y="107"/>
                    </a:lnTo>
                    <a:lnTo>
                      <a:pt x="63" y="109"/>
                    </a:lnTo>
                    <a:lnTo>
                      <a:pt x="61" y="109"/>
                    </a:lnTo>
                    <a:lnTo>
                      <a:pt x="61" y="107"/>
                    </a:lnTo>
                    <a:close/>
                    <a:moveTo>
                      <a:pt x="60" y="107"/>
                    </a:moveTo>
                    <a:lnTo>
                      <a:pt x="61" y="107"/>
                    </a:lnTo>
                    <a:lnTo>
                      <a:pt x="61" y="109"/>
                    </a:lnTo>
                    <a:lnTo>
                      <a:pt x="60" y="109"/>
                    </a:lnTo>
                    <a:lnTo>
                      <a:pt x="60" y="107"/>
                    </a:lnTo>
                    <a:close/>
                    <a:moveTo>
                      <a:pt x="19" y="152"/>
                    </a:moveTo>
                    <a:lnTo>
                      <a:pt x="19" y="153"/>
                    </a:lnTo>
                    <a:lnTo>
                      <a:pt x="19" y="152"/>
                    </a:lnTo>
                    <a:close/>
                    <a:moveTo>
                      <a:pt x="43" y="87"/>
                    </a:moveTo>
                    <a:lnTo>
                      <a:pt x="43" y="89"/>
                    </a:lnTo>
                    <a:lnTo>
                      <a:pt x="43" y="87"/>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3" name="Freeform 29">
                <a:extLst>
                  <a:ext uri="{FF2B5EF4-FFF2-40B4-BE49-F238E27FC236}">
                    <a16:creationId xmlns:a16="http://schemas.microsoft.com/office/drawing/2014/main" id="{331D3D4A-4810-437A-8113-87445703165A}"/>
                  </a:ext>
                </a:extLst>
              </p:cNvPr>
              <p:cNvSpPr>
                <a:spLocks/>
              </p:cNvSpPr>
              <p:nvPr/>
            </p:nvSpPr>
            <p:spPr bwMode="gray">
              <a:xfrm>
                <a:off x="3225800" y="2341563"/>
                <a:ext cx="242887" cy="61913"/>
              </a:xfrm>
              <a:custGeom>
                <a:avLst/>
                <a:gdLst>
                  <a:gd name="T0" fmla="*/ 2 w 153"/>
                  <a:gd name="T1" fmla="*/ 37 h 39"/>
                  <a:gd name="T2" fmla="*/ 0 w 153"/>
                  <a:gd name="T3" fmla="*/ 34 h 39"/>
                  <a:gd name="T4" fmla="*/ 0 w 153"/>
                  <a:gd name="T5" fmla="*/ 27 h 39"/>
                  <a:gd name="T6" fmla="*/ 0 w 153"/>
                  <a:gd name="T7" fmla="*/ 22 h 39"/>
                  <a:gd name="T8" fmla="*/ 4 w 153"/>
                  <a:gd name="T9" fmla="*/ 19 h 39"/>
                  <a:gd name="T10" fmla="*/ 7 w 153"/>
                  <a:gd name="T11" fmla="*/ 19 h 39"/>
                  <a:gd name="T12" fmla="*/ 12 w 153"/>
                  <a:gd name="T13" fmla="*/ 19 h 39"/>
                  <a:gd name="T14" fmla="*/ 12 w 153"/>
                  <a:gd name="T15" fmla="*/ 17 h 39"/>
                  <a:gd name="T16" fmla="*/ 14 w 153"/>
                  <a:gd name="T17" fmla="*/ 12 h 39"/>
                  <a:gd name="T18" fmla="*/ 19 w 153"/>
                  <a:gd name="T19" fmla="*/ 12 h 39"/>
                  <a:gd name="T20" fmla="*/ 34 w 153"/>
                  <a:gd name="T21" fmla="*/ 12 h 39"/>
                  <a:gd name="T22" fmla="*/ 53 w 153"/>
                  <a:gd name="T23" fmla="*/ 12 h 39"/>
                  <a:gd name="T24" fmla="*/ 68 w 153"/>
                  <a:gd name="T25" fmla="*/ 7 h 39"/>
                  <a:gd name="T26" fmla="*/ 75 w 153"/>
                  <a:gd name="T27" fmla="*/ 2 h 39"/>
                  <a:gd name="T28" fmla="*/ 80 w 153"/>
                  <a:gd name="T29" fmla="*/ 3 h 39"/>
                  <a:gd name="T30" fmla="*/ 89 w 153"/>
                  <a:gd name="T31" fmla="*/ 0 h 39"/>
                  <a:gd name="T32" fmla="*/ 95 w 153"/>
                  <a:gd name="T33" fmla="*/ 2 h 39"/>
                  <a:gd name="T34" fmla="*/ 102 w 153"/>
                  <a:gd name="T35" fmla="*/ 5 h 39"/>
                  <a:gd name="T36" fmla="*/ 106 w 153"/>
                  <a:gd name="T37" fmla="*/ 10 h 39"/>
                  <a:gd name="T38" fmla="*/ 114 w 153"/>
                  <a:gd name="T39" fmla="*/ 8 h 39"/>
                  <a:gd name="T40" fmla="*/ 117 w 153"/>
                  <a:gd name="T41" fmla="*/ 15 h 39"/>
                  <a:gd name="T42" fmla="*/ 126 w 153"/>
                  <a:gd name="T43" fmla="*/ 19 h 39"/>
                  <a:gd name="T44" fmla="*/ 133 w 153"/>
                  <a:gd name="T45" fmla="*/ 15 h 39"/>
                  <a:gd name="T46" fmla="*/ 141 w 153"/>
                  <a:gd name="T47" fmla="*/ 13 h 39"/>
                  <a:gd name="T48" fmla="*/ 146 w 153"/>
                  <a:gd name="T49" fmla="*/ 13 h 39"/>
                  <a:gd name="T50" fmla="*/ 151 w 153"/>
                  <a:gd name="T51" fmla="*/ 22 h 39"/>
                  <a:gd name="T52" fmla="*/ 148 w 153"/>
                  <a:gd name="T53" fmla="*/ 25 h 39"/>
                  <a:gd name="T54" fmla="*/ 141 w 153"/>
                  <a:gd name="T55" fmla="*/ 27 h 39"/>
                  <a:gd name="T56" fmla="*/ 136 w 153"/>
                  <a:gd name="T57" fmla="*/ 29 h 39"/>
                  <a:gd name="T58" fmla="*/ 129 w 153"/>
                  <a:gd name="T59" fmla="*/ 30 h 39"/>
                  <a:gd name="T60" fmla="*/ 124 w 153"/>
                  <a:gd name="T61" fmla="*/ 30 h 39"/>
                  <a:gd name="T62" fmla="*/ 119 w 153"/>
                  <a:gd name="T63" fmla="*/ 27 h 39"/>
                  <a:gd name="T64" fmla="*/ 112 w 153"/>
                  <a:gd name="T65" fmla="*/ 24 h 39"/>
                  <a:gd name="T66" fmla="*/ 107 w 153"/>
                  <a:gd name="T67" fmla="*/ 24 h 39"/>
                  <a:gd name="T68" fmla="*/ 104 w 153"/>
                  <a:gd name="T69" fmla="*/ 20 h 39"/>
                  <a:gd name="T70" fmla="*/ 99 w 153"/>
                  <a:gd name="T71" fmla="*/ 19 h 39"/>
                  <a:gd name="T72" fmla="*/ 92 w 153"/>
                  <a:gd name="T73" fmla="*/ 17 h 39"/>
                  <a:gd name="T74" fmla="*/ 87 w 153"/>
                  <a:gd name="T75" fmla="*/ 12 h 39"/>
                  <a:gd name="T76" fmla="*/ 82 w 153"/>
                  <a:gd name="T77" fmla="*/ 15 h 39"/>
                  <a:gd name="T78" fmla="*/ 77 w 153"/>
                  <a:gd name="T79" fmla="*/ 24 h 39"/>
                  <a:gd name="T80" fmla="*/ 66 w 153"/>
                  <a:gd name="T81" fmla="*/ 22 h 39"/>
                  <a:gd name="T82" fmla="*/ 56 w 153"/>
                  <a:gd name="T83" fmla="*/ 24 h 39"/>
                  <a:gd name="T84" fmla="*/ 51 w 153"/>
                  <a:gd name="T85" fmla="*/ 24 h 39"/>
                  <a:gd name="T86" fmla="*/ 29 w 153"/>
                  <a:gd name="T87" fmla="*/ 34 h 39"/>
                  <a:gd name="T88" fmla="*/ 5 w 153"/>
                  <a:gd name="T89" fmla="*/ 36 h 39"/>
                  <a:gd name="T90" fmla="*/ 4 w 153"/>
                  <a:gd name="T9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39">
                    <a:moveTo>
                      <a:pt x="4" y="39"/>
                    </a:moveTo>
                    <a:lnTo>
                      <a:pt x="2" y="37"/>
                    </a:lnTo>
                    <a:lnTo>
                      <a:pt x="2" y="36"/>
                    </a:lnTo>
                    <a:lnTo>
                      <a:pt x="0" y="34"/>
                    </a:lnTo>
                    <a:lnTo>
                      <a:pt x="0" y="29"/>
                    </a:lnTo>
                    <a:lnTo>
                      <a:pt x="0" y="27"/>
                    </a:lnTo>
                    <a:lnTo>
                      <a:pt x="0" y="25"/>
                    </a:lnTo>
                    <a:lnTo>
                      <a:pt x="0" y="22"/>
                    </a:lnTo>
                    <a:lnTo>
                      <a:pt x="2" y="22"/>
                    </a:lnTo>
                    <a:lnTo>
                      <a:pt x="4" y="19"/>
                    </a:lnTo>
                    <a:lnTo>
                      <a:pt x="7" y="17"/>
                    </a:lnTo>
                    <a:lnTo>
                      <a:pt x="7" y="19"/>
                    </a:lnTo>
                    <a:lnTo>
                      <a:pt x="9" y="17"/>
                    </a:lnTo>
                    <a:lnTo>
                      <a:pt x="12" y="19"/>
                    </a:lnTo>
                    <a:lnTo>
                      <a:pt x="14" y="19"/>
                    </a:lnTo>
                    <a:lnTo>
                      <a:pt x="12" y="17"/>
                    </a:lnTo>
                    <a:lnTo>
                      <a:pt x="14" y="15"/>
                    </a:lnTo>
                    <a:lnTo>
                      <a:pt x="14" y="12"/>
                    </a:lnTo>
                    <a:lnTo>
                      <a:pt x="15" y="12"/>
                    </a:lnTo>
                    <a:lnTo>
                      <a:pt x="19" y="12"/>
                    </a:lnTo>
                    <a:lnTo>
                      <a:pt x="24" y="12"/>
                    </a:lnTo>
                    <a:lnTo>
                      <a:pt x="34" y="12"/>
                    </a:lnTo>
                    <a:lnTo>
                      <a:pt x="41" y="12"/>
                    </a:lnTo>
                    <a:lnTo>
                      <a:pt x="53" y="12"/>
                    </a:lnTo>
                    <a:lnTo>
                      <a:pt x="66" y="12"/>
                    </a:lnTo>
                    <a:lnTo>
                      <a:pt x="68" y="7"/>
                    </a:lnTo>
                    <a:lnTo>
                      <a:pt x="72" y="3"/>
                    </a:lnTo>
                    <a:lnTo>
                      <a:pt x="75" y="2"/>
                    </a:lnTo>
                    <a:lnTo>
                      <a:pt x="78" y="3"/>
                    </a:lnTo>
                    <a:lnTo>
                      <a:pt x="80" y="3"/>
                    </a:lnTo>
                    <a:lnTo>
                      <a:pt x="85" y="2"/>
                    </a:lnTo>
                    <a:lnTo>
                      <a:pt x="89" y="0"/>
                    </a:lnTo>
                    <a:lnTo>
                      <a:pt x="92" y="2"/>
                    </a:lnTo>
                    <a:lnTo>
                      <a:pt x="95" y="2"/>
                    </a:lnTo>
                    <a:lnTo>
                      <a:pt x="99" y="3"/>
                    </a:lnTo>
                    <a:lnTo>
                      <a:pt x="102" y="5"/>
                    </a:lnTo>
                    <a:lnTo>
                      <a:pt x="102" y="8"/>
                    </a:lnTo>
                    <a:lnTo>
                      <a:pt x="106" y="10"/>
                    </a:lnTo>
                    <a:lnTo>
                      <a:pt x="111" y="8"/>
                    </a:lnTo>
                    <a:lnTo>
                      <a:pt x="114" y="8"/>
                    </a:lnTo>
                    <a:lnTo>
                      <a:pt x="117" y="12"/>
                    </a:lnTo>
                    <a:lnTo>
                      <a:pt x="117" y="15"/>
                    </a:lnTo>
                    <a:lnTo>
                      <a:pt x="121" y="17"/>
                    </a:lnTo>
                    <a:lnTo>
                      <a:pt x="126" y="19"/>
                    </a:lnTo>
                    <a:lnTo>
                      <a:pt x="129" y="17"/>
                    </a:lnTo>
                    <a:lnTo>
                      <a:pt x="133" y="15"/>
                    </a:lnTo>
                    <a:lnTo>
                      <a:pt x="138" y="13"/>
                    </a:lnTo>
                    <a:lnTo>
                      <a:pt x="141" y="13"/>
                    </a:lnTo>
                    <a:lnTo>
                      <a:pt x="143" y="12"/>
                    </a:lnTo>
                    <a:lnTo>
                      <a:pt x="146" y="13"/>
                    </a:lnTo>
                    <a:lnTo>
                      <a:pt x="153" y="20"/>
                    </a:lnTo>
                    <a:lnTo>
                      <a:pt x="151" y="22"/>
                    </a:lnTo>
                    <a:lnTo>
                      <a:pt x="150" y="24"/>
                    </a:lnTo>
                    <a:lnTo>
                      <a:pt x="148" y="25"/>
                    </a:lnTo>
                    <a:lnTo>
                      <a:pt x="145" y="25"/>
                    </a:lnTo>
                    <a:lnTo>
                      <a:pt x="141" y="27"/>
                    </a:lnTo>
                    <a:lnTo>
                      <a:pt x="136" y="27"/>
                    </a:lnTo>
                    <a:lnTo>
                      <a:pt x="136" y="29"/>
                    </a:lnTo>
                    <a:lnTo>
                      <a:pt x="134" y="30"/>
                    </a:lnTo>
                    <a:lnTo>
                      <a:pt x="129" y="30"/>
                    </a:lnTo>
                    <a:lnTo>
                      <a:pt x="128" y="29"/>
                    </a:lnTo>
                    <a:lnTo>
                      <a:pt x="124" y="30"/>
                    </a:lnTo>
                    <a:lnTo>
                      <a:pt x="121" y="29"/>
                    </a:lnTo>
                    <a:lnTo>
                      <a:pt x="119" y="27"/>
                    </a:lnTo>
                    <a:lnTo>
                      <a:pt x="116" y="25"/>
                    </a:lnTo>
                    <a:lnTo>
                      <a:pt x="112" y="24"/>
                    </a:lnTo>
                    <a:lnTo>
                      <a:pt x="111" y="24"/>
                    </a:lnTo>
                    <a:lnTo>
                      <a:pt x="107" y="24"/>
                    </a:lnTo>
                    <a:lnTo>
                      <a:pt x="106" y="24"/>
                    </a:lnTo>
                    <a:lnTo>
                      <a:pt x="104" y="20"/>
                    </a:lnTo>
                    <a:lnTo>
                      <a:pt x="100" y="20"/>
                    </a:lnTo>
                    <a:lnTo>
                      <a:pt x="99" y="19"/>
                    </a:lnTo>
                    <a:lnTo>
                      <a:pt x="95" y="19"/>
                    </a:lnTo>
                    <a:lnTo>
                      <a:pt x="92" y="17"/>
                    </a:lnTo>
                    <a:lnTo>
                      <a:pt x="89" y="15"/>
                    </a:lnTo>
                    <a:lnTo>
                      <a:pt x="87" y="12"/>
                    </a:lnTo>
                    <a:lnTo>
                      <a:pt x="83" y="12"/>
                    </a:lnTo>
                    <a:lnTo>
                      <a:pt x="82" y="15"/>
                    </a:lnTo>
                    <a:lnTo>
                      <a:pt x="80" y="20"/>
                    </a:lnTo>
                    <a:lnTo>
                      <a:pt x="77" y="24"/>
                    </a:lnTo>
                    <a:lnTo>
                      <a:pt x="72" y="24"/>
                    </a:lnTo>
                    <a:lnTo>
                      <a:pt x="66" y="22"/>
                    </a:lnTo>
                    <a:lnTo>
                      <a:pt x="61" y="24"/>
                    </a:lnTo>
                    <a:lnTo>
                      <a:pt x="56" y="24"/>
                    </a:lnTo>
                    <a:lnTo>
                      <a:pt x="55" y="24"/>
                    </a:lnTo>
                    <a:lnTo>
                      <a:pt x="51" y="24"/>
                    </a:lnTo>
                    <a:lnTo>
                      <a:pt x="51" y="34"/>
                    </a:lnTo>
                    <a:lnTo>
                      <a:pt x="29" y="34"/>
                    </a:lnTo>
                    <a:lnTo>
                      <a:pt x="5" y="34"/>
                    </a:lnTo>
                    <a:lnTo>
                      <a:pt x="5" y="36"/>
                    </a:lnTo>
                    <a:lnTo>
                      <a:pt x="4" y="36"/>
                    </a:lnTo>
                    <a:lnTo>
                      <a:pt x="4" y="37"/>
                    </a:lnTo>
                    <a:lnTo>
                      <a:pt x="4" y="39"/>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4" name="Freeform 30">
                <a:extLst>
                  <a:ext uri="{FF2B5EF4-FFF2-40B4-BE49-F238E27FC236}">
                    <a16:creationId xmlns:a16="http://schemas.microsoft.com/office/drawing/2014/main" id="{AAEE305A-E59B-40CA-A486-E08217C50B22}"/>
                  </a:ext>
                </a:extLst>
              </p:cNvPr>
              <p:cNvSpPr>
                <a:spLocks/>
              </p:cNvSpPr>
              <p:nvPr/>
            </p:nvSpPr>
            <p:spPr bwMode="gray">
              <a:xfrm>
                <a:off x="4313238" y="2554288"/>
                <a:ext cx="358775" cy="519113"/>
              </a:xfrm>
              <a:custGeom>
                <a:avLst/>
                <a:gdLst>
                  <a:gd name="T0" fmla="*/ 199 w 226"/>
                  <a:gd name="T1" fmla="*/ 274 h 327"/>
                  <a:gd name="T2" fmla="*/ 167 w 226"/>
                  <a:gd name="T3" fmla="*/ 281 h 327"/>
                  <a:gd name="T4" fmla="*/ 143 w 226"/>
                  <a:gd name="T5" fmla="*/ 291 h 327"/>
                  <a:gd name="T6" fmla="*/ 124 w 226"/>
                  <a:gd name="T7" fmla="*/ 303 h 327"/>
                  <a:gd name="T8" fmla="*/ 84 w 226"/>
                  <a:gd name="T9" fmla="*/ 312 h 327"/>
                  <a:gd name="T10" fmla="*/ 78 w 226"/>
                  <a:gd name="T11" fmla="*/ 318 h 327"/>
                  <a:gd name="T12" fmla="*/ 65 w 226"/>
                  <a:gd name="T13" fmla="*/ 325 h 327"/>
                  <a:gd name="T14" fmla="*/ 60 w 226"/>
                  <a:gd name="T15" fmla="*/ 323 h 327"/>
                  <a:gd name="T16" fmla="*/ 29 w 226"/>
                  <a:gd name="T17" fmla="*/ 313 h 327"/>
                  <a:gd name="T18" fmla="*/ 22 w 226"/>
                  <a:gd name="T19" fmla="*/ 308 h 327"/>
                  <a:gd name="T20" fmla="*/ 26 w 226"/>
                  <a:gd name="T21" fmla="*/ 303 h 327"/>
                  <a:gd name="T22" fmla="*/ 27 w 226"/>
                  <a:gd name="T23" fmla="*/ 293 h 327"/>
                  <a:gd name="T24" fmla="*/ 21 w 226"/>
                  <a:gd name="T25" fmla="*/ 281 h 327"/>
                  <a:gd name="T26" fmla="*/ 10 w 226"/>
                  <a:gd name="T27" fmla="*/ 266 h 327"/>
                  <a:gd name="T28" fmla="*/ 2 w 226"/>
                  <a:gd name="T29" fmla="*/ 232 h 327"/>
                  <a:gd name="T30" fmla="*/ 12 w 226"/>
                  <a:gd name="T31" fmla="*/ 208 h 327"/>
                  <a:gd name="T32" fmla="*/ 17 w 226"/>
                  <a:gd name="T33" fmla="*/ 181 h 327"/>
                  <a:gd name="T34" fmla="*/ 34 w 226"/>
                  <a:gd name="T35" fmla="*/ 158 h 327"/>
                  <a:gd name="T36" fmla="*/ 39 w 226"/>
                  <a:gd name="T37" fmla="*/ 145 h 327"/>
                  <a:gd name="T38" fmla="*/ 33 w 226"/>
                  <a:gd name="T39" fmla="*/ 114 h 327"/>
                  <a:gd name="T40" fmla="*/ 26 w 226"/>
                  <a:gd name="T41" fmla="*/ 104 h 327"/>
                  <a:gd name="T42" fmla="*/ 31 w 226"/>
                  <a:gd name="T43" fmla="*/ 92 h 327"/>
                  <a:gd name="T44" fmla="*/ 24 w 226"/>
                  <a:gd name="T45" fmla="*/ 75 h 327"/>
                  <a:gd name="T46" fmla="*/ 24 w 226"/>
                  <a:gd name="T47" fmla="*/ 56 h 327"/>
                  <a:gd name="T48" fmla="*/ 26 w 226"/>
                  <a:gd name="T49" fmla="*/ 38 h 327"/>
                  <a:gd name="T50" fmla="*/ 19 w 226"/>
                  <a:gd name="T51" fmla="*/ 21 h 327"/>
                  <a:gd name="T52" fmla="*/ 51 w 226"/>
                  <a:gd name="T53" fmla="*/ 9 h 327"/>
                  <a:gd name="T54" fmla="*/ 85 w 226"/>
                  <a:gd name="T55" fmla="*/ 9 h 327"/>
                  <a:gd name="T56" fmla="*/ 119 w 226"/>
                  <a:gd name="T57" fmla="*/ 10 h 327"/>
                  <a:gd name="T58" fmla="*/ 133 w 226"/>
                  <a:gd name="T59" fmla="*/ 10 h 327"/>
                  <a:gd name="T60" fmla="*/ 138 w 226"/>
                  <a:gd name="T61" fmla="*/ 10 h 327"/>
                  <a:gd name="T62" fmla="*/ 146 w 226"/>
                  <a:gd name="T63" fmla="*/ 2 h 327"/>
                  <a:gd name="T64" fmla="*/ 158 w 226"/>
                  <a:gd name="T65" fmla="*/ 2 h 327"/>
                  <a:gd name="T66" fmla="*/ 165 w 226"/>
                  <a:gd name="T67" fmla="*/ 10 h 327"/>
                  <a:gd name="T68" fmla="*/ 169 w 226"/>
                  <a:gd name="T69" fmla="*/ 29 h 327"/>
                  <a:gd name="T70" fmla="*/ 180 w 226"/>
                  <a:gd name="T71" fmla="*/ 38 h 327"/>
                  <a:gd name="T72" fmla="*/ 184 w 226"/>
                  <a:gd name="T73" fmla="*/ 46 h 327"/>
                  <a:gd name="T74" fmla="*/ 186 w 226"/>
                  <a:gd name="T75" fmla="*/ 63 h 327"/>
                  <a:gd name="T76" fmla="*/ 184 w 226"/>
                  <a:gd name="T77" fmla="*/ 77 h 327"/>
                  <a:gd name="T78" fmla="*/ 186 w 226"/>
                  <a:gd name="T79" fmla="*/ 80 h 327"/>
                  <a:gd name="T80" fmla="*/ 179 w 226"/>
                  <a:gd name="T81" fmla="*/ 87 h 327"/>
                  <a:gd name="T82" fmla="*/ 184 w 226"/>
                  <a:gd name="T83" fmla="*/ 85 h 327"/>
                  <a:gd name="T84" fmla="*/ 194 w 226"/>
                  <a:gd name="T85" fmla="*/ 94 h 327"/>
                  <a:gd name="T86" fmla="*/ 189 w 226"/>
                  <a:gd name="T87" fmla="*/ 107 h 327"/>
                  <a:gd name="T88" fmla="*/ 189 w 226"/>
                  <a:gd name="T89" fmla="*/ 119 h 327"/>
                  <a:gd name="T90" fmla="*/ 192 w 226"/>
                  <a:gd name="T91" fmla="*/ 133 h 327"/>
                  <a:gd name="T92" fmla="*/ 203 w 226"/>
                  <a:gd name="T93" fmla="*/ 147 h 327"/>
                  <a:gd name="T94" fmla="*/ 196 w 226"/>
                  <a:gd name="T95" fmla="*/ 157 h 327"/>
                  <a:gd name="T96" fmla="*/ 192 w 226"/>
                  <a:gd name="T97" fmla="*/ 182 h 327"/>
                  <a:gd name="T98" fmla="*/ 199 w 226"/>
                  <a:gd name="T99" fmla="*/ 196 h 327"/>
                  <a:gd name="T100" fmla="*/ 194 w 226"/>
                  <a:gd name="T101" fmla="*/ 213 h 327"/>
                  <a:gd name="T102" fmla="*/ 196 w 226"/>
                  <a:gd name="T103" fmla="*/ 223 h 327"/>
                  <a:gd name="T104" fmla="*/ 204 w 226"/>
                  <a:gd name="T105" fmla="*/ 233 h 327"/>
                  <a:gd name="T106" fmla="*/ 216 w 226"/>
                  <a:gd name="T107" fmla="*/ 24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327">
                    <a:moveTo>
                      <a:pt x="226" y="257"/>
                    </a:moveTo>
                    <a:lnTo>
                      <a:pt x="220" y="261"/>
                    </a:lnTo>
                    <a:lnTo>
                      <a:pt x="216" y="266"/>
                    </a:lnTo>
                    <a:lnTo>
                      <a:pt x="216" y="271"/>
                    </a:lnTo>
                    <a:lnTo>
                      <a:pt x="213" y="274"/>
                    </a:lnTo>
                    <a:lnTo>
                      <a:pt x="199" y="274"/>
                    </a:lnTo>
                    <a:lnTo>
                      <a:pt x="187" y="272"/>
                    </a:lnTo>
                    <a:lnTo>
                      <a:pt x="180" y="274"/>
                    </a:lnTo>
                    <a:lnTo>
                      <a:pt x="175" y="276"/>
                    </a:lnTo>
                    <a:lnTo>
                      <a:pt x="172" y="278"/>
                    </a:lnTo>
                    <a:lnTo>
                      <a:pt x="169" y="278"/>
                    </a:lnTo>
                    <a:lnTo>
                      <a:pt x="167" y="281"/>
                    </a:lnTo>
                    <a:lnTo>
                      <a:pt x="163" y="283"/>
                    </a:lnTo>
                    <a:lnTo>
                      <a:pt x="160" y="284"/>
                    </a:lnTo>
                    <a:lnTo>
                      <a:pt x="155" y="286"/>
                    </a:lnTo>
                    <a:lnTo>
                      <a:pt x="150" y="288"/>
                    </a:lnTo>
                    <a:lnTo>
                      <a:pt x="146" y="289"/>
                    </a:lnTo>
                    <a:lnTo>
                      <a:pt x="143" y="291"/>
                    </a:lnTo>
                    <a:lnTo>
                      <a:pt x="141" y="295"/>
                    </a:lnTo>
                    <a:lnTo>
                      <a:pt x="135" y="295"/>
                    </a:lnTo>
                    <a:lnTo>
                      <a:pt x="135" y="296"/>
                    </a:lnTo>
                    <a:lnTo>
                      <a:pt x="133" y="296"/>
                    </a:lnTo>
                    <a:lnTo>
                      <a:pt x="129" y="298"/>
                    </a:lnTo>
                    <a:lnTo>
                      <a:pt x="124" y="303"/>
                    </a:lnTo>
                    <a:lnTo>
                      <a:pt x="111" y="303"/>
                    </a:lnTo>
                    <a:lnTo>
                      <a:pt x="102" y="308"/>
                    </a:lnTo>
                    <a:lnTo>
                      <a:pt x="99" y="308"/>
                    </a:lnTo>
                    <a:lnTo>
                      <a:pt x="94" y="310"/>
                    </a:lnTo>
                    <a:lnTo>
                      <a:pt x="92" y="310"/>
                    </a:lnTo>
                    <a:lnTo>
                      <a:pt x="84" y="312"/>
                    </a:lnTo>
                    <a:lnTo>
                      <a:pt x="82" y="315"/>
                    </a:lnTo>
                    <a:lnTo>
                      <a:pt x="80" y="315"/>
                    </a:lnTo>
                    <a:lnTo>
                      <a:pt x="80" y="317"/>
                    </a:lnTo>
                    <a:lnTo>
                      <a:pt x="78" y="317"/>
                    </a:lnTo>
                    <a:lnTo>
                      <a:pt x="77" y="318"/>
                    </a:lnTo>
                    <a:lnTo>
                      <a:pt x="78" y="318"/>
                    </a:lnTo>
                    <a:lnTo>
                      <a:pt x="75" y="318"/>
                    </a:lnTo>
                    <a:lnTo>
                      <a:pt x="77" y="320"/>
                    </a:lnTo>
                    <a:lnTo>
                      <a:pt x="75" y="320"/>
                    </a:lnTo>
                    <a:lnTo>
                      <a:pt x="73" y="320"/>
                    </a:lnTo>
                    <a:lnTo>
                      <a:pt x="68" y="322"/>
                    </a:lnTo>
                    <a:lnTo>
                      <a:pt x="65" y="325"/>
                    </a:lnTo>
                    <a:lnTo>
                      <a:pt x="63" y="325"/>
                    </a:lnTo>
                    <a:lnTo>
                      <a:pt x="61" y="327"/>
                    </a:lnTo>
                    <a:lnTo>
                      <a:pt x="60" y="325"/>
                    </a:lnTo>
                    <a:lnTo>
                      <a:pt x="60" y="327"/>
                    </a:lnTo>
                    <a:lnTo>
                      <a:pt x="60" y="325"/>
                    </a:lnTo>
                    <a:lnTo>
                      <a:pt x="60" y="323"/>
                    </a:lnTo>
                    <a:lnTo>
                      <a:pt x="56" y="323"/>
                    </a:lnTo>
                    <a:lnTo>
                      <a:pt x="53" y="320"/>
                    </a:lnTo>
                    <a:lnTo>
                      <a:pt x="51" y="320"/>
                    </a:lnTo>
                    <a:lnTo>
                      <a:pt x="51" y="318"/>
                    </a:lnTo>
                    <a:lnTo>
                      <a:pt x="44" y="317"/>
                    </a:lnTo>
                    <a:lnTo>
                      <a:pt x="29" y="313"/>
                    </a:lnTo>
                    <a:lnTo>
                      <a:pt x="9" y="308"/>
                    </a:lnTo>
                    <a:lnTo>
                      <a:pt x="10" y="306"/>
                    </a:lnTo>
                    <a:lnTo>
                      <a:pt x="12" y="306"/>
                    </a:lnTo>
                    <a:lnTo>
                      <a:pt x="17" y="308"/>
                    </a:lnTo>
                    <a:lnTo>
                      <a:pt x="19" y="306"/>
                    </a:lnTo>
                    <a:lnTo>
                      <a:pt x="22" y="308"/>
                    </a:lnTo>
                    <a:lnTo>
                      <a:pt x="22" y="306"/>
                    </a:lnTo>
                    <a:lnTo>
                      <a:pt x="22" y="308"/>
                    </a:lnTo>
                    <a:lnTo>
                      <a:pt x="24" y="306"/>
                    </a:lnTo>
                    <a:lnTo>
                      <a:pt x="26" y="308"/>
                    </a:lnTo>
                    <a:lnTo>
                      <a:pt x="27" y="306"/>
                    </a:lnTo>
                    <a:lnTo>
                      <a:pt x="26" y="303"/>
                    </a:lnTo>
                    <a:lnTo>
                      <a:pt x="26" y="300"/>
                    </a:lnTo>
                    <a:lnTo>
                      <a:pt x="24" y="298"/>
                    </a:lnTo>
                    <a:lnTo>
                      <a:pt x="26" y="298"/>
                    </a:lnTo>
                    <a:lnTo>
                      <a:pt x="26" y="295"/>
                    </a:lnTo>
                    <a:lnTo>
                      <a:pt x="27" y="296"/>
                    </a:lnTo>
                    <a:lnTo>
                      <a:pt x="27" y="293"/>
                    </a:lnTo>
                    <a:lnTo>
                      <a:pt x="26" y="291"/>
                    </a:lnTo>
                    <a:lnTo>
                      <a:pt x="26" y="284"/>
                    </a:lnTo>
                    <a:lnTo>
                      <a:pt x="26" y="283"/>
                    </a:lnTo>
                    <a:lnTo>
                      <a:pt x="24" y="281"/>
                    </a:lnTo>
                    <a:lnTo>
                      <a:pt x="22" y="281"/>
                    </a:lnTo>
                    <a:lnTo>
                      <a:pt x="21" y="281"/>
                    </a:lnTo>
                    <a:lnTo>
                      <a:pt x="17" y="283"/>
                    </a:lnTo>
                    <a:lnTo>
                      <a:pt x="16" y="281"/>
                    </a:lnTo>
                    <a:lnTo>
                      <a:pt x="16" y="278"/>
                    </a:lnTo>
                    <a:lnTo>
                      <a:pt x="12" y="278"/>
                    </a:lnTo>
                    <a:lnTo>
                      <a:pt x="12" y="271"/>
                    </a:lnTo>
                    <a:lnTo>
                      <a:pt x="10" y="266"/>
                    </a:lnTo>
                    <a:lnTo>
                      <a:pt x="10" y="264"/>
                    </a:lnTo>
                    <a:lnTo>
                      <a:pt x="9" y="255"/>
                    </a:lnTo>
                    <a:lnTo>
                      <a:pt x="5" y="250"/>
                    </a:lnTo>
                    <a:lnTo>
                      <a:pt x="5" y="247"/>
                    </a:lnTo>
                    <a:lnTo>
                      <a:pt x="2" y="237"/>
                    </a:lnTo>
                    <a:lnTo>
                      <a:pt x="2" y="232"/>
                    </a:lnTo>
                    <a:lnTo>
                      <a:pt x="0" y="232"/>
                    </a:lnTo>
                    <a:lnTo>
                      <a:pt x="4" y="226"/>
                    </a:lnTo>
                    <a:lnTo>
                      <a:pt x="2" y="223"/>
                    </a:lnTo>
                    <a:lnTo>
                      <a:pt x="2" y="221"/>
                    </a:lnTo>
                    <a:lnTo>
                      <a:pt x="9" y="209"/>
                    </a:lnTo>
                    <a:lnTo>
                      <a:pt x="12" y="208"/>
                    </a:lnTo>
                    <a:lnTo>
                      <a:pt x="12" y="204"/>
                    </a:lnTo>
                    <a:lnTo>
                      <a:pt x="17" y="201"/>
                    </a:lnTo>
                    <a:lnTo>
                      <a:pt x="16" y="198"/>
                    </a:lnTo>
                    <a:lnTo>
                      <a:pt x="16" y="196"/>
                    </a:lnTo>
                    <a:lnTo>
                      <a:pt x="17" y="187"/>
                    </a:lnTo>
                    <a:lnTo>
                      <a:pt x="17" y="181"/>
                    </a:lnTo>
                    <a:lnTo>
                      <a:pt x="22" y="170"/>
                    </a:lnTo>
                    <a:lnTo>
                      <a:pt x="24" y="169"/>
                    </a:lnTo>
                    <a:lnTo>
                      <a:pt x="26" y="164"/>
                    </a:lnTo>
                    <a:lnTo>
                      <a:pt x="27" y="165"/>
                    </a:lnTo>
                    <a:lnTo>
                      <a:pt x="31" y="160"/>
                    </a:lnTo>
                    <a:lnTo>
                      <a:pt x="34" y="158"/>
                    </a:lnTo>
                    <a:lnTo>
                      <a:pt x="34" y="157"/>
                    </a:lnTo>
                    <a:lnTo>
                      <a:pt x="33" y="155"/>
                    </a:lnTo>
                    <a:lnTo>
                      <a:pt x="34" y="153"/>
                    </a:lnTo>
                    <a:lnTo>
                      <a:pt x="38" y="152"/>
                    </a:lnTo>
                    <a:lnTo>
                      <a:pt x="39" y="150"/>
                    </a:lnTo>
                    <a:lnTo>
                      <a:pt x="39" y="145"/>
                    </a:lnTo>
                    <a:lnTo>
                      <a:pt x="38" y="135"/>
                    </a:lnTo>
                    <a:lnTo>
                      <a:pt x="34" y="121"/>
                    </a:lnTo>
                    <a:lnTo>
                      <a:pt x="33" y="121"/>
                    </a:lnTo>
                    <a:lnTo>
                      <a:pt x="34" y="119"/>
                    </a:lnTo>
                    <a:lnTo>
                      <a:pt x="33" y="118"/>
                    </a:lnTo>
                    <a:lnTo>
                      <a:pt x="33" y="114"/>
                    </a:lnTo>
                    <a:lnTo>
                      <a:pt x="31" y="114"/>
                    </a:lnTo>
                    <a:lnTo>
                      <a:pt x="31" y="109"/>
                    </a:lnTo>
                    <a:lnTo>
                      <a:pt x="27" y="109"/>
                    </a:lnTo>
                    <a:lnTo>
                      <a:pt x="26" y="107"/>
                    </a:lnTo>
                    <a:lnTo>
                      <a:pt x="26" y="106"/>
                    </a:lnTo>
                    <a:lnTo>
                      <a:pt x="26" y="104"/>
                    </a:lnTo>
                    <a:lnTo>
                      <a:pt x="27" y="102"/>
                    </a:lnTo>
                    <a:lnTo>
                      <a:pt x="29" y="101"/>
                    </a:lnTo>
                    <a:lnTo>
                      <a:pt x="31" y="97"/>
                    </a:lnTo>
                    <a:lnTo>
                      <a:pt x="27" y="96"/>
                    </a:lnTo>
                    <a:lnTo>
                      <a:pt x="27" y="94"/>
                    </a:lnTo>
                    <a:lnTo>
                      <a:pt x="31" y="92"/>
                    </a:lnTo>
                    <a:lnTo>
                      <a:pt x="29" y="85"/>
                    </a:lnTo>
                    <a:lnTo>
                      <a:pt x="26" y="82"/>
                    </a:lnTo>
                    <a:lnTo>
                      <a:pt x="26" y="80"/>
                    </a:lnTo>
                    <a:lnTo>
                      <a:pt x="27" y="78"/>
                    </a:lnTo>
                    <a:lnTo>
                      <a:pt x="26" y="77"/>
                    </a:lnTo>
                    <a:lnTo>
                      <a:pt x="24" y="75"/>
                    </a:lnTo>
                    <a:lnTo>
                      <a:pt x="24" y="73"/>
                    </a:lnTo>
                    <a:lnTo>
                      <a:pt x="27" y="68"/>
                    </a:lnTo>
                    <a:lnTo>
                      <a:pt x="26" y="67"/>
                    </a:lnTo>
                    <a:lnTo>
                      <a:pt x="27" y="61"/>
                    </a:lnTo>
                    <a:lnTo>
                      <a:pt x="26" y="60"/>
                    </a:lnTo>
                    <a:lnTo>
                      <a:pt x="24" y="56"/>
                    </a:lnTo>
                    <a:lnTo>
                      <a:pt x="24" y="50"/>
                    </a:lnTo>
                    <a:lnTo>
                      <a:pt x="26" y="48"/>
                    </a:lnTo>
                    <a:lnTo>
                      <a:pt x="22" y="44"/>
                    </a:lnTo>
                    <a:lnTo>
                      <a:pt x="22" y="41"/>
                    </a:lnTo>
                    <a:lnTo>
                      <a:pt x="26" y="39"/>
                    </a:lnTo>
                    <a:lnTo>
                      <a:pt x="26" y="38"/>
                    </a:lnTo>
                    <a:lnTo>
                      <a:pt x="21" y="38"/>
                    </a:lnTo>
                    <a:lnTo>
                      <a:pt x="17" y="29"/>
                    </a:lnTo>
                    <a:lnTo>
                      <a:pt x="17" y="27"/>
                    </a:lnTo>
                    <a:lnTo>
                      <a:pt x="19" y="26"/>
                    </a:lnTo>
                    <a:lnTo>
                      <a:pt x="17" y="24"/>
                    </a:lnTo>
                    <a:lnTo>
                      <a:pt x="19" y="21"/>
                    </a:lnTo>
                    <a:lnTo>
                      <a:pt x="21" y="16"/>
                    </a:lnTo>
                    <a:lnTo>
                      <a:pt x="22" y="14"/>
                    </a:lnTo>
                    <a:lnTo>
                      <a:pt x="22" y="10"/>
                    </a:lnTo>
                    <a:lnTo>
                      <a:pt x="22" y="9"/>
                    </a:lnTo>
                    <a:lnTo>
                      <a:pt x="39" y="10"/>
                    </a:lnTo>
                    <a:lnTo>
                      <a:pt x="51" y="9"/>
                    </a:lnTo>
                    <a:lnTo>
                      <a:pt x="58" y="10"/>
                    </a:lnTo>
                    <a:lnTo>
                      <a:pt x="77" y="10"/>
                    </a:lnTo>
                    <a:lnTo>
                      <a:pt x="80" y="10"/>
                    </a:lnTo>
                    <a:lnTo>
                      <a:pt x="82" y="9"/>
                    </a:lnTo>
                    <a:lnTo>
                      <a:pt x="85" y="10"/>
                    </a:lnTo>
                    <a:lnTo>
                      <a:pt x="85" y="9"/>
                    </a:lnTo>
                    <a:lnTo>
                      <a:pt x="94" y="9"/>
                    </a:lnTo>
                    <a:lnTo>
                      <a:pt x="95" y="9"/>
                    </a:lnTo>
                    <a:lnTo>
                      <a:pt x="109" y="10"/>
                    </a:lnTo>
                    <a:lnTo>
                      <a:pt x="109" y="9"/>
                    </a:lnTo>
                    <a:lnTo>
                      <a:pt x="119" y="9"/>
                    </a:lnTo>
                    <a:lnTo>
                      <a:pt x="119" y="10"/>
                    </a:lnTo>
                    <a:lnTo>
                      <a:pt x="121" y="10"/>
                    </a:lnTo>
                    <a:lnTo>
                      <a:pt x="123" y="9"/>
                    </a:lnTo>
                    <a:lnTo>
                      <a:pt x="126" y="9"/>
                    </a:lnTo>
                    <a:lnTo>
                      <a:pt x="131" y="9"/>
                    </a:lnTo>
                    <a:lnTo>
                      <a:pt x="131" y="10"/>
                    </a:lnTo>
                    <a:lnTo>
                      <a:pt x="133" y="10"/>
                    </a:lnTo>
                    <a:lnTo>
                      <a:pt x="131" y="10"/>
                    </a:lnTo>
                    <a:lnTo>
                      <a:pt x="133" y="10"/>
                    </a:lnTo>
                    <a:lnTo>
                      <a:pt x="135" y="12"/>
                    </a:lnTo>
                    <a:lnTo>
                      <a:pt x="135" y="14"/>
                    </a:lnTo>
                    <a:lnTo>
                      <a:pt x="138" y="9"/>
                    </a:lnTo>
                    <a:lnTo>
                      <a:pt x="138" y="10"/>
                    </a:lnTo>
                    <a:lnTo>
                      <a:pt x="140" y="9"/>
                    </a:lnTo>
                    <a:lnTo>
                      <a:pt x="140" y="10"/>
                    </a:lnTo>
                    <a:lnTo>
                      <a:pt x="141" y="7"/>
                    </a:lnTo>
                    <a:lnTo>
                      <a:pt x="143" y="7"/>
                    </a:lnTo>
                    <a:lnTo>
                      <a:pt x="145" y="4"/>
                    </a:lnTo>
                    <a:lnTo>
                      <a:pt x="146" y="2"/>
                    </a:lnTo>
                    <a:lnTo>
                      <a:pt x="146" y="5"/>
                    </a:lnTo>
                    <a:lnTo>
                      <a:pt x="148" y="5"/>
                    </a:lnTo>
                    <a:lnTo>
                      <a:pt x="148" y="4"/>
                    </a:lnTo>
                    <a:lnTo>
                      <a:pt x="152" y="2"/>
                    </a:lnTo>
                    <a:lnTo>
                      <a:pt x="152" y="0"/>
                    </a:lnTo>
                    <a:lnTo>
                      <a:pt x="158" y="2"/>
                    </a:lnTo>
                    <a:lnTo>
                      <a:pt x="158" y="4"/>
                    </a:lnTo>
                    <a:lnTo>
                      <a:pt x="162" y="5"/>
                    </a:lnTo>
                    <a:lnTo>
                      <a:pt x="165" y="4"/>
                    </a:lnTo>
                    <a:lnTo>
                      <a:pt x="167" y="5"/>
                    </a:lnTo>
                    <a:lnTo>
                      <a:pt x="167" y="10"/>
                    </a:lnTo>
                    <a:lnTo>
                      <a:pt x="165" y="10"/>
                    </a:lnTo>
                    <a:lnTo>
                      <a:pt x="165" y="17"/>
                    </a:lnTo>
                    <a:lnTo>
                      <a:pt x="165" y="19"/>
                    </a:lnTo>
                    <a:lnTo>
                      <a:pt x="162" y="21"/>
                    </a:lnTo>
                    <a:lnTo>
                      <a:pt x="162" y="24"/>
                    </a:lnTo>
                    <a:lnTo>
                      <a:pt x="162" y="27"/>
                    </a:lnTo>
                    <a:lnTo>
                      <a:pt x="169" y="29"/>
                    </a:lnTo>
                    <a:lnTo>
                      <a:pt x="169" y="33"/>
                    </a:lnTo>
                    <a:lnTo>
                      <a:pt x="172" y="34"/>
                    </a:lnTo>
                    <a:lnTo>
                      <a:pt x="175" y="39"/>
                    </a:lnTo>
                    <a:lnTo>
                      <a:pt x="177" y="38"/>
                    </a:lnTo>
                    <a:lnTo>
                      <a:pt x="179" y="39"/>
                    </a:lnTo>
                    <a:lnTo>
                      <a:pt x="180" y="38"/>
                    </a:lnTo>
                    <a:lnTo>
                      <a:pt x="180" y="39"/>
                    </a:lnTo>
                    <a:lnTo>
                      <a:pt x="180" y="41"/>
                    </a:lnTo>
                    <a:lnTo>
                      <a:pt x="182" y="43"/>
                    </a:lnTo>
                    <a:lnTo>
                      <a:pt x="182" y="44"/>
                    </a:lnTo>
                    <a:lnTo>
                      <a:pt x="186" y="44"/>
                    </a:lnTo>
                    <a:lnTo>
                      <a:pt x="184" y="46"/>
                    </a:lnTo>
                    <a:lnTo>
                      <a:pt x="184" y="55"/>
                    </a:lnTo>
                    <a:lnTo>
                      <a:pt x="187" y="56"/>
                    </a:lnTo>
                    <a:lnTo>
                      <a:pt x="187" y="58"/>
                    </a:lnTo>
                    <a:lnTo>
                      <a:pt x="184" y="58"/>
                    </a:lnTo>
                    <a:lnTo>
                      <a:pt x="184" y="60"/>
                    </a:lnTo>
                    <a:lnTo>
                      <a:pt x="186" y="63"/>
                    </a:lnTo>
                    <a:lnTo>
                      <a:pt x="184" y="65"/>
                    </a:lnTo>
                    <a:lnTo>
                      <a:pt x="184" y="68"/>
                    </a:lnTo>
                    <a:lnTo>
                      <a:pt x="182" y="70"/>
                    </a:lnTo>
                    <a:lnTo>
                      <a:pt x="182" y="73"/>
                    </a:lnTo>
                    <a:lnTo>
                      <a:pt x="184" y="75"/>
                    </a:lnTo>
                    <a:lnTo>
                      <a:pt x="184" y="77"/>
                    </a:lnTo>
                    <a:lnTo>
                      <a:pt x="182" y="77"/>
                    </a:lnTo>
                    <a:lnTo>
                      <a:pt x="180" y="75"/>
                    </a:lnTo>
                    <a:lnTo>
                      <a:pt x="179" y="77"/>
                    </a:lnTo>
                    <a:lnTo>
                      <a:pt x="180" y="80"/>
                    </a:lnTo>
                    <a:lnTo>
                      <a:pt x="184" y="78"/>
                    </a:lnTo>
                    <a:lnTo>
                      <a:pt x="186" y="80"/>
                    </a:lnTo>
                    <a:lnTo>
                      <a:pt x="184" y="82"/>
                    </a:lnTo>
                    <a:lnTo>
                      <a:pt x="179" y="82"/>
                    </a:lnTo>
                    <a:lnTo>
                      <a:pt x="179" y="84"/>
                    </a:lnTo>
                    <a:lnTo>
                      <a:pt x="180" y="84"/>
                    </a:lnTo>
                    <a:lnTo>
                      <a:pt x="182" y="85"/>
                    </a:lnTo>
                    <a:lnTo>
                      <a:pt x="179" y="87"/>
                    </a:lnTo>
                    <a:lnTo>
                      <a:pt x="177" y="85"/>
                    </a:lnTo>
                    <a:lnTo>
                      <a:pt x="177" y="87"/>
                    </a:lnTo>
                    <a:lnTo>
                      <a:pt x="179" y="89"/>
                    </a:lnTo>
                    <a:lnTo>
                      <a:pt x="180" y="89"/>
                    </a:lnTo>
                    <a:lnTo>
                      <a:pt x="184" y="87"/>
                    </a:lnTo>
                    <a:lnTo>
                      <a:pt x="184" y="85"/>
                    </a:lnTo>
                    <a:lnTo>
                      <a:pt x="189" y="85"/>
                    </a:lnTo>
                    <a:lnTo>
                      <a:pt x="191" y="85"/>
                    </a:lnTo>
                    <a:lnTo>
                      <a:pt x="191" y="89"/>
                    </a:lnTo>
                    <a:lnTo>
                      <a:pt x="194" y="89"/>
                    </a:lnTo>
                    <a:lnTo>
                      <a:pt x="194" y="90"/>
                    </a:lnTo>
                    <a:lnTo>
                      <a:pt x="194" y="94"/>
                    </a:lnTo>
                    <a:lnTo>
                      <a:pt x="194" y="96"/>
                    </a:lnTo>
                    <a:lnTo>
                      <a:pt x="192" y="97"/>
                    </a:lnTo>
                    <a:lnTo>
                      <a:pt x="192" y="101"/>
                    </a:lnTo>
                    <a:lnTo>
                      <a:pt x="191" y="102"/>
                    </a:lnTo>
                    <a:lnTo>
                      <a:pt x="191" y="104"/>
                    </a:lnTo>
                    <a:lnTo>
                      <a:pt x="189" y="107"/>
                    </a:lnTo>
                    <a:lnTo>
                      <a:pt x="192" y="114"/>
                    </a:lnTo>
                    <a:lnTo>
                      <a:pt x="192" y="118"/>
                    </a:lnTo>
                    <a:lnTo>
                      <a:pt x="191" y="119"/>
                    </a:lnTo>
                    <a:lnTo>
                      <a:pt x="191" y="121"/>
                    </a:lnTo>
                    <a:lnTo>
                      <a:pt x="189" y="121"/>
                    </a:lnTo>
                    <a:lnTo>
                      <a:pt x="189" y="119"/>
                    </a:lnTo>
                    <a:lnTo>
                      <a:pt x="187" y="121"/>
                    </a:lnTo>
                    <a:lnTo>
                      <a:pt x="186" y="121"/>
                    </a:lnTo>
                    <a:lnTo>
                      <a:pt x="186" y="123"/>
                    </a:lnTo>
                    <a:lnTo>
                      <a:pt x="189" y="131"/>
                    </a:lnTo>
                    <a:lnTo>
                      <a:pt x="191" y="131"/>
                    </a:lnTo>
                    <a:lnTo>
                      <a:pt x="192" y="133"/>
                    </a:lnTo>
                    <a:lnTo>
                      <a:pt x="194" y="135"/>
                    </a:lnTo>
                    <a:lnTo>
                      <a:pt x="199" y="136"/>
                    </a:lnTo>
                    <a:lnTo>
                      <a:pt x="199" y="140"/>
                    </a:lnTo>
                    <a:lnTo>
                      <a:pt x="201" y="141"/>
                    </a:lnTo>
                    <a:lnTo>
                      <a:pt x="203" y="145"/>
                    </a:lnTo>
                    <a:lnTo>
                      <a:pt x="203" y="147"/>
                    </a:lnTo>
                    <a:lnTo>
                      <a:pt x="199" y="148"/>
                    </a:lnTo>
                    <a:lnTo>
                      <a:pt x="197" y="150"/>
                    </a:lnTo>
                    <a:lnTo>
                      <a:pt x="196" y="152"/>
                    </a:lnTo>
                    <a:lnTo>
                      <a:pt x="197" y="153"/>
                    </a:lnTo>
                    <a:lnTo>
                      <a:pt x="196" y="155"/>
                    </a:lnTo>
                    <a:lnTo>
                      <a:pt x="196" y="157"/>
                    </a:lnTo>
                    <a:lnTo>
                      <a:pt x="197" y="172"/>
                    </a:lnTo>
                    <a:lnTo>
                      <a:pt x="197" y="174"/>
                    </a:lnTo>
                    <a:lnTo>
                      <a:pt x="197" y="175"/>
                    </a:lnTo>
                    <a:lnTo>
                      <a:pt x="196" y="177"/>
                    </a:lnTo>
                    <a:lnTo>
                      <a:pt x="196" y="181"/>
                    </a:lnTo>
                    <a:lnTo>
                      <a:pt x="192" y="182"/>
                    </a:lnTo>
                    <a:lnTo>
                      <a:pt x="192" y="187"/>
                    </a:lnTo>
                    <a:lnTo>
                      <a:pt x="192" y="189"/>
                    </a:lnTo>
                    <a:lnTo>
                      <a:pt x="194" y="192"/>
                    </a:lnTo>
                    <a:lnTo>
                      <a:pt x="197" y="191"/>
                    </a:lnTo>
                    <a:lnTo>
                      <a:pt x="199" y="192"/>
                    </a:lnTo>
                    <a:lnTo>
                      <a:pt x="199" y="196"/>
                    </a:lnTo>
                    <a:lnTo>
                      <a:pt x="197" y="203"/>
                    </a:lnTo>
                    <a:lnTo>
                      <a:pt x="196" y="204"/>
                    </a:lnTo>
                    <a:lnTo>
                      <a:pt x="197" y="208"/>
                    </a:lnTo>
                    <a:lnTo>
                      <a:pt x="196" y="209"/>
                    </a:lnTo>
                    <a:lnTo>
                      <a:pt x="196" y="211"/>
                    </a:lnTo>
                    <a:lnTo>
                      <a:pt x="194" y="213"/>
                    </a:lnTo>
                    <a:lnTo>
                      <a:pt x="192" y="213"/>
                    </a:lnTo>
                    <a:lnTo>
                      <a:pt x="192" y="215"/>
                    </a:lnTo>
                    <a:lnTo>
                      <a:pt x="194" y="216"/>
                    </a:lnTo>
                    <a:lnTo>
                      <a:pt x="192" y="220"/>
                    </a:lnTo>
                    <a:lnTo>
                      <a:pt x="194" y="221"/>
                    </a:lnTo>
                    <a:lnTo>
                      <a:pt x="196" y="223"/>
                    </a:lnTo>
                    <a:lnTo>
                      <a:pt x="199" y="225"/>
                    </a:lnTo>
                    <a:lnTo>
                      <a:pt x="197" y="230"/>
                    </a:lnTo>
                    <a:lnTo>
                      <a:pt x="199" y="232"/>
                    </a:lnTo>
                    <a:lnTo>
                      <a:pt x="201" y="232"/>
                    </a:lnTo>
                    <a:lnTo>
                      <a:pt x="201" y="233"/>
                    </a:lnTo>
                    <a:lnTo>
                      <a:pt x="204" y="233"/>
                    </a:lnTo>
                    <a:lnTo>
                      <a:pt x="203" y="235"/>
                    </a:lnTo>
                    <a:lnTo>
                      <a:pt x="204" y="240"/>
                    </a:lnTo>
                    <a:lnTo>
                      <a:pt x="206" y="242"/>
                    </a:lnTo>
                    <a:lnTo>
                      <a:pt x="209" y="244"/>
                    </a:lnTo>
                    <a:lnTo>
                      <a:pt x="211" y="245"/>
                    </a:lnTo>
                    <a:lnTo>
                      <a:pt x="216" y="245"/>
                    </a:lnTo>
                    <a:lnTo>
                      <a:pt x="218" y="250"/>
                    </a:lnTo>
                    <a:lnTo>
                      <a:pt x="220" y="252"/>
                    </a:lnTo>
                    <a:lnTo>
                      <a:pt x="221" y="254"/>
                    </a:lnTo>
                    <a:lnTo>
                      <a:pt x="226" y="254"/>
                    </a:lnTo>
                    <a:lnTo>
                      <a:pt x="226" y="257"/>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5" name="Freeform 31">
                <a:extLst>
                  <a:ext uri="{FF2B5EF4-FFF2-40B4-BE49-F238E27FC236}">
                    <a16:creationId xmlns:a16="http://schemas.microsoft.com/office/drawing/2014/main" id="{E2B1BFB9-EAD1-4357-8902-869030345962}"/>
                  </a:ext>
                </a:extLst>
              </p:cNvPr>
              <p:cNvSpPr>
                <a:spLocks noEditPoints="1"/>
              </p:cNvSpPr>
              <p:nvPr/>
            </p:nvSpPr>
            <p:spPr bwMode="gray">
              <a:xfrm>
                <a:off x="3363913" y="2433638"/>
                <a:ext cx="598487" cy="442913"/>
              </a:xfrm>
              <a:custGeom>
                <a:avLst/>
                <a:gdLst>
                  <a:gd name="T0" fmla="*/ 189 w 377"/>
                  <a:gd name="T1" fmla="*/ 29 h 279"/>
                  <a:gd name="T2" fmla="*/ 207 w 377"/>
                  <a:gd name="T3" fmla="*/ 24 h 279"/>
                  <a:gd name="T4" fmla="*/ 231 w 377"/>
                  <a:gd name="T5" fmla="*/ 32 h 279"/>
                  <a:gd name="T6" fmla="*/ 248 w 377"/>
                  <a:gd name="T7" fmla="*/ 24 h 279"/>
                  <a:gd name="T8" fmla="*/ 274 w 377"/>
                  <a:gd name="T9" fmla="*/ 30 h 279"/>
                  <a:gd name="T10" fmla="*/ 289 w 377"/>
                  <a:gd name="T11" fmla="*/ 12 h 279"/>
                  <a:gd name="T12" fmla="*/ 309 w 377"/>
                  <a:gd name="T13" fmla="*/ 24 h 279"/>
                  <a:gd name="T14" fmla="*/ 318 w 377"/>
                  <a:gd name="T15" fmla="*/ 46 h 279"/>
                  <a:gd name="T16" fmla="*/ 336 w 377"/>
                  <a:gd name="T17" fmla="*/ 64 h 279"/>
                  <a:gd name="T18" fmla="*/ 325 w 377"/>
                  <a:gd name="T19" fmla="*/ 86 h 279"/>
                  <a:gd name="T20" fmla="*/ 342 w 377"/>
                  <a:gd name="T21" fmla="*/ 98 h 279"/>
                  <a:gd name="T22" fmla="*/ 359 w 377"/>
                  <a:gd name="T23" fmla="*/ 127 h 279"/>
                  <a:gd name="T24" fmla="*/ 353 w 377"/>
                  <a:gd name="T25" fmla="*/ 146 h 279"/>
                  <a:gd name="T26" fmla="*/ 367 w 377"/>
                  <a:gd name="T27" fmla="*/ 165 h 279"/>
                  <a:gd name="T28" fmla="*/ 362 w 377"/>
                  <a:gd name="T29" fmla="*/ 199 h 279"/>
                  <a:gd name="T30" fmla="*/ 365 w 377"/>
                  <a:gd name="T31" fmla="*/ 216 h 279"/>
                  <a:gd name="T32" fmla="*/ 348 w 377"/>
                  <a:gd name="T33" fmla="*/ 214 h 279"/>
                  <a:gd name="T34" fmla="*/ 359 w 377"/>
                  <a:gd name="T35" fmla="*/ 234 h 279"/>
                  <a:gd name="T36" fmla="*/ 340 w 377"/>
                  <a:gd name="T37" fmla="*/ 257 h 279"/>
                  <a:gd name="T38" fmla="*/ 323 w 377"/>
                  <a:gd name="T39" fmla="*/ 262 h 279"/>
                  <a:gd name="T40" fmla="*/ 304 w 377"/>
                  <a:gd name="T41" fmla="*/ 277 h 279"/>
                  <a:gd name="T42" fmla="*/ 284 w 377"/>
                  <a:gd name="T43" fmla="*/ 268 h 279"/>
                  <a:gd name="T44" fmla="*/ 284 w 377"/>
                  <a:gd name="T45" fmla="*/ 228 h 279"/>
                  <a:gd name="T46" fmla="*/ 274 w 377"/>
                  <a:gd name="T47" fmla="*/ 212 h 279"/>
                  <a:gd name="T48" fmla="*/ 255 w 377"/>
                  <a:gd name="T49" fmla="*/ 216 h 279"/>
                  <a:gd name="T50" fmla="*/ 228 w 377"/>
                  <a:gd name="T51" fmla="*/ 221 h 279"/>
                  <a:gd name="T52" fmla="*/ 231 w 377"/>
                  <a:gd name="T53" fmla="*/ 197 h 279"/>
                  <a:gd name="T54" fmla="*/ 221 w 377"/>
                  <a:gd name="T55" fmla="*/ 168 h 279"/>
                  <a:gd name="T56" fmla="*/ 207 w 377"/>
                  <a:gd name="T57" fmla="*/ 149 h 279"/>
                  <a:gd name="T58" fmla="*/ 131 w 377"/>
                  <a:gd name="T59" fmla="*/ 146 h 279"/>
                  <a:gd name="T60" fmla="*/ 122 w 377"/>
                  <a:gd name="T61" fmla="*/ 166 h 279"/>
                  <a:gd name="T62" fmla="*/ 102 w 377"/>
                  <a:gd name="T63" fmla="*/ 183 h 279"/>
                  <a:gd name="T64" fmla="*/ 90 w 377"/>
                  <a:gd name="T65" fmla="*/ 177 h 279"/>
                  <a:gd name="T66" fmla="*/ 90 w 377"/>
                  <a:gd name="T67" fmla="*/ 168 h 279"/>
                  <a:gd name="T68" fmla="*/ 81 w 377"/>
                  <a:gd name="T69" fmla="*/ 156 h 279"/>
                  <a:gd name="T70" fmla="*/ 76 w 377"/>
                  <a:gd name="T71" fmla="*/ 156 h 279"/>
                  <a:gd name="T72" fmla="*/ 80 w 377"/>
                  <a:gd name="T73" fmla="*/ 148 h 279"/>
                  <a:gd name="T74" fmla="*/ 70 w 377"/>
                  <a:gd name="T75" fmla="*/ 144 h 279"/>
                  <a:gd name="T76" fmla="*/ 56 w 377"/>
                  <a:gd name="T77" fmla="*/ 132 h 279"/>
                  <a:gd name="T78" fmla="*/ 42 w 377"/>
                  <a:gd name="T79" fmla="*/ 129 h 279"/>
                  <a:gd name="T80" fmla="*/ 39 w 377"/>
                  <a:gd name="T81" fmla="*/ 126 h 279"/>
                  <a:gd name="T82" fmla="*/ 22 w 377"/>
                  <a:gd name="T83" fmla="*/ 109 h 279"/>
                  <a:gd name="T84" fmla="*/ 24 w 377"/>
                  <a:gd name="T85" fmla="*/ 95 h 279"/>
                  <a:gd name="T86" fmla="*/ 17 w 377"/>
                  <a:gd name="T87" fmla="*/ 93 h 279"/>
                  <a:gd name="T88" fmla="*/ 12 w 377"/>
                  <a:gd name="T89" fmla="*/ 80 h 279"/>
                  <a:gd name="T90" fmla="*/ 47 w 377"/>
                  <a:gd name="T91" fmla="*/ 51 h 279"/>
                  <a:gd name="T92" fmla="*/ 64 w 377"/>
                  <a:gd name="T93" fmla="*/ 49 h 279"/>
                  <a:gd name="T94" fmla="*/ 63 w 377"/>
                  <a:gd name="T95" fmla="*/ 22 h 279"/>
                  <a:gd name="T96" fmla="*/ 71 w 377"/>
                  <a:gd name="T97" fmla="*/ 8 h 279"/>
                  <a:gd name="T98" fmla="*/ 107 w 377"/>
                  <a:gd name="T99" fmla="*/ 12 h 279"/>
                  <a:gd name="T100" fmla="*/ 144 w 377"/>
                  <a:gd name="T101" fmla="*/ 17 h 279"/>
                  <a:gd name="T102" fmla="*/ 7 w 377"/>
                  <a:gd name="T103" fmla="*/ 92 h 279"/>
                  <a:gd name="T104" fmla="*/ 24 w 377"/>
                  <a:gd name="T105" fmla="*/ 102 h 279"/>
                  <a:gd name="T106" fmla="*/ 51 w 377"/>
                  <a:gd name="T107" fmla="*/ 131 h 279"/>
                  <a:gd name="T108" fmla="*/ 70 w 377"/>
                  <a:gd name="T109" fmla="*/ 146 h 279"/>
                  <a:gd name="T110" fmla="*/ 10 w 377"/>
                  <a:gd name="T111" fmla="*/ 85 h 279"/>
                  <a:gd name="T112" fmla="*/ 51 w 377"/>
                  <a:gd name="T113" fmla="*/ 129 h 279"/>
                  <a:gd name="T114" fmla="*/ 66 w 377"/>
                  <a:gd name="T115" fmla="*/ 160 h 279"/>
                  <a:gd name="T116" fmla="*/ 53 w 377"/>
                  <a:gd name="T117" fmla="*/ 131 h 279"/>
                  <a:gd name="T118" fmla="*/ 71 w 377"/>
                  <a:gd name="T119" fmla="*/ 14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7" h="279">
                    <a:moveTo>
                      <a:pt x="189" y="13"/>
                    </a:moveTo>
                    <a:lnTo>
                      <a:pt x="189" y="15"/>
                    </a:lnTo>
                    <a:lnTo>
                      <a:pt x="187" y="15"/>
                    </a:lnTo>
                    <a:lnTo>
                      <a:pt x="185" y="15"/>
                    </a:lnTo>
                    <a:lnTo>
                      <a:pt x="185" y="17"/>
                    </a:lnTo>
                    <a:lnTo>
                      <a:pt x="183" y="17"/>
                    </a:lnTo>
                    <a:lnTo>
                      <a:pt x="185" y="17"/>
                    </a:lnTo>
                    <a:lnTo>
                      <a:pt x="185" y="20"/>
                    </a:lnTo>
                    <a:lnTo>
                      <a:pt x="183" y="20"/>
                    </a:lnTo>
                    <a:lnTo>
                      <a:pt x="183" y="22"/>
                    </a:lnTo>
                    <a:lnTo>
                      <a:pt x="182" y="24"/>
                    </a:lnTo>
                    <a:lnTo>
                      <a:pt x="182" y="25"/>
                    </a:lnTo>
                    <a:lnTo>
                      <a:pt x="183" y="27"/>
                    </a:lnTo>
                    <a:lnTo>
                      <a:pt x="189" y="29"/>
                    </a:lnTo>
                    <a:lnTo>
                      <a:pt x="189" y="32"/>
                    </a:lnTo>
                    <a:lnTo>
                      <a:pt x="192" y="34"/>
                    </a:lnTo>
                    <a:lnTo>
                      <a:pt x="194" y="35"/>
                    </a:lnTo>
                    <a:lnTo>
                      <a:pt x="195" y="35"/>
                    </a:lnTo>
                    <a:lnTo>
                      <a:pt x="195" y="34"/>
                    </a:lnTo>
                    <a:lnTo>
                      <a:pt x="197" y="34"/>
                    </a:lnTo>
                    <a:lnTo>
                      <a:pt x="200" y="32"/>
                    </a:lnTo>
                    <a:lnTo>
                      <a:pt x="200" y="29"/>
                    </a:lnTo>
                    <a:lnTo>
                      <a:pt x="200" y="30"/>
                    </a:lnTo>
                    <a:lnTo>
                      <a:pt x="202" y="29"/>
                    </a:lnTo>
                    <a:lnTo>
                      <a:pt x="204" y="27"/>
                    </a:lnTo>
                    <a:lnTo>
                      <a:pt x="204" y="25"/>
                    </a:lnTo>
                    <a:lnTo>
                      <a:pt x="204" y="24"/>
                    </a:lnTo>
                    <a:lnTo>
                      <a:pt x="207" y="24"/>
                    </a:lnTo>
                    <a:lnTo>
                      <a:pt x="211" y="24"/>
                    </a:lnTo>
                    <a:lnTo>
                      <a:pt x="212" y="24"/>
                    </a:lnTo>
                    <a:lnTo>
                      <a:pt x="214" y="27"/>
                    </a:lnTo>
                    <a:lnTo>
                      <a:pt x="217" y="29"/>
                    </a:lnTo>
                    <a:lnTo>
                      <a:pt x="217" y="30"/>
                    </a:lnTo>
                    <a:lnTo>
                      <a:pt x="217" y="32"/>
                    </a:lnTo>
                    <a:lnTo>
                      <a:pt x="219" y="35"/>
                    </a:lnTo>
                    <a:lnTo>
                      <a:pt x="219" y="37"/>
                    </a:lnTo>
                    <a:lnTo>
                      <a:pt x="223" y="41"/>
                    </a:lnTo>
                    <a:lnTo>
                      <a:pt x="226" y="39"/>
                    </a:lnTo>
                    <a:lnTo>
                      <a:pt x="226" y="35"/>
                    </a:lnTo>
                    <a:lnTo>
                      <a:pt x="229" y="35"/>
                    </a:lnTo>
                    <a:lnTo>
                      <a:pt x="228" y="34"/>
                    </a:lnTo>
                    <a:lnTo>
                      <a:pt x="231" y="32"/>
                    </a:lnTo>
                    <a:lnTo>
                      <a:pt x="231" y="30"/>
                    </a:lnTo>
                    <a:lnTo>
                      <a:pt x="231" y="29"/>
                    </a:lnTo>
                    <a:lnTo>
                      <a:pt x="234" y="29"/>
                    </a:lnTo>
                    <a:lnTo>
                      <a:pt x="236" y="27"/>
                    </a:lnTo>
                    <a:lnTo>
                      <a:pt x="236" y="25"/>
                    </a:lnTo>
                    <a:lnTo>
                      <a:pt x="238" y="25"/>
                    </a:lnTo>
                    <a:lnTo>
                      <a:pt x="240" y="25"/>
                    </a:lnTo>
                    <a:lnTo>
                      <a:pt x="241" y="25"/>
                    </a:lnTo>
                    <a:lnTo>
                      <a:pt x="240" y="24"/>
                    </a:lnTo>
                    <a:lnTo>
                      <a:pt x="241" y="24"/>
                    </a:lnTo>
                    <a:lnTo>
                      <a:pt x="243" y="25"/>
                    </a:lnTo>
                    <a:lnTo>
                      <a:pt x="243" y="24"/>
                    </a:lnTo>
                    <a:lnTo>
                      <a:pt x="245" y="24"/>
                    </a:lnTo>
                    <a:lnTo>
                      <a:pt x="248" y="24"/>
                    </a:lnTo>
                    <a:lnTo>
                      <a:pt x="250" y="25"/>
                    </a:lnTo>
                    <a:lnTo>
                      <a:pt x="251" y="25"/>
                    </a:lnTo>
                    <a:lnTo>
                      <a:pt x="253" y="25"/>
                    </a:lnTo>
                    <a:lnTo>
                      <a:pt x="253" y="27"/>
                    </a:lnTo>
                    <a:lnTo>
                      <a:pt x="255" y="27"/>
                    </a:lnTo>
                    <a:lnTo>
                      <a:pt x="257" y="29"/>
                    </a:lnTo>
                    <a:lnTo>
                      <a:pt x="258" y="29"/>
                    </a:lnTo>
                    <a:lnTo>
                      <a:pt x="262" y="29"/>
                    </a:lnTo>
                    <a:lnTo>
                      <a:pt x="263" y="32"/>
                    </a:lnTo>
                    <a:lnTo>
                      <a:pt x="267" y="30"/>
                    </a:lnTo>
                    <a:lnTo>
                      <a:pt x="268" y="32"/>
                    </a:lnTo>
                    <a:lnTo>
                      <a:pt x="272" y="34"/>
                    </a:lnTo>
                    <a:lnTo>
                      <a:pt x="274" y="32"/>
                    </a:lnTo>
                    <a:lnTo>
                      <a:pt x="274" y="30"/>
                    </a:lnTo>
                    <a:lnTo>
                      <a:pt x="274" y="29"/>
                    </a:lnTo>
                    <a:lnTo>
                      <a:pt x="275" y="25"/>
                    </a:lnTo>
                    <a:lnTo>
                      <a:pt x="279" y="25"/>
                    </a:lnTo>
                    <a:lnTo>
                      <a:pt x="280" y="25"/>
                    </a:lnTo>
                    <a:lnTo>
                      <a:pt x="284" y="22"/>
                    </a:lnTo>
                    <a:lnTo>
                      <a:pt x="287" y="22"/>
                    </a:lnTo>
                    <a:lnTo>
                      <a:pt x="291" y="22"/>
                    </a:lnTo>
                    <a:lnTo>
                      <a:pt x="292" y="20"/>
                    </a:lnTo>
                    <a:lnTo>
                      <a:pt x="292" y="18"/>
                    </a:lnTo>
                    <a:lnTo>
                      <a:pt x="292" y="17"/>
                    </a:lnTo>
                    <a:lnTo>
                      <a:pt x="291" y="15"/>
                    </a:lnTo>
                    <a:lnTo>
                      <a:pt x="291" y="13"/>
                    </a:lnTo>
                    <a:lnTo>
                      <a:pt x="289" y="13"/>
                    </a:lnTo>
                    <a:lnTo>
                      <a:pt x="289" y="12"/>
                    </a:lnTo>
                    <a:lnTo>
                      <a:pt x="287" y="12"/>
                    </a:lnTo>
                    <a:lnTo>
                      <a:pt x="289" y="10"/>
                    </a:lnTo>
                    <a:lnTo>
                      <a:pt x="291" y="10"/>
                    </a:lnTo>
                    <a:lnTo>
                      <a:pt x="292" y="8"/>
                    </a:lnTo>
                    <a:lnTo>
                      <a:pt x="294" y="10"/>
                    </a:lnTo>
                    <a:lnTo>
                      <a:pt x="296" y="8"/>
                    </a:lnTo>
                    <a:lnTo>
                      <a:pt x="301" y="10"/>
                    </a:lnTo>
                    <a:lnTo>
                      <a:pt x="304" y="12"/>
                    </a:lnTo>
                    <a:lnTo>
                      <a:pt x="308" y="13"/>
                    </a:lnTo>
                    <a:lnTo>
                      <a:pt x="308" y="15"/>
                    </a:lnTo>
                    <a:lnTo>
                      <a:pt x="311" y="17"/>
                    </a:lnTo>
                    <a:lnTo>
                      <a:pt x="311" y="18"/>
                    </a:lnTo>
                    <a:lnTo>
                      <a:pt x="309" y="22"/>
                    </a:lnTo>
                    <a:lnTo>
                      <a:pt x="309" y="24"/>
                    </a:lnTo>
                    <a:lnTo>
                      <a:pt x="309" y="25"/>
                    </a:lnTo>
                    <a:lnTo>
                      <a:pt x="313" y="24"/>
                    </a:lnTo>
                    <a:lnTo>
                      <a:pt x="314" y="27"/>
                    </a:lnTo>
                    <a:lnTo>
                      <a:pt x="313" y="29"/>
                    </a:lnTo>
                    <a:lnTo>
                      <a:pt x="313" y="30"/>
                    </a:lnTo>
                    <a:lnTo>
                      <a:pt x="313" y="32"/>
                    </a:lnTo>
                    <a:lnTo>
                      <a:pt x="314" y="32"/>
                    </a:lnTo>
                    <a:lnTo>
                      <a:pt x="314" y="34"/>
                    </a:lnTo>
                    <a:lnTo>
                      <a:pt x="316" y="32"/>
                    </a:lnTo>
                    <a:lnTo>
                      <a:pt x="318" y="34"/>
                    </a:lnTo>
                    <a:lnTo>
                      <a:pt x="318" y="35"/>
                    </a:lnTo>
                    <a:lnTo>
                      <a:pt x="319" y="41"/>
                    </a:lnTo>
                    <a:lnTo>
                      <a:pt x="316" y="44"/>
                    </a:lnTo>
                    <a:lnTo>
                      <a:pt x="318" y="46"/>
                    </a:lnTo>
                    <a:lnTo>
                      <a:pt x="316" y="52"/>
                    </a:lnTo>
                    <a:lnTo>
                      <a:pt x="319" y="54"/>
                    </a:lnTo>
                    <a:lnTo>
                      <a:pt x="319" y="52"/>
                    </a:lnTo>
                    <a:lnTo>
                      <a:pt x="321" y="54"/>
                    </a:lnTo>
                    <a:lnTo>
                      <a:pt x="323" y="52"/>
                    </a:lnTo>
                    <a:lnTo>
                      <a:pt x="326" y="58"/>
                    </a:lnTo>
                    <a:lnTo>
                      <a:pt x="326" y="59"/>
                    </a:lnTo>
                    <a:lnTo>
                      <a:pt x="328" y="61"/>
                    </a:lnTo>
                    <a:lnTo>
                      <a:pt x="330" y="61"/>
                    </a:lnTo>
                    <a:lnTo>
                      <a:pt x="331" y="61"/>
                    </a:lnTo>
                    <a:lnTo>
                      <a:pt x="333" y="64"/>
                    </a:lnTo>
                    <a:lnTo>
                      <a:pt x="335" y="64"/>
                    </a:lnTo>
                    <a:lnTo>
                      <a:pt x="335" y="63"/>
                    </a:lnTo>
                    <a:lnTo>
                      <a:pt x="336" y="64"/>
                    </a:lnTo>
                    <a:lnTo>
                      <a:pt x="340" y="66"/>
                    </a:lnTo>
                    <a:lnTo>
                      <a:pt x="338" y="66"/>
                    </a:lnTo>
                    <a:lnTo>
                      <a:pt x="338" y="68"/>
                    </a:lnTo>
                    <a:lnTo>
                      <a:pt x="342" y="68"/>
                    </a:lnTo>
                    <a:lnTo>
                      <a:pt x="340" y="71"/>
                    </a:lnTo>
                    <a:lnTo>
                      <a:pt x="338" y="71"/>
                    </a:lnTo>
                    <a:lnTo>
                      <a:pt x="335" y="71"/>
                    </a:lnTo>
                    <a:lnTo>
                      <a:pt x="335" y="73"/>
                    </a:lnTo>
                    <a:lnTo>
                      <a:pt x="331" y="75"/>
                    </a:lnTo>
                    <a:lnTo>
                      <a:pt x="330" y="78"/>
                    </a:lnTo>
                    <a:lnTo>
                      <a:pt x="328" y="78"/>
                    </a:lnTo>
                    <a:lnTo>
                      <a:pt x="328" y="80"/>
                    </a:lnTo>
                    <a:lnTo>
                      <a:pt x="325" y="85"/>
                    </a:lnTo>
                    <a:lnTo>
                      <a:pt x="325" y="86"/>
                    </a:lnTo>
                    <a:lnTo>
                      <a:pt x="325" y="88"/>
                    </a:lnTo>
                    <a:lnTo>
                      <a:pt x="328" y="86"/>
                    </a:lnTo>
                    <a:lnTo>
                      <a:pt x="328" y="88"/>
                    </a:lnTo>
                    <a:lnTo>
                      <a:pt x="333" y="86"/>
                    </a:lnTo>
                    <a:lnTo>
                      <a:pt x="335" y="81"/>
                    </a:lnTo>
                    <a:lnTo>
                      <a:pt x="338" y="81"/>
                    </a:lnTo>
                    <a:lnTo>
                      <a:pt x="340" y="81"/>
                    </a:lnTo>
                    <a:lnTo>
                      <a:pt x="342" y="81"/>
                    </a:lnTo>
                    <a:lnTo>
                      <a:pt x="343" y="85"/>
                    </a:lnTo>
                    <a:lnTo>
                      <a:pt x="345" y="92"/>
                    </a:lnTo>
                    <a:lnTo>
                      <a:pt x="345" y="93"/>
                    </a:lnTo>
                    <a:lnTo>
                      <a:pt x="343" y="93"/>
                    </a:lnTo>
                    <a:lnTo>
                      <a:pt x="342" y="97"/>
                    </a:lnTo>
                    <a:lnTo>
                      <a:pt x="342" y="98"/>
                    </a:lnTo>
                    <a:lnTo>
                      <a:pt x="343" y="97"/>
                    </a:lnTo>
                    <a:lnTo>
                      <a:pt x="343" y="100"/>
                    </a:lnTo>
                    <a:lnTo>
                      <a:pt x="345" y="105"/>
                    </a:lnTo>
                    <a:lnTo>
                      <a:pt x="345" y="107"/>
                    </a:lnTo>
                    <a:lnTo>
                      <a:pt x="345" y="109"/>
                    </a:lnTo>
                    <a:lnTo>
                      <a:pt x="347" y="114"/>
                    </a:lnTo>
                    <a:lnTo>
                      <a:pt x="350" y="115"/>
                    </a:lnTo>
                    <a:lnTo>
                      <a:pt x="353" y="114"/>
                    </a:lnTo>
                    <a:lnTo>
                      <a:pt x="353" y="117"/>
                    </a:lnTo>
                    <a:lnTo>
                      <a:pt x="359" y="117"/>
                    </a:lnTo>
                    <a:lnTo>
                      <a:pt x="362" y="119"/>
                    </a:lnTo>
                    <a:lnTo>
                      <a:pt x="362" y="124"/>
                    </a:lnTo>
                    <a:lnTo>
                      <a:pt x="360" y="127"/>
                    </a:lnTo>
                    <a:lnTo>
                      <a:pt x="359" y="127"/>
                    </a:lnTo>
                    <a:lnTo>
                      <a:pt x="359" y="131"/>
                    </a:lnTo>
                    <a:lnTo>
                      <a:pt x="352" y="134"/>
                    </a:lnTo>
                    <a:lnTo>
                      <a:pt x="352" y="137"/>
                    </a:lnTo>
                    <a:lnTo>
                      <a:pt x="353" y="137"/>
                    </a:lnTo>
                    <a:lnTo>
                      <a:pt x="350" y="139"/>
                    </a:lnTo>
                    <a:lnTo>
                      <a:pt x="352" y="139"/>
                    </a:lnTo>
                    <a:lnTo>
                      <a:pt x="350" y="139"/>
                    </a:lnTo>
                    <a:lnTo>
                      <a:pt x="352" y="141"/>
                    </a:lnTo>
                    <a:lnTo>
                      <a:pt x="352" y="139"/>
                    </a:lnTo>
                    <a:lnTo>
                      <a:pt x="353" y="141"/>
                    </a:lnTo>
                    <a:lnTo>
                      <a:pt x="352" y="143"/>
                    </a:lnTo>
                    <a:lnTo>
                      <a:pt x="353" y="143"/>
                    </a:lnTo>
                    <a:lnTo>
                      <a:pt x="353" y="144"/>
                    </a:lnTo>
                    <a:lnTo>
                      <a:pt x="353" y="146"/>
                    </a:lnTo>
                    <a:lnTo>
                      <a:pt x="353" y="148"/>
                    </a:lnTo>
                    <a:lnTo>
                      <a:pt x="352" y="148"/>
                    </a:lnTo>
                    <a:lnTo>
                      <a:pt x="353" y="151"/>
                    </a:lnTo>
                    <a:lnTo>
                      <a:pt x="352" y="151"/>
                    </a:lnTo>
                    <a:lnTo>
                      <a:pt x="353" y="153"/>
                    </a:lnTo>
                    <a:lnTo>
                      <a:pt x="352" y="154"/>
                    </a:lnTo>
                    <a:lnTo>
                      <a:pt x="352" y="156"/>
                    </a:lnTo>
                    <a:lnTo>
                      <a:pt x="352" y="158"/>
                    </a:lnTo>
                    <a:lnTo>
                      <a:pt x="353" y="163"/>
                    </a:lnTo>
                    <a:lnTo>
                      <a:pt x="357" y="166"/>
                    </a:lnTo>
                    <a:lnTo>
                      <a:pt x="360" y="166"/>
                    </a:lnTo>
                    <a:lnTo>
                      <a:pt x="364" y="165"/>
                    </a:lnTo>
                    <a:lnTo>
                      <a:pt x="365" y="165"/>
                    </a:lnTo>
                    <a:lnTo>
                      <a:pt x="367" y="165"/>
                    </a:lnTo>
                    <a:lnTo>
                      <a:pt x="365" y="170"/>
                    </a:lnTo>
                    <a:lnTo>
                      <a:pt x="365" y="172"/>
                    </a:lnTo>
                    <a:lnTo>
                      <a:pt x="362" y="177"/>
                    </a:lnTo>
                    <a:lnTo>
                      <a:pt x="365" y="178"/>
                    </a:lnTo>
                    <a:lnTo>
                      <a:pt x="367" y="177"/>
                    </a:lnTo>
                    <a:lnTo>
                      <a:pt x="370" y="182"/>
                    </a:lnTo>
                    <a:lnTo>
                      <a:pt x="372" y="183"/>
                    </a:lnTo>
                    <a:lnTo>
                      <a:pt x="367" y="182"/>
                    </a:lnTo>
                    <a:lnTo>
                      <a:pt x="365" y="183"/>
                    </a:lnTo>
                    <a:lnTo>
                      <a:pt x="364" y="185"/>
                    </a:lnTo>
                    <a:lnTo>
                      <a:pt x="362" y="185"/>
                    </a:lnTo>
                    <a:lnTo>
                      <a:pt x="364" y="189"/>
                    </a:lnTo>
                    <a:lnTo>
                      <a:pt x="360" y="195"/>
                    </a:lnTo>
                    <a:lnTo>
                      <a:pt x="362" y="199"/>
                    </a:lnTo>
                    <a:lnTo>
                      <a:pt x="365" y="197"/>
                    </a:lnTo>
                    <a:lnTo>
                      <a:pt x="365" y="199"/>
                    </a:lnTo>
                    <a:lnTo>
                      <a:pt x="370" y="199"/>
                    </a:lnTo>
                    <a:lnTo>
                      <a:pt x="374" y="206"/>
                    </a:lnTo>
                    <a:lnTo>
                      <a:pt x="374" y="209"/>
                    </a:lnTo>
                    <a:lnTo>
                      <a:pt x="376" y="212"/>
                    </a:lnTo>
                    <a:lnTo>
                      <a:pt x="376" y="214"/>
                    </a:lnTo>
                    <a:lnTo>
                      <a:pt x="377" y="217"/>
                    </a:lnTo>
                    <a:lnTo>
                      <a:pt x="372" y="217"/>
                    </a:lnTo>
                    <a:lnTo>
                      <a:pt x="369" y="212"/>
                    </a:lnTo>
                    <a:lnTo>
                      <a:pt x="367" y="212"/>
                    </a:lnTo>
                    <a:lnTo>
                      <a:pt x="367" y="214"/>
                    </a:lnTo>
                    <a:lnTo>
                      <a:pt x="367" y="216"/>
                    </a:lnTo>
                    <a:lnTo>
                      <a:pt x="365" y="216"/>
                    </a:lnTo>
                    <a:lnTo>
                      <a:pt x="365" y="214"/>
                    </a:lnTo>
                    <a:lnTo>
                      <a:pt x="364" y="214"/>
                    </a:lnTo>
                    <a:lnTo>
                      <a:pt x="362" y="214"/>
                    </a:lnTo>
                    <a:lnTo>
                      <a:pt x="364" y="214"/>
                    </a:lnTo>
                    <a:lnTo>
                      <a:pt x="362" y="212"/>
                    </a:lnTo>
                    <a:lnTo>
                      <a:pt x="364" y="212"/>
                    </a:lnTo>
                    <a:lnTo>
                      <a:pt x="362" y="211"/>
                    </a:lnTo>
                    <a:lnTo>
                      <a:pt x="360" y="212"/>
                    </a:lnTo>
                    <a:lnTo>
                      <a:pt x="359" y="212"/>
                    </a:lnTo>
                    <a:lnTo>
                      <a:pt x="353" y="211"/>
                    </a:lnTo>
                    <a:lnTo>
                      <a:pt x="353" y="212"/>
                    </a:lnTo>
                    <a:lnTo>
                      <a:pt x="352" y="212"/>
                    </a:lnTo>
                    <a:lnTo>
                      <a:pt x="348" y="211"/>
                    </a:lnTo>
                    <a:lnTo>
                      <a:pt x="348" y="214"/>
                    </a:lnTo>
                    <a:lnTo>
                      <a:pt x="347" y="214"/>
                    </a:lnTo>
                    <a:lnTo>
                      <a:pt x="347" y="223"/>
                    </a:lnTo>
                    <a:lnTo>
                      <a:pt x="347" y="226"/>
                    </a:lnTo>
                    <a:lnTo>
                      <a:pt x="348" y="226"/>
                    </a:lnTo>
                    <a:lnTo>
                      <a:pt x="350" y="228"/>
                    </a:lnTo>
                    <a:lnTo>
                      <a:pt x="352" y="228"/>
                    </a:lnTo>
                    <a:lnTo>
                      <a:pt x="355" y="229"/>
                    </a:lnTo>
                    <a:lnTo>
                      <a:pt x="357" y="228"/>
                    </a:lnTo>
                    <a:lnTo>
                      <a:pt x="359" y="228"/>
                    </a:lnTo>
                    <a:lnTo>
                      <a:pt x="359" y="231"/>
                    </a:lnTo>
                    <a:lnTo>
                      <a:pt x="362" y="234"/>
                    </a:lnTo>
                    <a:lnTo>
                      <a:pt x="362" y="236"/>
                    </a:lnTo>
                    <a:lnTo>
                      <a:pt x="360" y="236"/>
                    </a:lnTo>
                    <a:lnTo>
                      <a:pt x="359" y="234"/>
                    </a:lnTo>
                    <a:lnTo>
                      <a:pt x="359" y="236"/>
                    </a:lnTo>
                    <a:lnTo>
                      <a:pt x="357" y="234"/>
                    </a:lnTo>
                    <a:lnTo>
                      <a:pt x="355" y="240"/>
                    </a:lnTo>
                    <a:lnTo>
                      <a:pt x="353" y="245"/>
                    </a:lnTo>
                    <a:lnTo>
                      <a:pt x="355" y="246"/>
                    </a:lnTo>
                    <a:lnTo>
                      <a:pt x="355" y="248"/>
                    </a:lnTo>
                    <a:lnTo>
                      <a:pt x="353" y="251"/>
                    </a:lnTo>
                    <a:lnTo>
                      <a:pt x="352" y="253"/>
                    </a:lnTo>
                    <a:lnTo>
                      <a:pt x="350" y="258"/>
                    </a:lnTo>
                    <a:lnTo>
                      <a:pt x="348" y="260"/>
                    </a:lnTo>
                    <a:lnTo>
                      <a:pt x="345" y="258"/>
                    </a:lnTo>
                    <a:lnTo>
                      <a:pt x="343" y="257"/>
                    </a:lnTo>
                    <a:lnTo>
                      <a:pt x="340" y="258"/>
                    </a:lnTo>
                    <a:lnTo>
                      <a:pt x="340" y="257"/>
                    </a:lnTo>
                    <a:lnTo>
                      <a:pt x="338" y="257"/>
                    </a:lnTo>
                    <a:lnTo>
                      <a:pt x="335" y="260"/>
                    </a:lnTo>
                    <a:lnTo>
                      <a:pt x="335" y="262"/>
                    </a:lnTo>
                    <a:lnTo>
                      <a:pt x="338" y="262"/>
                    </a:lnTo>
                    <a:lnTo>
                      <a:pt x="338" y="263"/>
                    </a:lnTo>
                    <a:lnTo>
                      <a:pt x="333" y="262"/>
                    </a:lnTo>
                    <a:lnTo>
                      <a:pt x="333" y="258"/>
                    </a:lnTo>
                    <a:lnTo>
                      <a:pt x="331" y="257"/>
                    </a:lnTo>
                    <a:lnTo>
                      <a:pt x="331" y="251"/>
                    </a:lnTo>
                    <a:lnTo>
                      <a:pt x="325" y="253"/>
                    </a:lnTo>
                    <a:lnTo>
                      <a:pt x="323" y="255"/>
                    </a:lnTo>
                    <a:lnTo>
                      <a:pt x="323" y="257"/>
                    </a:lnTo>
                    <a:lnTo>
                      <a:pt x="323" y="260"/>
                    </a:lnTo>
                    <a:lnTo>
                      <a:pt x="323" y="262"/>
                    </a:lnTo>
                    <a:lnTo>
                      <a:pt x="319" y="265"/>
                    </a:lnTo>
                    <a:lnTo>
                      <a:pt x="319" y="267"/>
                    </a:lnTo>
                    <a:lnTo>
                      <a:pt x="318" y="267"/>
                    </a:lnTo>
                    <a:lnTo>
                      <a:pt x="316" y="270"/>
                    </a:lnTo>
                    <a:lnTo>
                      <a:pt x="316" y="272"/>
                    </a:lnTo>
                    <a:lnTo>
                      <a:pt x="316" y="274"/>
                    </a:lnTo>
                    <a:lnTo>
                      <a:pt x="316" y="275"/>
                    </a:lnTo>
                    <a:lnTo>
                      <a:pt x="313" y="275"/>
                    </a:lnTo>
                    <a:lnTo>
                      <a:pt x="313" y="274"/>
                    </a:lnTo>
                    <a:lnTo>
                      <a:pt x="311" y="274"/>
                    </a:lnTo>
                    <a:lnTo>
                      <a:pt x="309" y="274"/>
                    </a:lnTo>
                    <a:lnTo>
                      <a:pt x="309" y="275"/>
                    </a:lnTo>
                    <a:lnTo>
                      <a:pt x="308" y="275"/>
                    </a:lnTo>
                    <a:lnTo>
                      <a:pt x="304" y="277"/>
                    </a:lnTo>
                    <a:lnTo>
                      <a:pt x="302" y="277"/>
                    </a:lnTo>
                    <a:lnTo>
                      <a:pt x="302" y="279"/>
                    </a:lnTo>
                    <a:lnTo>
                      <a:pt x="302" y="275"/>
                    </a:lnTo>
                    <a:lnTo>
                      <a:pt x="302" y="274"/>
                    </a:lnTo>
                    <a:lnTo>
                      <a:pt x="299" y="274"/>
                    </a:lnTo>
                    <a:lnTo>
                      <a:pt x="297" y="272"/>
                    </a:lnTo>
                    <a:lnTo>
                      <a:pt x="297" y="268"/>
                    </a:lnTo>
                    <a:lnTo>
                      <a:pt x="296" y="268"/>
                    </a:lnTo>
                    <a:lnTo>
                      <a:pt x="294" y="268"/>
                    </a:lnTo>
                    <a:lnTo>
                      <a:pt x="294" y="267"/>
                    </a:lnTo>
                    <a:lnTo>
                      <a:pt x="291" y="265"/>
                    </a:lnTo>
                    <a:lnTo>
                      <a:pt x="287" y="268"/>
                    </a:lnTo>
                    <a:lnTo>
                      <a:pt x="287" y="267"/>
                    </a:lnTo>
                    <a:lnTo>
                      <a:pt x="284" y="268"/>
                    </a:lnTo>
                    <a:lnTo>
                      <a:pt x="284" y="267"/>
                    </a:lnTo>
                    <a:lnTo>
                      <a:pt x="287" y="263"/>
                    </a:lnTo>
                    <a:lnTo>
                      <a:pt x="291" y="257"/>
                    </a:lnTo>
                    <a:lnTo>
                      <a:pt x="289" y="255"/>
                    </a:lnTo>
                    <a:lnTo>
                      <a:pt x="291" y="250"/>
                    </a:lnTo>
                    <a:lnTo>
                      <a:pt x="285" y="243"/>
                    </a:lnTo>
                    <a:lnTo>
                      <a:pt x="285" y="240"/>
                    </a:lnTo>
                    <a:lnTo>
                      <a:pt x="287" y="238"/>
                    </a:lnTo>
                    <a:lnTo>
                      <a:pt x="287" y="236"/>
                    </a:lnTo>
                    <a:lnTo>
                      <a:pt x="287" y="234"/>
                    </a:lnTo>
                    <a:lnTo>
                      <a:pt x="285" y="234"/>
                    </a:lnTo>
                    <a:lnTo>
                      <a:pt x="285" y="233"/>
                    </a:lnTo>
                    <a:lnTo>
                      <a:pt x="285" y="231"/>
                    </a:lnTo>
                    <a:lnTo>
                      <a:pt x="284" y="228"/>
                    </a:lnTo>
                    <a:lnTo>
                      <a:pt x="282" y="228"/>
                    </a:lnTo>
                    <a:lnTo>
                      <a:pt x="282" y="224"/>
                    </a:lnTo>
                    <a:lnTo>
                      <a:pt x="284" y="224"/>
                    </a:lnTo>
                    <a:lnTo>
                      <a:pt x="282" y="221"/>
                    </a:lnTo>
                    <a:lnTo>
                      <a:pt x="284" y="219"/>
                    </a:lnTo>
                    <a:lnTo>
                      <a:pt x="282" y="217"/>
                    </a:lnTo>
                    <a:lnTo>
                      <a:pt x="280" y="217"/>
                    </a:lnTo>
                    <a:lnTo>
                      <a:pt x="279" y="216"/>
                    </a:lnTo>
                    <a:lnTo>
                      <a:pt x="277" y="217"/>
                    </a:lnTo>
                    <a:lnTo>
                      <a:pt x="275" y="217"/>
                    </a:lnTo>
                    <a:lnTo>
                      <a:pt x="275" y="216"/>
                    </a:lnTo>
                    <a:lnTo>
                      <a:pt x="277" y="214"/>
                    </a:lnTo>
                    <a:lnTo>
                      <a:pt x="275" y="214"/>
                    </a:lnTo>
                    <a:lnTo>
                      <a:pt x="274" y="212"/>
                    </a:lnTo>
                    <a:lnTo>
                      <a:pt x="272" y="212"/>
                    </a:lnTo>
                    <a:lnTo>
                      <a:pt x="272" y="214"/>
                    </a:lnTo>
                    <a:lnTo>
                      <a:pt x="272" y="216"/>
                    </a:lnTo>
                    <a:lnTo>
                      <a:pt x="272" y="214"/>
                    </a:lnTo>
                    <a:lnTo>
                      <a:pt x="270" y="212"/>
                    </a:lnTo>
                    <a:lnTo>
                      <a:pt x="270" y="209"/>
                    </a:lnTo>
                    <a:lnTo>
                      <a:pt x="268" y="209"/>
                    </a:lnTo>
                    <a:lnTo>
                      <a:pt x="267" y="211"/>
                    </a:lnTo>
                    <a:lnTo>
                      <a:pt x="268" y="211"/>
                    </a:lnTo>
                    <a:lnTo>
                      <a:pt x="267" y="212"/>
                    </a:lnTo>
                    <a:lnTo>
                      <a:pt x="265" y="212"/>
                    </a:lnTo>
                    <a:lnTo>
                      <a:pt x="262" y="212"/>
                    </a:lnTo>
                    <a:lnTo>
                      <a:pt x="258" y="214"/>
                    </a:lnTo>
                    <a:lnTo>
                      <a:pt x="255" y="216"/>
                    </a:lnTo>
                    <a:lnTo>
                      <a:pt x="255" y="214"/>
                    </a:lnTo>
                    <a:lnTo>
                      <a:pt x="255" y="212"/>
                    </a:lnTo>
                    <a:lnTo>
                      <a:pt x="253" y="211"/>
                    </a:lnTo>
                    <a:lnTo>
                      <a:pt x="251" y="211"/>
                    </a:lnTo>
                    <a:lnTo>
                      <a:pt x="250" y="211"/>
                    </a:lnTo>
                    <a:lnTo>
                      <a:pt x="246" y="212"/>
                    </a:lnTo>
                    <a:lnTo>
                      <a:pt x="243" y="212"/>
                    </a:lnTo>
                    <a:lnTo>
                      <a:pt x="241" y="212"/>
                    </a:lnTo>
                    <a:lnTo>
                      <a:pt x="240" y="212"/>
                    </a:lnTo>
                    <a:lnTo>
                      <a:pt x="238" y="212"/>
                    </a:lnTo>
                    <a:lnTo>
                      <a:pt x="238" y="214"/>
                    </a:lnTo>
                    <a:lnTo>
                      <a:pt x="231" y="221"/>
                    </a:lnTo>
                    <a:lnTo>
                      <a:pt x="229" y="221"/>
                    </a:lnTo>
                    <a:lnTo>
                      <a:pt x="228" y="221"/>
                    </a:lnTo>
                    <a:lnTo>
                      <a:pt x="224" y="219"/>
                    </a:lnTo>
                    <a:lnTo>
                      <a:pt x="223" y="223"/>
                    </a:lnTo>
                    <a:lnTo>
                      <a:pt x="223" y="217"/>
                    </a:lnTo>
                    <a:lnTo>
                      <a:pt x="226" y="217"/>
                    </a:lnTo>
                    <a:lnTo>
                      <a:pt x="224" y="216"/>
                    </a:lnTo>
                    <a:lnTo>
                      <a:pt x="226" y="212"/>
                    </a:lnTo>
                    <a:lnTo>
                      <a:pt x="226" y="209"/>
                    </a:lnTo>
                    <a:lnTo>
                      <a:pt x="228" y="209"/>
                    </a:lnTo>
                    <a:lnTo>
                      <a:pt x="228" y="207"/>
                    </a:lnTo>
                    <a:lnTo>
                      <a:pt x="233" y="206"/>
                    </a:lnTo>
                    <a:lnTo>
                      <a:pt x="234" y="202"/>
                    </a:lnTo>
                    <a:lnTo>
                      <a:pt x="233" y="200"/>
                    </a:lnTo>
                    <a:lnTo>
                      <a:pt x="231" y="200"/>
                    </a:lnTo>
                    <a:lnTo>
                      <a:pt x="231" y="197"/>
                    </a:lnTo>
                    <a:lnTo>
                      <a:pt x="229" y="197"/>
                    </a:lnTo>
                    <a:lnTo>
                      <a:pt x="229" y="194"/>
                    </a:lnTo>
                    <a:lnTo>
                      <a:pt x="228" y="189"/>
                    </a:lnTo>
                    <a:lnTo>
                      <a:pt x="228" y="183"/>
                    </a:lnTo>
                    <a:lnTo>
                      <a:pt x="224" y="182"/>
                    </a:lnTo>
                    <a:lnTo>
                      <a:pt x="221" y="182"/>
                    </a:lnTo>
                    <a:lnTo>
                      <a:pt x="221" y="178"/>
                    </a:lnTo>
                    <a:lnTo>
                      <a:pt x="221" y="177"/>
                    </a:lnTo>
                    <a:lnTo>
                      <a:pt x="223" y="177"/>
                    </a:lnTo>
                    <a:lnTo>
                      <a:pt x="224" y="175"/>
                    </a:lnTo>
                    <a:lnTo>
                      <a:pt x="223" y="173"/>
                    </a:lnTo>
                    <a:lnTo>
                      <a:pt x="224" y="172"/>
                    </a:lnTo>
                    <a:lnTo>
                      <a:pt x="223" y="168"/>
                    </a:lnTo>
                    <a:lnTo>
                      <a:pt x="221" y="168"/>
                    </a:lnTo>
                    <a:lnTo>
                      <a:pt x="219" y="166"/>
                    </a:lnTo>
                    <a:lnTo>
                      <a:pt x="216" y="166"/>
                    </a:lnTo>
                    <a:lnTo>
                      <a:pt x="217" y="165"/>
                    </a:lnTo>
                    <a:lnTo>
                      <a:pt x="214" y="163"/>
                    </a:lnTo>
                    <a:lnTo>
                      <a:pt x="214" y="161"/>
                    </a:lnTo>
                    <a:lnTo>
                      <a:pt x="216" y="160"/>
                    </a:lnTo>
                    <a:lnTo>
                      <a:pt x="214" y="160"/>
                    </a:lnTo>
                    <a:lnTo>
                      <a:pt x="214" y="158"/>
                    </a:lnTo>
                    <a:lnTo>
                      <a:pt x="211" y="156"/>
                    </a:lnTo>
                    <a:lnTo>
                      <a:pt x="211" y="153"/>
                    </a:lnTo>
                    <a:lnTo>
                      <a:pt x="211" y="154"/>
                    </a:lnTo>
                    <a:lnTo>
                      <a:pt x="211" y="153"/>
                    </a:lnTo>
                    <a:lnTo>
                      <a:pt x="209" y="153"/>
                    </a:lnTo>
                    <a:lnTo>
                      <a:pt x="207" y="149"/>
                    </a:lnTo>
                    <a:lnTo>
                      <a:pt x="204" y="144"/>
                    </a:lnTo>
                    <a:lnTo>
                      <a:pt x="199" y="143"/>
                    </a:lnTo>
                    <a:lnTo>
                      <a:pt x="199" y="139"/>
                    </a:lnTo>
                    <a:lnTo>
                      <a:pt x="197" y="137"/>
                    </a:lnTo>
                    <a:lnTo>
                      <a:pt x="197" y="136"/>
                    </a:lnTo>
                    <a:lnTo>
                      <a:pt x="178" y="136"/>
                    </a:lnTo>
                    <a:lnTo>
                      <a:pt x="161" y="136"/>
                    </a:lnTo>
                    <a:lnTo>
                      <a:pt x="161" y="139"/>
                    </a:lnTo>
                    <a:lnTo>
                      <a:pt x="149" y="143"/>
                    </a:lnTo>
                    <a:lnTo>
                      <a:pt x="146" y="141"/>
                    </a:lnTo>
                    <a:lnTo>
                      <a:pt x="144" y="139"/>
                    </a:lnTo>
                    <a:lnTo>
                      <a:pt x="132" y="143"/>
                    </a:lnTo>
                    <a:lnTo>
                      <a:pt x="131" y="143"/>
                    </a:lnTo>
                    <a:lnTo>
                      <a:pt x="131" y="146"/>
                    </a:lnTo>
                    <a:lnTo>
                      <a:pt x="131" y="148"/>
                    </a:lnTo>
                    <a:lnTo>
                      <a:pt x="131" y="149"/>
                    </a:lnTo>
                    <a:lnTo>
                      <a:pt x="129" y="149"/>
                    </a:lnTo>
                    <a:lnTo>
                      <a:pt x="129" y="151"/>
                    </a:lnTo>
                    <a:lnTo>
                      <a:pt x="129" y="149"/>
                    </a:lnTo>
                    <a:lnTo>
                      <a:pt x="127" y="151"/>
                    </a:lnTo>
                    <a:lnTo>
                      <a:pt x="127" y="153"/>
                    </a:lnTo>
                    <a:lnTo>
                      <a:pt x="126" y="153"/>
                    </a:lnTo>
                    <a:lnTo>
                      <a:pt x="126" y="156"/>
                    </a:lnTo>
                    <a:lnTo>
                      <a:pt x="124" y="158"/>
                    </a:lnTo>
                    <a:lnTo>
                      <a:pt x="122" y="160"/>
                    </a:lnTo>
                    <a:lnTo>
                      <a:pt x="124" y="160"/>
                    </a:lnTo>
                    <a:lnTo>
                      <a:pt x="122" y="163"/>
                    </a:lnTo>
                    <a:lnTo>
                      <a:pt x="122" y="166"/>
                    </a:lnTo>
                    <a:lnTo>
                      <a:pt x="121" y="165"/>
                    </a:lnTo>
                    <a:lnTo>
                      <a:pt x="121" y="166"/>
                    </a:lnTo>
                    <a:lnTo>
                      <a:pt x="117" y="166"/>
                    </a:lnTo>
                    <a:lnTo>
                      <a:pt x="119" y="170"/>
                    </a:lnTo>
                    <a:lnTo>
                      <a:pt x="117" y="170"/>
                    </a:lnTo>
                    <a:lnTo>
                      <a:pt x="117" y="172"/>
                    </a:lnTo>
                    <a:lnTo>
                      <a:pt x="114" y="172"/>
                    </a:lnTo>
                    <a:lnTo>
                      <a:pt x="112" y="172"/>
                    </a:lnTo>
                    <a:lnTo>
                      <a:pt x="112" y="173"/>
                    </a:lnTo>
                    <a:lnTo>
                      <a:pt x="110" y="173"/>
                    </a:lnTo>
                    <a:lnTo>
                      <a:pt x="109" y="172"/>
                    </a:lnTo>
                    <a:lnTo>
                      <a:pt x="107" y="175"/>
                    </a:lnTo>
                    <a:lnTo>
                      <a:pt x="109" y="178"/>
                    </a:lnTo>
                    <a:lnTo>
                      <a:pt x="102" y="183"/>
                    </a:lnTo>
                    <a:lnTo>
                      <a:pt x="98" y="183"/>
                    </a:lnTo>
                    <a:lnTo>
                      <a:pt x="95" y="182"/>
                    </a:lnTo>
                    <a:lnTo>
                      <a:pt x="90" y="183"/>
                    </a:lnTo>
                    <a:lnTo>
                      <a:pt x="92" y="180"/>
                    </a:lnTo>
                    <a:lnTo>
                      <a:pt x="95" y="178"/>
                    </a:lnTo>
                    <a:lnTo>
                      <a:pt x="97" y="178"/>
                    </a:lnTo>
                    <a:lnTo>
                      <a:pt x="95" y="177"/>
                    </a:lnTo>
                    <a:lnTo>
                      <a:pt x="93" y="178"/>
                    </a:lnTo>
                    <a:lnTo>
                      <a:pt x="92" y="177"/>
                    </a:lnTo>
                    <a:lnTo>
                      <a:pt x="93" y="175"/>
                    </a:lnTo>
                    <a:lnTo>
                      <a:pt x="92" y="177"/>
                    </a:lnTo>
                    <a:lnTo>
                      <a:pt x="92" y="178"/>
                    </a:lnTo>
                    <a:lnTo>
                      <a:pt x="90" y="178"/>
                    </a:lnTo>
                    <a:lnTo>
                      <a:pt x="90" y="177"/>
                    </a:lnTo>
                    <a:lnTo>
                      <a:pt x="90" y="178"/>
                    </a:lnTo>
                    <a:lnTo>
                      <a:pt x="92" y="177"/>
                    </a:lnTo>
                    <a:lnTo>
                      <a:pt x="90" y="178"/>
                    </a:lnTo>
                    <a:lnTo>
                      <a:pt x="90" y="177"/>
                    </a:lnTo>
                    <a:lnTo>
                      <a:pt x="88" y="170"/>
                    </a:lnTo>
                    <a:lnTo>
                      <a:pt x="90" y="170"/>
                    </a:lnTo>
                    <a:lnTo>
                      <a:pt x="90" y="172"/>
                    </a:lnTo>
                    <a:lnTo>
                      <a:pt x="92" y="172"/>
                    </a:lnTo>
                    <a:lnTo>
                      <a:pt x="93" y="170"/>
                    </a:lnTo>
                    <a:lnTo>
                      <a:pt x="92" y="172"/>
                    </a:lnTo>
                    <a:lnTo>
                      <a:pt x="90" y="170"/>
                    </a:lnTo>
                    <a:lnTo>
                      <a:pt x="92" y="168"/>
                    </a:lnTo>
                    <a:lnTo>
                      <a:pt x="90" y="170"/>
                    </a:lnTo>
                    <a:lnTo>
                      <a:pt x="90" y="168"/>
                    </a:lnTo>
                    <a:lnTo>
                      <a:pt x="90" y="170"/>
                    </a:lnTo>
                    <a:lnTo>
                      <a:pt x="88" y="170"/>
                    </a:lnTo>
                    <a:lnTo>
                      <a:pt x="88" y="172"/>
                    </a:lnTo>
                    <a:lnTo>
                      <a:pt x="85" y="173"/>
                    </a:lnTo>
                    <a:lnTo>
                      <a:pt x="85" y="166"/>
                    </a:lnTo>
                    <a:lnTo>
                      <a:pt x="87" y="166"/>
                    </a:lnTo>
                    <a:lnTo>
                      <a:pt x="87" y="165"/>
                    </a:lnTo>
                    <a:lnTo>
                      <a:pt x="85" y="166"/>
                    </a:lnTo>
                    <a:lnTo>
                      <a:pt x="83" y="166"/>
                    </a:lnTo>
                    <a:lnTo>
                      <a:pt x="81" y="166"/>
                    </a:lnTo>
                    <a:lnTo>
                      <a:pt x="80" y="165"/>
                    </a:lnTo>
                    <a:lnTo>
                      <a:pt x="80" y="163"/>
                    </a:lnTo>
                    <a:lnTo>
                      <a:pt x="81" y="158"/>
                    </a:lnTo>
                    <a:lnTo>
                      <a:pt x="81" y="156"/>
                    </a:lnTo>
                    <a:lnTo>
                      <a:pt x="81" y="158"/>
                    </a:lnTo>
                    <a:lnTo>
                      <a:pt x="80" y="158"/>
                    </a:lnTo>
                    <a:lnTo>
                      <a:pt x="80" y="156"/>
                    </a:lnTo>
                    <a:lnTo>
                      <a:pt x="80" y="154"/>
                    </a:lnTo>
                    <a:lnTo>
                      <a:pt x="80" y="156"/>
                    </a:lnTo>
                    <a:lnTo>
                      <a:pt x="80" y="158"/>
                    </a:lnTo>
                    <a:lnTo>
                      <a:pt x="81" y="158"/>
                    </a:lnTo>
                    <a:lnTo>
                      <a:pt x="80" y="161"/>
                    </a:lnTo>
                    <a:lnTo>
                      <a:pt x="78" y="161"/>
                    </a:lnTo>
                    <a:lnTo>
                      <a:pt x="76" y="158"/>
                    </a:lnTo>
                    <a:lnTo>
                      <a:pt x="78" y="158"/>
                    </a:lnTo>
                    <a:lnTo>
                      <a:pt x="76" y="158"/>
                    </a:lnTo>
                    <a:lnTo>
                      <a:pt x="78" y="156"/>
                    </a:lnTo>
                    <a:lnTo>
                      <a:pt x="76" y="156"/>
                    </a:lnTo>
                    <a:lnTo>
                      <a:pt x="75" y="158"/>
                    </a:lnTo>
                    <a:lnTo>
                      <a:pt x="73" y="158"/>
                    </a:lnTo>
                    <a:lnTo>
                      <a:pt x="70" y="161"/>
                    </a:lnTo>
                    <a:lnTo>
                      <a:pt x="70" y="160"/>
                    </a:lnTo>
                    <a:lnTo>
                      <a:pt x="71" y="158"/>
                    </a:lnTo>
                    <a:lnTo>
                      <a:pt x="73" y="156"/>
                    </a:lnTo>
                    <a:lnTo>
                      <a:pt x="75" y="154"/>
                    </a:lnTo>
                    <a:lnTo>
                      <a:pt x="75" y="149"/>
                    </a:lnTo>
                    <a:lnTo>
                      <a:pt x="76" y="149"/>
                    </a:lnTo>
                    <a:lnTo>
                      <a:pt x="75" y="149"/>
                    </a:lnTo>
                    <a:lnTo>
                      <a:pt x="76" y="148"/>
                    </a:lnTo>
                    <a:lnTo>
                      <a:pt x="76" y="149"/>
                    </a:lnTo>
                    <a:lnTo>
                      <a:pt x="78" y="149"/>
                    </a:lnTo>
                    <a:lnTo>
                      <a:pt x="80" y="148"/>
                    </a:lnTo>
                    <a:lnTo>
                      <a:pt x="78" y="149"/>
                    </a:lnTo>
                    <a:lnTo>
                      <a:pt x="78" y="146"/>
                    </a:lnTo>
                    <a:lnTo>
                      <a:pt x="76" y="148"/>
                    </a:lnTo>
                    <a:lnTo>
                      <a:pt x="75" y="148"/>
                    </a:lnTo>
                    <a:lnTo>
                      <a:pt x="75" y="146"/>
                    </a:lnTo>
                    <a:lnTo>
                      <a:pt x="73" y="144"/>
                    </a:lnTo>
                    <a:lnTo>
                      <a:pt x="73" y="143"/>
                    </a:lnTo>
                    <a:lnTo>
                      <a:pt x="73" y="141"/>
                    </a:lnTo>
                    <a:lnTo>
                      <a:pt x="71" y="143"/>
                    </a:lnTo>
                    <a:lnTo>
                      <a:pt x="73" y="143"/>
                    </a:lnTo>
                    <a:lnTo>
                      <a:pt x="73" y="144"/>
                    </a:lnTo>
                    <a:lnTo>
                      <a:pt x="71" y="144"/>
                    </a:lnTo>
                    <a:lnTo>
                      <a:pt x="70" y="146"/>
                    </a:lnTo>
                    <a:lnTo>
                      <a:pt x="70" y="144"/>
                    </a:lnTo>
                    <a:lnTo>
                      <a:pt x="68" y="144"/>
                    </a:lnTo>
                    <a:lnTo>
                      <a:pt x="71" y="141"/>
                    </a:lnTo>
                    <a:lnTo>
                      <a:pt x="71" y="139"/>
                    </a:lnTo>
                    <a:lnTo>
                      <a:pt x="70" y="143"/>
                    </a:lnTo>
                    <a:lnTo>
                      <a:pt x="64" y="144"/>
                    </a:lnTo>
                    <a:lnTo>
                      <a:pt x="58" y="137"/>
                    </a:lnTo>
                    <a:lnTo>
                      <a:pt x="56" y="137"/>
                    </a:lnTo>
                    <a:lnTo>
                      <a:pt x="54" y="136"/>
                    </a:lnTo>
                    <a:lnTo>
                      <a:pt x="54" y="134"/>
                    </a:lnTo>
                    <a:lnTo>
                      <a:pt x="54" y="132"/>
                    </a:lnTo>
                    <a:lnTo>
                      <a:pt x="53" y="132"/>
                    </a:lnTo>
                    <a:lnTo>
                      <a:pt x="53" y="131"/>
                    </a:lnTo>
                    <a:lnTo>
                      <a:pt x="54" y="131"/>
                    </a:lnTo>
                    <a:lnTo>
                      <a:pt x="56" y="132"/>
                    </a:lnTo>
                    <a:lnTo>
                      <a:pt x="58" y="132"/>
                    </a:lnTo>
                    <a:lnTo>
                      <a:pt x="56" y="132"/>
                    </a:lnTo>
                    <a:lnTo>
                      <a:pt x="54" y="131"/>
                    </a:lnTo>
                    <a:lnTo>
                      <a:pt x="53" y="129"/>
                    </a:lnTo>
                    <a:lnTo>
                      <a:pt x="54" y="126"/>
                    </a:lnTo>
                    <a:lnTo>
                      <a:pt x="53" y="129"/>
                    </a:lnTo>
                    <a:lnTo>
                      <a:pt x="51" y="127"/>
                    </a:lnTo>
                    <a:lnTo>
                      <a:pt x="47" y="126"/>
                    </a:lnTo>
                    <a:lnTo>
                      <a:pt x="47" y="127"/>
                    </a:lnTo>
                    <a:lnTo>
                      <a:pt x="46" y="129"/>
                    </a:lnTo>
                    <a:lnTo>
                      <a:pt x="46" y="127"/>
                    </a:lnTo>
                    <a:lnTo>
                      <a:pt x="46" y="129"/>
                    </a:lnTo>
                    <a:lnTo>
                      <a:pt x="44" y="131"/>
                    </a:lnTo>
                    <a:lnTo>
                      <a:pt x="42" y="129"/>
                    </a:lnTo>
                    <a:lnTo>
                      <a:pt x="42" y="127"/>
                    </a:lnTo>
                    <a:lnTo>
                      <a:pt x="46" y="127"/>
                    </a:lnTo>
                    <a:lnTo>
                      <a:pt x="44" y="126"/>
                    </a:lnTo>
                    <a:lnTo>
                      <a:pt x="46" y="127"/>
                    </a:lnTo>
                    <a:lnTo>
                      <a:pt x="42" y="126"/>
                    </a:lnTo>
                    <a:lnTo>
                      <a:pt x="44" y="126"/>
                    </a:lnTo>
                    <a:lnTo>
                      <a:pt x="42" y="126"/>
                    </a:lnTo>
                    <a:lnTo>
                      <a:pt x="42" y="127"/>
                    </a:lnTo>
                    <a:lnTo>
                      <a:pt x="39" y="126"/>
                    </a:lnTo>
                    <a:lnTo>
                      <a:pt x="39" y="124"/>
                    </a:lnTo>
                    <a:lnTo>
                      <a:pt x="41" y="126"/>
                    </a:lnTo>
                    <a:lnTo>
                      <a:pt x="41" y="124"/>
                    </a:lnTo>
                    <a:lnTo>
                      <a:pt x="39" y="124"/>
                    </a:lnTo>
                    <a:lnTo>
                      <a:pt x="39" y="126"/>
                    </a:lnTo>
                    <a:lnTo>
                      <a:pt x="36" y="124"/>
                    </a:lnTo>
                    <a:lnTo>
                      <a:pt x="32" y="126"/>
                    </a:lnTo>
                    <a:lnTo>
                      <a:pt x="30" y="122"/>
                    </a:lnTo>
                    <a:lnTo>
                      <a:pt x="32" y="120"/>
                    </a:lnTo>
                    <a:lnTo>
                      <a:pt x="32" y="119"/>
                    </a:lnTo>
                    <a:lnTo>
                      <a:pt x="25" y="114"/>
                    </a:lnTo>
                    <a:lnTo>
                      <a:pt x="24" y="112"/>
                    </a:lnTo>
                    <a:lnTo>
                      <a:pt x="22" y="112"/>
                    </a:lnTo>
                    <a:lnTo>
                      <a:pt x="24" y="112"/>
                    </a:lnTo>
                    <a:lnTo>
                      <a:pt x="24" y="110"/>
                    </a:lnTo>
                    <a:lnTo>
                      <a:pt x="24" y="112"/>
                    </a:lnTo>
                    <a:lnTo>
                      <a:pt x="22" y="112"/>
                    </a:lnTo>
                    <a:lnTo>
                      <a:pt x="20" y="110"/>
                    </a:lnTo>
                    <a:lnTo>
                      <a:pt x="22" y="109"/>
                    </a:lnTo>
                    <a:lnTo>
                      <a:pt x="22" y="107"/>
                    </a:lnTo>
                    <a:lnTo>
                      <a:pt x="22" y="109"/>
                    </a:lnTo>
                    <a:lnTo>
                      <a:pt x="25" y="105"/>
                    </a:lnTo>
                    <a:lnTo>
                      <a:pt x="24" y="105"/>
                    </a:lnTo>
                    <a:lnTo>
                      <a:pt x="24" y="103"/>
                    </a:lnTo>
                    <a:lnTo>
                      <a:pt x="24" y="100"/>
                    </a:lnTo>
                    <a:lnTo>
                      <a:pt x="25" y="100"/>
                    </a:lnTo>
                    <a:lnTo>
                      <a:pt x="27" y="95"/>
                    </a:lnTo>
                    <a:lnTo>
                      <a:pt x="29" y="93"/>
                    </a:lnTo>
                    <a:lnTo>
                      <a:pt x="27" y="93"/>
                    </a:lnTo>
                    <a:lnTo>
                      <a:pt x="25" y="95"/>
                    </a:lnTo>
                    <a:lnTo>
                      <a:pt x="24" y="95"/>
                    </a:lnTo>
                    <a:lnTo>
                      <a:pt x="24" y="93"/>
                    </a:lnTo>
                    <a:lnTo>
                      <a:pt x="24" y="95"/>
                    </a:lnTo>
                    <a:lnTo>
                      <a:pt x="22" y="95"/>
                    </a:lnTo>
                    <a:lnTo>
                      <a:pt x="20" y="97"/>
                    </a:lnTo>
                    <a:lnTo>
                      <a:pt x="17" y="98"/>
                    </a:lnTo>
                    <a:lnTo>
                      <a:pt x="17" y="100"/>
                    </a:lnTo>
                    <a:lnTo>
                      <a:pt x="15" y="100"/>
                    </a:lnTo>
                    <a:lnTo>
                      <a:pt x="15" y="97"/>
                    </a:lnTo>
                    <a:lnTo>
                      <a:pt x="17" y="97"/>
                    </a:lnTo>
                    <a:lnTo>
                      <a:pt x="17" y="93"/>
                    </a:lnTo>
                    <a:lnTo>
                      <a:pt x="19" y="93"/>
                    </a:lnTo>
                    <a:lnTo>
                      <a:pt x="17" y="92"/>
                    </a:lnTo>
                    <a:lnTo>
                      <a:pt x="19" y="90"/>
                    </a:lnTo>
                    <a:lnTo>
                      <a:pt x="17" y="90"/>
                    </a:lnTo>
                    <a:lnTo>
                      <a:pt x="19" y="90"/>
                    </a:lnTo>
                    <a:lnTo>
                      <a:pt x="17" y="93"/>
                    </a:lnTo>
                    <a:lnTo>
                      <a:pt x="13" y="95"/>
                    </a:lnTo>
                    <a:lnTo>
                      <a:pt x="13" y="92"/>
                    </a:lnTo>
                    <a:lnTo>
                      <a:pt x="15" y="90"/>
                    </a:lnTo>
                    <a:lnTo>
                      <a:pt x="13" y="92"/>
                    </a:lnTo>
                    <a:lnTo>
                      <a:pt x="13" y="88"/>
                    </a:lnTo>
                    <a:lnTo>
                      <a:pt x="17" y="86"/>
                    </a:lnTo>
                    <a:lnTo>
                      <a:pt x="15" y="86"/>
                    </a:lnTo>
                    <a:lnTo>
                      <a:pt x="15" y="85"/>
                    </a:lnTo>
                    <a:lnTo>
                      <a:pt x="13" y="85"/>
                    </a:lnTo>
                    <a:lnTo>
                      <a:pt x="13" y="86"/>
                    </a:lnTo>
                    <a:lnTo>
                      <a:pt x="10" y="86"/>
                    </a:lnTo>
                    <a:lnTo>
                      <a:pt x="10" y="83"/>
                    </a:lnTo>
                    <a:lnTo>
                      <a:pt x="12" y="83"/>
                    </a:lnTo>
                    <a:lnTo>
                      <a:pt x="12" y="80"/>
                    </a:lnTo>
                    <a:lnTo>
                      <a:pt x="10" y="80"/>
                    </a:lnTo>
                    <a:lnTo>
                      <a:pt x="12" y="80"/>
                    </a:lnTo>
                    <a:lnTo>
                      <a:pt x="10" y="83"/>
                    </a:lnTo>
                    <a:lnTo>
                      <a:pt x="8" y="83"/>
                    </a:lnTo>
                    <a:lnTo>
                      <a:pt x="8" y="81"/>
                    </a:lnTo>
                    <a:lnTo>
                      <a:pt x="15" y="66"/>
                    </a:lnTo>
                    <a:lnTo>
                      <a:pt x="22" y="59"/>
                    </a:lnTo>
                    <a:lnTo>
                      <a:pt x="29" y="59"/>
                    </a:lnTo>
                    <a:lnTo>
                      <a:pt x="39" y="54"/>
                    </a:lnTo>
                    <a:lnTo>
                      <a:pt x="41" y="51"/>
                    </a:lnTo>
                    <a:lnTo>
                      <a:pt x="42" y="51"/>
                    </a:lnTo>
                    <a:lnTo>
                      <a:pt x="44" y="51"/>
                    </a:lnTo>
                    <a:lnTo>
                      <a:pt x="46" y="52"/>
                    </a:lnTo>
                    <a:lnTo>
                      <a:pt x="47" y="51"/>
                    </a:lnTo>
                    <a:lnTo>
                      <a:pt x="49" y="52"/>
                    </a:lnTo>
                    <a:lnTo>
                      <a:pt x="51" y="54"/>
                    </a:lnTo>
                    <a:lnTo>
                      <a:pt x="53" y="52"/>
                    </a:lnTo>
                    <a:lnTo>
                      <a:pt x="54" y="52"/>
                    </a:lnTo>
                    <a:lnTo>
                      <a:pt x="56" y="52"/>
                    </a:lnTo>
                    <a:lnTo>
                      <a:pt x="58" y="52"/>
                    </a:lnTo>
                    <a:lnTo>
                      <a:pt x="59" y="51"/>
                    </a:lnTo>
                    <a:lnTo>
                      <a:pt x="61" y="51"/>
                    </a:lnTo>
                    <a:lnTo>
                      <a:pt x="63" y="49"/>
                    </a:lnTo>
                    <a:lnTo>
                      <a:pt x="61" y="49"/>
                    </a:lnTo>
                    <a:lnTo>
                      <a:pt x="63" y="47"/>
                    </a:lnTo>
                    <a:lnTo>
                      <a:pt x="64" y="47"/>
                    </a:lnTo>
                    <a:lnTo>
                      <a:pt x="63" y="49"/>
                    </a:lnTo>
                    <a:lnTo>
                      <a:pt x="64" y="49"/>
                    </a:lnTo>
                    <a:lnTo>
                      <a:pt x="64" y="51"/>
                    </a:lnTo>
                    <a:lnTo>
                      <a:pt x="66" y="51"/>
                    </a:lnTo>
                    <a:lnTo>
                      <a:pt x="70" y="49"/>
                    </a:lnTo>
                    <a:lnTo>
                      <a:pt x="70" y="34"/>
                    </a:lnTo>
                    <a:lnTo>
                      <a:pt x="66" y="34"/>
                    </a:lnTo>
                    <a:lnTo>
                      <a:pt x="64" y="32"/>
                    </a:lnTo>
                    <a:lnTo>
                      <a:pt x="64" y="30"/>
                    </a:lnTo>
                    <a:lnTo>
                      <a:pt x="61" y="29"/>
                    </a:lnTo>
                    <a:lnTo>
                      <a:pt x="61" y="27"/>
                    </a:lnTo>
                    <a:lnTo>
                      <a:pt x="58" y="27"/>
                    </a:lnTo>
                    <a:lnTo>
                      <a:pt x="58" y="25"/>
                    </a:lnTo>
                    <a:lnTo>
                      <a:pt x="58" y="24"/>
                    </a:lnTo>
                    <a:lnTo>
                      <a:pt x="59" y="22"/>
                    </a:lnTo>
                    <a:lnTo>
                      <a:pt x="63" y="22"/>
                    </a:lnTo>
                    <a:lnTo>
                      <a:pt x="63" y="20"/>
                    </a:lnTo>
                    <a:lnTo>
                      <a:pt x="64" y="22"/>
                    </a:lnTo>
                    <a:lnTo>
                      <a:pt x="64" y="20"/>
                    </a:lnTo>
                    <a:lnTo>
                      <a:pt x="64" y="22"/>
                    </a:lnTo>
                    <a:lnTo>
                      <a:pt x="66" y="22"/>
                    </a:lnTo>
                    <a:lnTo>
                      <a:pt x="68" y="20"/>
                    </a:lnTo>
                    <a:lnTo>
                      <a:pt x="70" y="22"/>
                    </a:lnTo>
                    <a:lnTo>
                      <a:pt x="71" y="18"/>
                    </a:lnTo>
                    <a:lnTo>
                      <a:pt x="73" y="18"/>
                    </a:lnTo>
                    <a:lnTo>
                      <a:pt x="73" y="15"/>
                    </a:lnTo>
                    <a:lnTo>
                      <a:pt x="71" y="13"/>
                    </a:lnTo>
                    <a:lnTo>
                      <a:pt x="73" y="12"/>
                    </a:lnTo>
                    <a:lnTo>
                      <a:pt x="73" y="8"/>
                    </a:lnTo>
                    <a:lnTo>
                      <a:pt x="71" y="8"/>
                    </a:lnTo>
                    <a:lnTo>
                      <a:pt x="70" y="0"/>
                    </a:lnTo>
                    <a:lnTo>
                      <a:pt x="88" y="1"/>
                    </a:lnTo>
                    <a:lnTo>
                      <a:pt x="90" y="1"/>
                    </a:lnTo>
                    <a:lnTo>
                      <a:pt x="92" y="1"/>
                    </a:lnTo>
                    <a:lnTo>
                      <a:pt x="93" y="1"/>
                    </a:lnTo>
                    <a:lnTo>
                      <a:pt x="95" y="1"/>
                    </a:lnTo>
                    <a:lnTo>
                      <a:pt x="97" y="3"/>
                    </a:lnTo>
                    <a:lnTo>
                      <a:pt x="97" y="1"/>
                    </a:lnTo>
                    <a:lnTo>
                      <a:pt x="100" y="3"/>
                    </a:lnTo>
                    <a:lnTo>
                      <a:pt x="102" y="1"/>
                    </a:lnTo>
                    <a:lnTo>
                      <a:pt x="104" y="5"/>
                    </a:lnTo>
                    <a:lnTo>
                      <a:pt x="102" y="7"/>
                    </a:lnTo>
                    <a:lnTo>
                      <a:pt x="102" y="10"/>
                    </a:lnTo>
                    <a:lnTo>
                      <a:pt x="107" y="12"/>
                    </a:lnTo>
                    <a:lnTo>
                      <a:pt x="109" y="10"/>
                    </a:lnTo>
                    <a:lnTo>
                      <a:pt x="109" y="8"/>
                    </a:lnTo>
                    <a:lnTo>
                      <a:pt x="110" y="7"/>
                    </a:lnTo>
                    <a:lnTo>
                      <a:pt x="114" y="8"/>
                    </a:lnTo>
                    <a:lnTo>
                      <a:pt x="114" y="10"/>
                    </a:lnTo>
                    <a:lnTo>
                      <a:pt x="117" y="10"/>
                    </a:lnTo>
                    <a:lnTo>
                      <a:pt x="119" y="13"/>
                    </a:lnTo>
                    <a:lnTo>
                      <a:pt x="124" y="12"/>
                    </a:lnTo>
                    <a:lnTo>
                      <a:pt x="127" y="15"/>
                    </a:lnTo>
                    <a:lnTo>
                      <a:pt x="131" y="13"/>
                    </a:lnTo>
                    <a:lnTo>
                      <a:pt x="132" y="13"/>
                    </a:lnTo>
                    <a:lnTo>
                      <a:pt x="136" y="17"/>
                    </a:lnTo>
                    <a:lnTo>
                      <a:pt x="139" y="18"/>
                    </a:lnTo>
                    <a:lnTo>
                      <a:pt x="144" y="17"/>
                    </a:lnTo>
                    <a:lnTo>
                      <a:pt x="148" y="17"/>
                    </a:lnTo>
                    <a:lnTo>
                      <a:pt x="151" y="13"/>
                    </a:lnTo>
                    <a:lnTo>
                      <a:pt x="155" y="13"/>
                    </a:lnTo>
                    <a:lnTo>
                      <a:pt x="156" y="15"/>
                    </a:lnTo>
                    <a:lnTo>
                      <a:pt x="161" y="13"/>
                    </a:lnTo>
                    <a:lnTo>
                      <a:pt x="165" y="15"/>
                    </a:lnTo>
                    <a:lnTo>
                      <a:pt x="168" y="15"/>
                    </a:lnTo>
                    <a:lnTo>
                      <a:pt x="172" y="15"/>
                    </a:lnTo>
                    <a:lnTo>
                      <a:pt x="173" y="13"/>
                    </a:lnTo>
                    <a:lnTo>
                      <a:pt x="180" y="12"/>
                    </a:lnTo>
                    <a:lnTo>
                      <a:pt x="183" y="12"/>
                    </a:lnTo>
                    <a:lnTo>
                      <a:pt x="189" y="13"/>
                    </a:lnTo>
                    <a:close/>
                    <a:moveTo>
                      <a:pt x="10" y="88"/>
                    </a:moveTo>
                    <a:lnTo>
                      <a:pt x="7" y="92"/>
                    </a:lnTo>
                    <a:lnTo>
                      <a:pt x="5" y="92"/>
                    </a:lnTo>
                    <a:lnTo>
                      <a:pt x="7" y="93"/>
                    </a:lnTo>
                    <a:lnTo>
                      <a:pt x="5" y="93"/>
                    </a:lnTo>
                    <a:lnTo>
                      <a:pt x="3" y="93"/>
                    </a:lnTo>
                    <a:lnTo>
                      <a:pt x="5" y="93"/>
                    </a:lnTo>
                    <a:lnTo>
                      <a:pt x="7" y="95"/>
                    </a:lnTo>
                    <a:lnTo>
                      <a:pt x="7" y="97"/>
                    </a:lnTo>
                    <a:lnTo>
                      <a:pt x="3" y="97"/>
                    </a:lnTo>
                    <a:lnTo>
                      <a:pt x="0" y="92"/>
                    </a:lnTo>
                    <a:lnTo>
                      <a:pt x="3" y="88"/>
                    </a:lnTo>
                    <a:lnTo>
                      <a:pt x="7" y="86"/>
                    </a:lnTo>
                    <a:lnTo>
                      <a:pt x="10" y="88"/>
                    </a:lnTo>
                    <a:close/>
                    <a:moveTo>
                      <a:pt x="25" y="95"/>
                    </a:moveTo>
                    <a:lnTo>
                      <a:pt x="24" y="102"/>
                    </a:lnTo>
                    <a:lnTo>
                      <a:pt x="20" y="103"/>
                    </a:lnTo>
                    <a:lnTo>
                      <a:pt x="19" y="102"/>
                    </a:lnTo>
                    <a:lnTo>
                      <a:pt x="20" y="100"/>
                    </a:lnTo>
                    <a:lnTo>
                      <a:pt x="19" y="102"/>
                    </a:lnTo>
                    <a:lnTo>
                      <a:pt x="19" y="100"/>
                    </a:lnTo>
                    <a:lnTo>
                      <a:pt x="20" y="97"/>
                    </a:lnTo>
                    <a:lnTo>
                      <a:pt x="22" y="95"/>
                    </a:lnTo>
                    <a:lnTo>
                      <a:pt x="24" y="95"/>
                    </a:lnTo>
                    <a:lnTo>
                      <a:pt x="25" y="95"/>
                    </a:lnTo>
                    <a:close/>
                    <a:moveTo>
                      <a:pt x="49" y="129"/>
                    </a:moveTo>
                    <a:lnTo>
                      <a:pt x="51" y="129"/>
                    </a:lnTo>
                    <a:lnTo>
                      <a:pt x="51" y="127"/>
                    </a:lnTo>
                    <a:lnTo>
                      <a:pt x="51" y="132"/>
                    </a:lnTo>
                    <a:lnTo>
                      <a:pt x="51" y="131"/>
                    </a:lnTo>
                    <a:lnTo>
                      <a:pt x="51" y="132"/>
                    </a:lnTo>
                    <a:lnTo>
                      <a:pt x="47" y="132"/>
                    </a:lnTo>
                    <a:lnTo>
                      <a:pt x="46" y="131"/>
                    </a:lnTo>
                    <a:lnTo>
                      <a:pt x="47" y="131"/>
                    </a:lnTo>
                    <a:lnTo>
                      <a:pt x="46" y="131"/>
                    </a:lnTo>
                    <a:lnTo>
                      <a:pt x="49" y="127"/>
                    </a:lnTo>
                    <a:lnTo>
                      <a:pt x="49" y="129"/>
                    </a:lnTo>
                    <a:close/>
                    <a:moveTo>
                      <a:pt x="73" y="146"/>
                    </a:moveTo>
                    <a:lnTo>
                      <a:pt x="70" y="149"/>
                    </a:lnTo>
                    <a:lnTo>
                      <a:pt x="68" y="148"/>
                    </a:lnTo>
                    <a:lnTo>
                      <a:pt x="68" y="146"/>
                    </a:lnTo>
                    <a:lnTo>
                      <a:pt x="68" y="144"/>
                    </a:lnTo>
                    <a:lnTo>
                      <a:pt x="70" y="144"/>
                    </a:lnTo>
                    <a:lnTo>
                      <a:pt x="70" y="146"/>
                    </a:lnTo>
                    <a:lnTo>
                      <a:pt x="71" y="144"/>
                    </a:lnTo>
                    <a:lnTo>
                      <a:pt x="71" y="146"/>
                    </a:lnTo>
                    <a:lnTo>
                      <a:pt x="71" y="144"/>
                    </a:lnTo>
                    <a:lnTo>
                      <a:pt x="73" y="146"/>
                    </a:lnTo>
                    <a:close/>
                    <a:moveTo>
                      <a:pt x="8" y="95"/>
                    </a:moveTo>
                    <a:lnTo>
                      <a:pt x="7" y="92"/>
                    </a:lnTo>
                    <a:lnTo>
                      <a:pt x="10" y="90"/>
                    </a:lnTo>
                    <a:lnTo>
                      <a:pt x="10" y="92"/>
                    </a:lnTo>
                    <a:lnTo>
                      <a:pt x="10" y="93"/>
                    </a:lnTo>
                    <a:lnTo>
                      <a:pt x="10" y="95"/>
                    </a:lnTo>
                    <a:lnTo>
                      <a:pt x="8" y="95"/>
                    </a:lnTo>
                    <a:close/>
                    <a:moveTo>
                      <a:pt x="7" y="86"/>
                    </a:moveTo>
                    <a:lnTo>
                      <a:pt x="8" y="83"/>
                    </a:lnTo>
                    <a:lnTo>
                      <a:pt x="10" y="85"/>
                    </a:lnTo>
                    <a:lnTo>
                      <a:pt x="10" y="86"/>
                    </a:lnTo>
                    <a:lnTo>
                      <a:pt x="8" y="88"/>
                    </a:lnTo>
                    <a:lnTo>
                      <a:pt x="7" y="86"/>
                    </a:lnTo>
                    <a:close/>
                    <a:moveTo>
                      <a:pt x="54" y="134"/>
                    </a:moveTo>
                    <a:lnTo>
                      <a:pt x="54" y="132"/>
                    </a:lnTo>
                    <a:lnTo>
                      <a:pt x="54" y="134"/>
                    </a:lnTo>
                    <a:lnTo>
                      <a:pt x="54" y="136"/>
                    </a:lnTo>
                    <a:lnTo>
                      <a:pt x="51" y="134"/>
                    </a:lnTo>
                    <a:lnTo>
                      <a:pt x="53" y="132"/>
                    </a:lnTo>
                    <a:lnTo>
                      <a:pt x="54" y="132"/>
                    </a:lnTo>
                    <a:lnTo>
                      <a:pt x="54" y="134"/>
                    </a:lnTo>
                    <a:close/>
                    <a:moveTo>
                      <a:pt x="47" y="126"/>
                    </a:moveTo>
                    <a:lnTo>
                      <a:pt x="51" y="126"/>
                    </a:lnTo>
                    <a:lnTo>
                      <a:pt x="51" y="129"/>
                    </a:lnTo>
                    <a:lnTo>
                      <a:pt x="47" y="129"/>
                    </a:lnTo>
                    <a:lnTo>
                      <a:pt x="47" y="126"/>
                    </a:lnTo>
                    <a:close/>
                    <a:moveTo>
                      <a:pt x="66" y="146"/>
                    </a:moveTo>
                    <a:lnTo>
                      <a:pt x="64" y="146"/>
                    </a:lnTo>
                    <a:lnTo>
                      <a:pt x="64" y="144"/>
                    </a:lnTo>
                    <a:lnTo>
                      <a:pt x="70" y="143"/>
                    </a:lnTo>
                    <a:lnTo>
                      <a:pt x="66" y="146"/>
                    </a:lnTo>
                    <a:close/>
                    <a:moveTo>
                      <a:pt x="10" y="88"/>
                    </a:moveTo>
                    <a:lnTo>
                      <a:pt x="12" y="88"/>
                    </a:lnTo>
                    <a:lnTo>
                      <a:pt x="12" y="90"/>
                    </a:lnTo>
                    <a:lnTo>
                      <a:pt x="10" y="90"/>
                    </a:lnTo>
                    <a:lnTo>
                      <a:pt x="10" y="88"/>
                    </a:lnTo>
                    <a:close/>
                    <a:moveTo>
                      <a:pt x="63" y="160"/>
                    </a:moveTo>
                    <a:lnTo>
                      <a:pt x="66" y="160"/>
                    </a:lnTo>
                    <a:lnTo>
                      <a:pt x="66" y="163"/>
                    </a:lnTo>
                    <a:lnTo>
                      <a:pt x="63" y="163"/>
                    </a:lnTo>
                    <a:lnTo>
                      <a:pt x="63" y="160"/>
                    </a:lnTo>
                    <a:close/>
                    <a:moveTo>
                      <a:pt x="10" y="90"/>
                    </a:moveTo>
                    <a:lnTo>
                      <a:pt x="10" y="93"/>
                    </a:lnTo>
                    <a:lnTo>
                      <a:pt x="10" y="90"/>
                    </a:lnTo>
                    <a:close/>
                    <a:moveTo>
                      <a:pt x="66" y="161"/>
                    </a:moveTo>
                    <a:lnTo>
                      <a:pt x="68" y="161"/>
                    </a:lnTo>
                    <a:lnTo>
                      <a:pt x="68" y="165"/>
                    </a:lnTo>
                    <a:lnTo>
                      <a:pt x="66" y="165"/>
                    </a:lnTo>
                    <a:lnTo>
                      <a:pt x="66" y="161"/>
                    </a:lnTo>
                    <a:close/>
                    <a:moveTo>
                      <a:pt x="51" y="129"/>
                    </a:moveTo>
                    <a:lnTo>
                      <a:pt x="53" y="129"/>
                    </a:lnTo>
                    <a:lnTo>
                      <a:pt x="53" y="131"/>
                    </a:lnTo>
                    <a:lnTo>
                      <a:pt x="51" y="131"/>
                    </a:lnTo>
                    <a:lnTo>
                      <a:pt x="51" y="129"/>
                    </a:lnTo>
                    <a:close/>
                    <a:moveTo>
                      <a:pt x="13" y="85"/>
                    </a:moveTo>
                    <a:lnTo>
                      <a:pt x="15" y="85"/>
                    </a:lnTo>
                    <a:lnTo>
                      <a:pt x="15" y="86"/>
                    </a:lnTo>
                    <a:lnTo>
                      <a:pt x="13" y="86"/>
                    </a:lnTo>
                    <a:lnTo>
                      <a:pt x="13" y="85"/>
                    </a:lnTo>
                    <a:close/>
                    <a:moveTo>
                      <a:pt x="8" y="86"/>
                    </a:moveTo>
                    <a:lnTo>
                      <a:pt x="10" y="86"/>
                    </a:lnTo>
                    <a:lnTo>
                      <a:pt x="10" y="88"/>
                    </a:lnTo>
                    <a:lnTo>
                      <a:pt x="8" y="88"/>
                    </a:lnTo>
                    <a:lnTo>
                      <a:pt x="8" y="86"/>
                    </a:lnTo>
                    <a:close/>
                    <a:moveTo>
                      <a:pt x="71" y="139"/>
                    </a:moveTo>
                    <a:lnTo>
                      <a:pt x="71" y="141"/>
                    </a:lnTo>
                    <a:lnTo>
                      <a:pt x="71" y="139"/>
                    </a:lnTo>
                    <a:close/>
                    <a:moveTo>
                      <a:pt x="83" y="173"/>
                    </a:moveTo>
                    <a:lnTo>
                      <a:pt x="85" y="173"/>
                    </a:lnTo>
                    <a:lnTo>
                      <a:pt x="83" y="173"/>
                    </a:lnTo>
                    <a:close/>
                    <a:moveTo>
                      <a:pt x="64" y="163"/>
                    </a:moveTo>
                    <a:lnTo>
                      <a:pt x="66" y="163"/>
                    </a:lnTo>
                    <a:lnTo>
                      <a:pt x="64" y="163"/>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6" name="Freeform 32">
                <a:extLst>
                  <a:ext uri="{FF2B5EF4-FFF2-40B4-BE49-F238E27FC236}">
                    <a16:creationId xmlns:a16="http://schemas.microsoft.com/office/drawing/2014/main" id="{8088F327-34CD-47EF-B05A-568E9493EDB9}"/>
                  </a:ext>
                </a:extLst>
              </p:cNvPr>
              <p:cNvSpPr>
                <a:spLocks noEditPoints="1"/>
              </p:cNvSpPr>
              <p:nvPr/>
            </p:nvSpPr>
            <p:spPr bwMode="gray">
              <a:xfrm>
                <a:off x="3232150" y="2433638"/>
                <a:ext cx="247650" cy="142875"/>
              </a:xfrm>
              <a:custGeom>
                <a:avLst/>
                <a:gdLst>
                  <a:gd name="T0" fmla="*/ 149 w 156"/>
                  <a:gd name="T1" fmla="*/ 22 h 90"/>
                  <a:gd name="T2" fmla="*/ 144 w 156"/>
                  <a:gd name="T3" fmla="*/ 29 h 90"/>
                  <a:gd name="T4" fmla="*/ 146 w 156"/>
                  <a:gd name="T5" fmla="*/ 47 h 90"/>
                  <a:gd name="T6" fmla="*/ 130 w 156"/>
                  <a:gd name="T7" fmla="*/ 51 h 90"/>
                  <a:gd name="T8" fmla="*/ 90 w 156"/>
                  <a:gd name="T9" fmla="*/ 86 h 90"/>
                  <a:gd name="T10" fmla="*/ 90 w 156"/>
                  <a:gd name="T11" fmla="*/ 80 h 90"/>
                  <a:gd name="T12" fmla="*/ 85 w 156"/>
                  <a:gd name="T13" fmla="*/ 76 h 90"/>
                  <a:gd name="T14" fmla="*/ 76 w 156"/>
                  <a:gd name="T15" fmla="*/ 75 h 90"/>
                  <a:gd name="T16" fmla="*/ 71 w 156"/>
                  <a:gd name="T17" fmla="*/ 73 h 90"/>
                  <a:gd name="T18" fmla="*/ 69 w 156"/>
                  <a:gd name="T19" fmla="*/ 66 h 90"/>
                  <a:gd name="T20" fmla="*/ 66 w 156"/>
                  <a:gd name="T21" fmla="*/ 59 h 90"/>
                  <a:gd name="T22" fmla="*/ 71 w 156"/>
                  <a:gd name="T23" fmla="*/ 58 h 90"/>
                  <a:gd name="T24" fmla="*/ 74 w 156"/>
                  <a:gd name="T25" fmla="*/ 56 h 90"/>
                  <a:gd name="T26" fmla="*/ 79 w 156"/>
                  <a:gd name="T27" fmla="*/ 54 h 90"/>
                  <a:gd name="T28" fmla="*/ 81 w 156"/>
                  <a:gd name="T29" fmla="*/ 56 h 90"/>
                  <a:gd name="T30" fmla="*/ 85 w 156"/>
                  <a:gd name="T31" fmla="*/ 58 h 90"/>
                  <a:gd name="T32" fmla="*/ 85 w 156"/>
                  <a:gd name="T33" fmla="*/ 54 h 90"/>
                  <a:gd name="T34" fmla="*/ 81 w 156"/>
                  <a:gd name="T35" fmla="*/ 49 h 90"/>
                  <a:gd name="T36" fmla="*/ 76 w 156"/>
                  <a:gd name="T37" fmla="*/ 51 h 90"/>
                  <a:gd name="T38" fmla="*/ 78 w 156"/>
                  <a:gd name="T39" fmla="*/ 49 h 90"/>
                  <a:gd name="T40" fmla="*/ 73 w 156"/>
                  <a:gd name="T41" fmla="*/ 51 h 90"/>
                  <a:gd name="T42" fmla="*/ 71 w 156"/>
                  <a:gd name="T43" fmla="*/ 52 h 90"/>
                  <a:gd name="T44" fmla="*/ 66 w 156"/>
                  <a:gd name="T45" fmla="*/ 58 h 90"/>
                  <a:gd name="T46" fmla="*/ 62 w 156"/>
                  <a:gd name="T47" fmla="*/ 49 h 90"/>
                  <a:gd name="T48" fmla="*/ 73 w 156"/>
                  <a:gd name="T49" fmla="*/ 41 h 90"/>
                  <a:gd name="T50" fmla="*/ 71 w 156"/>
                  <a:gd name="T51" fmla="*/ 37 h 90"/>
                  <a:gd name="T52" fmla="*/ 47 w 156"/>
                  <a:gd name="T53" fmla="*/ 44 h 90"/>
                  <a:gd name="T54" fmla="*/ 45 w 156"/>
                  <a:gd name="T55" fmla="*/ 35 h 90"/>
                  <a:gd name="T56" fmla="*/ 37 w 156"/>
                  <a:gd name="T57" fmla="*/ 39 h 90"/>
                  <a:gd name="T58" fmla="*/ 23 w 156"/>
                  <a:gd name="T59" fmla="*/ 25 h 90"/>
                  <a:gd name="T60" fmla="*/ 17 w 156"/>
                  <a:gd name="T61" fmla="*/ 25 h 90"/>
                  <a:gd name="T62" fmla="*/ 10 w 156"/>
                  <a:gd name="T63" fmla="*/ 17 h 90"/>
                  <a:gd name="T64" fmla="*/ 64 w 156"/>
                  <a:gd name="T65" fmla="*/ 8 h 90"/>
                  <a:gd name="T66" fmla="*/ 34 w 156"/>
                  <a:gd name="T67" fmla="*/ 78 h 90"/>
                  <a:gd name="T68" fmla="*/ 25 w 156"/>
                  <a:gd name="T69" fmla="*/ 80 h 90"/>
                  <a:gd name="T70" fmla="*/ 28 w 156"/>
                  <a:gd name="T71" fmla="*/ 41 h 90"/>
                  <a:gd name="T72" fmla="*/ 32 w 156"/>
                  <a:gd name="T73" fmla="*/ 63 h 90"/>
                  <a:gd name="T74" fmla="*/ 15 w 156"/>
                  <a:gd name="T75" fmla="*/ 59 h 90"/>
                  <a:gd name="T76" fmla="*/ 49 w 156"/>
                  <a:gd name="T77" fmla="*/ 76 h 90"/>
                  <a:gd name="T78" fmla="*/ 42 w 156"/>
                  <a:gd name="T79" fmla="*/ 81 h 90"/>
                  <a:gd name="T80" fmla="*/ 28 w 156"/>
                  <a:gd name="T81" fmla="*/ 41 h 90"/>
                  <a:gd name="T82" fmla="*/ 62 w 156"/>
                  <a:gd name="T83" fmla="*/ 58 h 90"/>
                  <a:gd name="T84" fmla="*/ 61 w 156"/>
                  <a:gd name="T85" fmla="*/ 54 h 90"/>
                  <a:gd name="T86" fmla="*/ 23 w 156"/>
                  <a:gd name="T87" fmla="*/ 71 h 90"/>
                  <a:gd name="T88" fmla="*/ 34 w 156"/>
                  <a:gd name="T89" fmla="*/ 78 h 90"/>
                  <a:gd name="T90" fmla="*/ 28 w 156"/>
                  <a:gd name="T91" fmla="*/ 59 h 90"/>
                  <a:gd name="T92" fmla="*/ 45 w 156"/>
                  <a:gd name="T93" fmla="*/ 71 h 90"/>
                  <a:gd name="T94" fmla="*/ 35 w 156"/>
                  <a:gd name="T95" fmla="*/ 69 h 90"/>
                  <a:gd name="T96" fmla="*/ 30 w 156"/>
                  <a:gd name="T97" fmla="*/ 66 h 90"/>
                  <a:gd name="T98" fmla="*/ 54 w 156"/>
                  <a:gd name="T99" fmla="*/ 59 h 90"/>
                  <a:gd name="T100" fmla="*/ 47 w 156"/>
                  <a:gd name="T101" fmla="*/ 66 h 90"/>
                  <a:gd name="T102" fmla="*/ 13 w 156"/>
                  <a:gd name="T103" fmla="*/ 69 h 90"/>
                  <a:gd name="T104" fmla="*/ 64 w 156"/>
                  <a:gd name="T105" fmla="*/ 41 h 90"/>
                  <a:gd name="T106" fmla="*/ 39 w 156"/>
                  <a:gd name="T107" fmla="*/ 58 h 90"/>
                  <a:gd name="T108" fmla="*/ 52 w 156"/>
                  <a:gd name="T109" fmla="*/ 86 h 90"/>
                  <a:gd name="T110" fmla="*/ 35 w 156"/>
                  <a:gd name="T111" fmla="*/ 39 h 90"/>
                  <a:gd name="T112" fmla="*/ 66 w 156"/>
                  <a:gd name="T113" fmla="*/ 41 h 90"/>
                  <a:gd name="T114" fmla="*/ 42 w 156"/>
                  <a:gd name="T115" fmla="*/ 47 h 90"/>
                  <a:gd name="T116" fmla="*/ 51 w 156"/>
                  <a:gd name="T117"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90">
                    <a:moveTo>
                      <a:pt x="153" y="0"/>
                    </a:moveTo>
                    <a:lnTo>
                      <a:pt x="154" y="8"/>
                    </a:lnTo>
                    <a:lnTo>
                      <a:pt x="156" y="8"/>
                    </a:lnTo>
                    <a:lnTo>
                      <a:pt x="156" y="12"/>
                    </a:lnTo>
                    <a:lnTo>
                      <a:pt x="154" y="13"/>
                    </a:lnTo>
                    <a:lnTo>
                      <a:pt x="156" y="15"/>
                    </a:lnTo>
                    <a:lnTo>
                      <a:pt x="156" y="18"/>
                    </a:lnTo>
                    <a:lnTo>
                      <a:pt x="154" y="18"/>
                    </a:lnTo>
                    <a:lnTo>
                      <a:pt x="153" y="22"/>
                    </a:lnTo>
                    <a:lnTo>
                      <a:pt x="151" y="20"/>
                    </a:lnTo>
                    <a:lnTo>
                      <a:pt x="149" y="22"/>
                    </a:lnTo>
                    <a:lnTo>
                      <a:pt x="147" y="22"/>
                    </a:lnTo>
                    <a:lnTo>
                      <a:pt x="147" y="20"/>
                    </a:lnTo>
                    <a:lnTo>
                      <a:pt x="147" y="22"/>
                    </a:lnTo>
                    <a:lnTo>
                      <a:pt x="146" y="20"/>
                    </a:lnTo>
                    <a:lnTo>
                      <a:pt x="146" y="22"/>
                    </a:lnTo>
                    <a:lnTo>
                      <a:pt x="142" y="22"/>
                    </a:lnTo>
                    <a:lnTo>
                      <a:pt x="141" y="24"/>
                    </a:lnTo>
                    <a:lnTo>
                      <a:pt x="141" y="25"/>
                    </a:lnTo>
                    <a:lnTo>
                      <a:pt x="141" y="27"/>
                    </a:lnTo>
                    <a:lnTo>
                      <a:pt x="144" y="27"/>
                    </a:lnTo>
                    <a:lnTo>
                      <a:pt x="144" y="29"/>
                    </a:lnTo>
                    <a:lnTo>
                      <a:pt x="147" y="30"/>
                    </a:lnTo>
                    <a:lnTo>
                      <a:pt x="147" y="32"/>
                    </a:lnTo>
                    <a:lnTo>
                      <a:pt x="149" y="34"/>
                    </a:lnTo>
                    <a:lnTo>
                      <a:pt x="153" y="34"/>
                    </a:lnTo>
                    <a:lnTo>
                      <a:pt x="153" y="49"/>
                    </a:lnTo>
                    <a:lnTo>
                      <a:pt x="149" y="51"/>
                    </a:lnTo>
                    <a:lnTo>
                      <a:pt x="147" y="51"/>
                    </a:lnTo>
                    <a:lnTo>
                      <a:pt x="147" y="49"/>
                    </a:lnTo>
                    <a:lnTo>
                      <a:pt x="146" y="49"/>
                    </a:lnTo>
                    <a:lnTo>
                      <a:pt x="147" y="47"/>
                    </a:lnTo>
                    <a:lnTo>
                      <a:pt x="146" y="47"/>
                    </a:lnTo>
                    <a:lnTo>
                      <a:pt x="144" y="49"/>
                    </a:lnTo>
                    <a:lnTo>
                      <a:pt x="146" y="49"/>
                    </a:lnTo>
                    <a:lnTo>
                      <a:pt x="144" y="51"/>
                    </a:lnTo>
                    <a:lnTo>
                      <a:pt x="142" y="51"/>
                    </a:lnTo>
                    <a:lnTo>
                      <a:pt x="141" y="52"/>
                    </a:lnTo>
                    <a:lnTo>
                      <a:pt x="139" y="52"/>
                    </a:lnTo>
                    <a:lnTo>
                      <a:pt x="137" y="52"/>
                    </a:lnTo>
                    <a:lnTo>
                      <a:pt x="136" y="52"/>
                    </a:lnTo>
                    <a:lnTo>
                      <a:pt x="134" y="54"/>
                    </a:lnTo>
                    <a:lnTo>
                      <a:pt x="132" y="52"/>
                    </a:lnTo>
                    <a:lnTo>
                      <a:pt x="130" y="51"/>
                    </a:lnTo>
                    <a:lnTo>
                      <a:pt x="129" y="52"/>
                    </a:lnTo>
                    <a:lnTo>
                      <a:pt x="127" y="51"/>
                    </a:lnTo>
                    <a:lnTo>
                      <a:pt x="125" y="51"/>
                    </a:lnTo>
                    <a:lnTo>
                      <a:pt x="124" y="51"/>
                    </a:lnTo>
                    <a:lnTo>
                      <a:pt x="122" y="54"/>
                    </a:lnTo>
                    <a:lnTo>
                      <a:pt x="112" y="59"/>
                    </a:lnTo>
                    <a:lnTo>
                      <a:pt x="105" y="59"/>
                    </a:lnTo>
                    <a:lnTo>
                      <a:pt x="98" y="66"/>
                    </a:lnTo>
                    <a:lnTo>
                      <a:pt x="91" y="81"/>
                    </a:lnTo>
                    <a:lnTo>
                      <a:pt x="91" y="83"/>
                    </a:lnTo>
                    <a:lnTo>
                      <a:pt x="90" y="86"/>
                    </a:lnTo>
                    <a:lnTo>
                      <a:pt x="88" y="86"/>
                    </a:lnTo>
                    <a:lnTo>
                      <a:pt x="86" y="88"/>
                    </a:lnTo>
                    <a:lnTo>
                      <a:pt x="83" y="90"/>
                    </a:lnTo>
                    <a:lnTo>
                      <a:pt x="83" y="88"/>
                    </a:lnTo>
                    <a:lnTo>
                      <a:pt x="83" y="85"/>
                    </a:lnTo>
                    <a:lnTo>
                      <a:pt x="83" y="83"/>
                    </a:lnTo>
                    <a:lnTo>
                      <a:pt x="83" y="81"/>
                    </a:lnTo>
                    <a:lnTo>
                      <a:pt x="85" y="80"/>
                    </a:lnTo>
                    <a:lnTo>
                      <a:pt x="86" y="80"/>
                    </a:lnTo>
                    <a:lnTo>
                      <a:pt x="86" y="78"/>
                    </a:lnTo>
                    <a:lnTo>
                      <a:pt x="90" y="80"/>
                    </a:lnTo>
                    <a:lnTo>
                      <a:pt x="88" y="78"/>
                    </a:lnTo>
                    <a:lnTo>
                      <a:pt x="90" y="78"/>
                    </a:lnTo>
                    <a:lnTo>
                      <a:pt x="88" y="78"/>
                    </a:lnTo>
                    <a:lnTo>
                      <a:pt x="88" y="76"/>
                    </a:lnTo>
                    <a:lnTo>
                      <a:pt x="88" y="75"/>
                    </a:lnTo>
                    <a:lnTo>
                      <a:pt x="91" y="73"/>
                    </a:lnTo>
                    <a:lnTo>
                      <a:pt x="90" y="73"/>
                    </a:lnTo>
                    <a:lnTo>
                      <a:pt x="88" y="75"/>
                    </a:lnTo>
                    <a:lnTo>
                      <a:pt x="86" y="76"/>
                    </a:lnTo>
                    <a:lnTo>
                      <a:pt x="86" y="78"/>
                    </a:lnTo>
                    <a:lnTo>
                      <a:pt x="85" y="76"/>
                    </a:lnTo>
                    <a:lnTo>
                      <a:pt x="85" y="78"/>
                    </a:lnTo>
                    <a:lnTo>
                      <a:pt x="83" y="80"/>
                    </a:lnTo>
                    <a:lnTo>
                      <a:pt x="81" y="81"/>
                    </a:lnTo>
                    <a:lnTo>
                      <a:pt x="76" y="85"/>
                    </a:lnTo>
                    <a:lnTo>
                      <a:pt x="74" y="83"/>
                    </a:lnTo>
                    <a:lnTo>
                      <a:pt x="76" y="81"/>
                    </a:lnTo>
                    <a:lnTo>
                      <a:pt x="76" y="80"/>
                    </a:lnTo>
                    <a:lnTo>
                      <a:pt x="78" y="78"/>
                    </a:lnTo>
                    <a:lnTo>
                      <a:pt x="76" y="75"/>
                    </a:lnTo>
                    <a:lnTo>
                      <a:pt x="76" y="73"/>
                    </a:lnTo>
                    <a:lnTo>
                      <a:pt x="76" y="75"/>
                    </a:lnTo>
                    <a:lnTo>
                      <a:pt x="76" y="78"/>
                    </a:lnTo>
                    <a:lnTo>
                      <a:pt x="76" y="80"/>
                    </a:lnTo>
                    <a:lnTo>
                      <a:pt x="73" y="80"/>
                    </a:lnTo>
                    <a:lnTo>
                      <a:pt x="73" y="78"/>
                    </a:lnTo>
                    <a:lnTo>
                      <a:pt x="71" y="78"/>
                    </a:lnTo>
                    <a:lnTo>
                      <a:pt x="66" y="75"/>
                    </a:lnTo>
                    <a:lnTo>
                      <a:pt x="68" y="73"/>
                    </a:lnTo>
                    <a:lnTo>
                      <a:pt x="68" y="75"/>
                    </a:lnTo>
                    <a:lnTo>
                      <a:pt x="69" y="73"/>
                    </a:lnTo>
                    <a:lnTo>
                      <a:pt x="68" y="73"/>
                    </a:lnTo>
                    <a:lnTo>
                      <a:pt x="71" y="73"/>
                    </a:lnTo>
                    <a:lnTo>
                      <a:pt x="71" y="71"/>
                    </a:lnTo>
                    <a:lnTo>
                      <a:pt x="69" y="71"/>
                    </a:lnTo>
                    <a:lnTo>
                      <a:pt x="68" y="73"/>
                    </a:lnTo>
                    <a:lnTo>
                      <a:pt x="66" y="71"/>
                    </a:lnTo>
                    <a:lnTo>
                      <a:pt x="66" y="69"/>
                    </a:lnTo>
                    <a:lnTo>
                      <a:pt x="68" y="66"/>
                    </a:lnTo>
                    <a:lnTo>
                      <a:pt x="69" y="66"/>
                    </a:lnTo>
                    <a:lnTo>
                      <a:pt x="71" y="66"/>
                    </a:lnTo>
                    <a:lnTo>
                      <a:pt x="73" y="64"/>
                    </a:lnTo>
                    <a:lnTo>
                      <a:pt x="71" y="66"/>
                    </a:lnTo>
                    <a:lnTo>
                      <a:pt x="69" y="66"/>
                    </a:lnTo>
                    <a:lnTo>
                      <a:pt x="71" y="63"/>
                    </a:lnTo>
                    <a:lnTo>
                      <a:pt x="69" y="64"/>
                    </a:lnTo>
                    <a:lnTo>
                      <a:pt x="66" y="66"/>
                    </a:lnTo>
                    <a:lnTo>
                      <a:pt x="64" y="68"/>
                    </a:lnTo>
                    <a:lnTo>
                      <a:pt x="62" y="68"/>
                    </a:lnTo>
                    <a:lnTo>
                      <a:pt x="62" y="64"/>
                    </a:lnTo>
                    <a:lnTo>
                      <a:pt x="64" y="63"/>
                    </a:lnTo>
                    <a:lnTo>
                      <a:pt x="62" y="61"/>
                    </a:lnTo>
                    <a:lnTo>
                      <a:pt x="64" y="61"/>
                    </a:lnTo>
                    <a:lnTo>
                      <a:pt x="66" y="61"/>
                    </a:lnTo>
                    <a:lnTo>
                      <a:pt x="66" y="59"/>
                    </a:lnTo>
                    <a:lnTo>
                      <a:pt x="68" y="61"/>
                    </a:lnTo>
                    <a:lnTo>
                      <a:pt x="69" y="61"/>
                    </a:lnTo>
                    <a:lnTo>
                      <a:pt x="68" y="61"/>
                    </a:lnTo>
                    <a:lnTo>
                      <a:pt x="69" y="59"/>
                    </a:lnTo>
                    <a:lnTo>
                      <a:pt x="68" y="59"/>
                    </a:lnTo>
                    <a:lnTo>
                      <a:pt x="68" y="58"/>
                    </a:lnTo>
                    <a:lnTo>
                      <a:pt x="69" y="58"/>
                    </a:lnTo>
                    <a:lnTo>
                      <a:pt x="69" y="59"/>
                    </a:lnTo>
                    <a:lnTo>
                      <a:pt x="71" y="59"/>
                    </a:lnTo>
                    <a:lnTo>
                      <a:pt x="71" y="56"/>
                    </a:lnTo>
                    <a:lnTo>
                      <a:pt x="71" y="58"/>
                    </a:lnTo>
                    <a:lnTo>
                      <a:pt x="73" y="56"/>
                    </a:lnTo>
                    <a:lnTo>
                      <a:pt x="73" y="58"/>
                    </a:lnTo>
                    <a:lnTo>
                      <a:pt x="74" y="58"/>
                    </a:lnTo>
                    <a:lnTo>
                      <a:pt x="73" y="56"/>
                    </a:lnTo>
                    <a:lnTo>
                      <a:pt x="71" y="56"/>
                    </a:lnTo>
                    <a:lnTo>
                      <a:pt x="73" y="54"/>
                    </a:lnTo>
                    <a:lnTo>
                      <a:pt x="74" y="58"/>
                    </a:lnTo>
                    <a:lnTo>
                      <a:pt x="74" y="56"/>
                    </a:lnTo>
                    <a:lnTo>
                      <a:pt x="76" y="58"/>
                    </a:lnTo>
                    <a:lnTo>
                      <a:pt x="76" y="56"/>
                    </a:lnTo>
                    <a:lnTo>
                      <a:pt x="74" y="56"/>
                    </a:lnTo>
                    <a:lnTo>
                      <a:pt x="74" y="54"/>
                    </a:lnTo>
                    <a:lnTo>
                      <a:pt x="73" y="54"/>
                    </a:lnTo>
                    <a:lnTo>
                      <a:pt x="76" y="54"/>
                    </a:lnTo>
                    <a:lnTo>
                      <a:pt x="78" y="54"/>
                    </a:lnTo>
                    <a:lnTo>
                      <a:pt x="76" y="54"/>
                    </a:lnTo>
                    <a:lnTo>
                      <a:pt x="78" y="56"/>
                    </a:lnTo>
                    <a:lnTo>
                      <a:pt x="78" y="58"/>
                    </a:lnTo>
                    <a:lnTo>
                      <a:pt x="78" y="56"/>
                    </a:lnTo>
                    <a:lnTo>
                      <a:pt x="79" y="56"/>
                    </a:lnTo>
                    <a:lnTo>
                      <a:pt x="78" y="54"/>
                    </a:lnTo>
                    <a:lnTo>
                      <a:pt x="79" y="54"/>
                    </a:lnTo>
                    <a:lnTo>
                      <a:pt x="78" y="54"/>
                    </a:lnTo>
                    <a:lnTo>
                      <a:pt x="78" y="52"/>
                    </a:lnTo>
                    <a:lnTo>
                      <a:pt x="79" y="54"/>
                    </a:lnTo>
                    <a:lnTo>
                      <a:pt x="78" y="52"/>
                    </a:lnTo>
                    <a:lnTo>
                      <a:pt x="79" y="52"/>
                    </a:lnTo>
                    <a:lnTo>
                      <a:pt x="79" y="54"/>
                    </a:lnTo>
                    <a:lnTo>
                      <a:pt x="81" y="52"/>
                    </a:lnTo>
                    <a:lnTo>
                      <a:pt x="81" y="56"/>
                    </a:lnTo>
                    <a:lnTo>
                      <a:pt x="81" y="54"/>
                    </a:lnTo>
                    <a:lnTo>
                      <a:pt x="83" y="56"/>
                    </a:lnTo>
                    <a:lnTo>
                      <a:pt x="81" y="56"/>
                    </a:lnTo>
                    <a:lnTo>
                      <a:pt x="83" y="56"/>
                    </a:lnTo>
                    <a:lnTo>
                      <a:pt x="81" y="56"/>
                    </a:lnTo>
                    <a:lnTo>
                      <a:pt x="81" y="58"/>
                    </a:lnTo>
                    <a:lnTo>
                      <a:pt x="83" y="56"/>
                    </a:lnTo>
                    <a:lnTo>
                      <a:pt x="83" y="58"/>
                    </a:lnTo>
                    <a:lnTo>
                      <a:pt x="85" y="56"/>
                    </a:lnTo>
                    <a:lnTo>
                      <a:pt x="83" y="58"/>
                    </a:lnTo>
                    <a:lnTo>
                      <a:pt x="85" y="56"/>
                    </a:lnTo>
                    <a:lnTo>
                      <a:pt x="85" y="58"/>
                    </a:lnTo>
                    <a:lnTo>
                      <a:pt x="85" y="56"/>
                    </a:lnTo>
                    <a:lnTo>
                      <a:pt x="85" y="58"/>
                    </a:lnTo>
                    <a:lnTo>
                      <a:pt x="85" y="56"/>
                    </a:lnTo>
                    <a:lnTo>
                      <a:pt x="86" y="58"/>
                    </a:lnTo>
                    <a:lnTo>
                      <a:pt x="86" y="56"/>
                    </a:lnTo>
                    <a:lnTo>
                      <a:pt x="86" y="58"/>
                    </a:lnTo>
                    <a:lnTo>
                      <a:pt x="86" y="56"/>
                    </a:lnTo>
                    <a:lnTo>
                      <a:pt x="88" y="56"/>
                    </a:lnTo>
                    <a:lnTo>
                      <a:pt x="88" y="54"/>
                    </a:lnTo>
                    <a:lnTo>
                      <a:pt x="86" y="56"/>
                    </a:lnTo>
                    <a:lnTo>
                      <a:pt x="85" y="56"/>
                    </a:lnTo>
                    <a:lnTo>
                      <a:pt x="83" y="54"/>
                    </a:lnTo>
                    <a:lnTo>
                      <a:pt x="85" y="54"/>
                    </a:lnTo>
                    <a:lnTo>
                      <a:pt x="86" y="52"/>
                    </a:lnTo>
                    <a:lnTo>
                      <a:pt x="83" y="54"/>
                    </a:lnTo>
                    <a:lnTo>
                      <a:pt x="85" y="52"/>
                    </a:lnTo>
                    <a:lnTo>
                      <a:pt x="83" y="54"/>
                    </a:lnTo>
                    <a:lnTo>
                      <a:pt x="81" y="54"/>
                    </a:lnTo>
                    <a:lnTo>
                      <a:pt x="83" y="52"/>
                    </a:lnTo>
                    <a:lnTo>
                      <a:pt x="83" y="51"/>
                    </a:lnTo>
                    <a:lnTo>
                      <a:pt x="81" y="52"/>
                    </a:lnTo>
                    <a:lnTo>
                      <a:pt x="79" y="52"/>
                    </a:lnTo>
                    <a:lnTo>
                      <a:pt x="81" y="51"/>
                    </a:lnTo>
                    <a:lnTo>
                      <a:pt x="81" y="49"/>
                    </a:lnTo>
                    <a:lnTo>
                      <a:pt x="81" y="51"/>
                    </a:lnTo>
                    <a:lnTo>
                      <a:pt x="79" y="51"/>
                    </a:lnTo>
                    <a:lnTo>
                      <a:pt x="79" y="52"/>
                    </a:lnTo>
                    <a:lnTo>
                      <a:pt x="78" y="52"/>
                    </a:lnTo>
                    <a:lnTo>
                      <a:pt x="78" y="51"/>
                    </a:lnTo>
                    <a:lnTo>
                      <a:pt x="78" y="52"/>
                    </a:lnTo>
                    <a:lnTo>
                      <a:pt x="76" y="52"/>
                    </a:lnTo>
                    <a:lnTo>
                      <a:pt x="74" y="52"/>
                    </a:lnTo>
                    <a:lnTo>
                      <a:pt x="76" y="52"/>
                    </a:lnTo>
                    <a:lnTo>
                      <a:pt x="78" y="51"/>
                    </a:lnTo>
                    <a:lnTo>
                      <a:pt x="76" y="51"/>
                    </a:lnTo>
                    <a:lnTo>
                      <a:pt x="78" y="51"/>
                    </a:lnTo>
                    <a:lnTo>
                      <a:pt x="78" y="49"/>
                    </a:lnTo>
                    <a:lnTo>
                      <a:pt x="78" y="47"/>
                    </a:lnTo>
                    <a:lnTo>
                      <a:pt x="79" y="49"/>
                    </a:lnTo>
                    <a:lnTo>
                      <a:pt x="78" y="47"/>
                    </a:lnTo>
                    <a:lnTo>
                      <a:pt x="79" y="47"/>
                    </a:lnTo>
                    <a:lnTo>
                      <a:pt x="78" y="47"/>
                    </a:lnTo>
                    <a:lnTo>
                      <a:pt x="78" y="46"/>
                    </a:lnTo>
                    <a:lnTo>
                      <a:pt x="78" y="47"/>
                    </a:lnTo>
                    <a:lnTo>
                      <a:pt x="76" y="47"/>
                    </a:lnTo>
                    <a:lnTo>
                      <a:pt x="78" y="49"/>
                    </a:lnTo>
                    <a:lnTo>
                      <a:pt x="76" y="49"/>
                    </a:lnTo>
                    <a:lnTo>
                      <a:pt x="78" y="49"/>
                    </a:lnTo>
                    <a:lnTo>
                      <a:pt x="76" y="51"/>
                    </a:lnTo>
                    <a:lnTo>
                      <a:pt x="76" y="49"/>
                    </a:lnTo>
                    <a:lnTo>
                      <a:pt x="76" y="51"/>
                    </a:lnTo>
                    <a:lnTo>
                      <a:pt x="74" y="52"/>
                    </a:lnTo>
                    <a:lnTo>
                      <a:pt x="74" y="51"/>
                    </a:lnTo>
                    <a:lnTo>
                      <a:pt x="74" y="52"/>
                    </a:lnTo>
                    <a:lnTo>
                      <a:pt x="74" y="51"/>
                    </a:lnTo>
                    <a:lnTo>
                      <a:pt x="74" y="49"/>
                    </a:lnTo>
                    <a:lnTo>
                      <a:pt x="73" y="51"/>
                    </a:lnTo>
                    <a:lnTo>
                      <a:pt x="74" y="47"/>
                    </a:lnTo>
                    <a:lnTo>
                      <a:pt x="73" y="51"/>
                    </a:lnTo>
                    <a:lnTo>
                      <a:pt x="73" y="49"/>
                    </a:lnTo>
                    <a:lnTo>
                      <a:pt x="73" y="51"/>
                    </a:lnTo>
                    <a:lnTo>
                      <a:pt x="71" y="51"/>
                    </a:lnTo>
                    <a:lnTo>
                      <a:pt x="73" y="51"/>
                    </a:lnTo>
                    <a:lnTo>
                      <a:pt x="73" y="52"/>
                    </a:lnTo>
                    <a:lnTo>
                      <a:pt x="71" y="52"/>
                    </a:lnTo>
                    <a:lnTo>
                      <a:pt x="71" y="54"/>
                    </a:lnTo>
                    <a:lnTo>
                      <a:pt x="71" y="51"/>
                    </a:lnTo>
                    <a:lnTo>
                      <a:pt x="71" y="52"/>
                    </a:lnTo>
                    <a:lnTo>
                      <a:pt x="71" y="54"/>
                    </a:lnTo>
                    <a:lnTo>
                      <a:pt x="68" y="52"/>
                    </a:lnTo>
                    <a:lnTo>
                      <a:pt x="69" y="56"/>
                    </a:lnTo>
                    <a:lnTo>
                      <a:pt x="68" y="54"/>
                    </a:lnTo>
                    <a:lnTo>
                      <a:pt x="69" y="56"/>
                    </a:lnTo>
                    <a:lnTo>
                      <a:pt x="68" y="56"/>
                    </a:lnTo>
                    <a:lnTo>
                      <a:pt x="68" y="54"/>
                    </a:lnTo>
                    <a:lnTo>
                      <a:pt x="66" y="54"/>
                    </a:lnTo>
                    <a:lnTo>
                      <a:pt x="66" y="58"/>
                    </a:lnTo>
                    <a:lnTo>
                      <a:pt x="66" y="56"/>
                    </a:lnTo>
                    <a:lnTo>
                      <a:pt x="66" y="58"/>
                    </a:lnTo>
                    <a:lnTo>
                      <a:pt x="64" y="54"/>
                    </a:lnTo>
                    <a:lnTo>
                      <a:pt x="66" y="54"/>
                    </a:lnTo>
                    <a:lnTo>
                      <a:pt x="64" y="54"/>
                    </a:lnTo>
                    <a:lnTo>
                      <a:pt x="66" y="52"/>
                    </a:lnTo>
                    <a:lnTo>
                      <a:pt x="66" y="51"/>
                    </a:lnTo>
                    <a:lnTo>
                      <a:pt x="68" y="51"/>
                    </a:lnTo>
                    <a:lnTo>
                      <a:pt x="66" y="51"/>
                    </a:lnTo>
                    <a:lnTo>
                      <a:pt x="64" y="52"/>
                    </a:lnTo>
                    <a:lnTo>
                      <a:pt x="62" y="52"/>
                    </a:lnTo>
                    <a:lnTo>
                      <a:pt x="62" y="51"/>
                    </a:lnTo>
                    <a:lnTo>
                      <a:pt x="62" y="49"/>
                    </a:lnTo>
                    <a:lnTo>
                      <a:pt x="64" y="49"/>
                    </a:lnTo>
                    <a:lnTo>
                      <a:pt x="62" y="49"/>
                    </a:lnTo>
                    <a:lnTo>
                      <a:pt x="61" y="51"/>
                    </a:lnTo>
                    <a:lnTo>
                      <a:pt x="61" y="47"/>
                    </a:lnTo>
                    <a:lnTo>
                      <a:pt x="59" y="49"/>
                    </a:lnTo>
                    <a:lnTo>
                      <a:pt x="61" y="46"/>
                    </a:lnTo>
                    <a:lnTo>
                      <a:pt x="64" y="42"/>
                    </a:lnTo>
                    <a:lnTo>
                      <a:pt x="66" y="42"/>
                    </a:lnTo>
                    <a:lnTo>
                      <a:pt x="68" y="41"/>
                    </a:lnTo>
                    <a:lnTo>
                      <a:pt x="69" y="41"/>
                    </a:lnTo>
                    <a:lnTo>
                      <a:pt x="73" y="41"/>
                    </a:lnTo>
                    <a:lnTo>
                      <a:pt x="79" y="41"/>
                    </a:lnTo>
                    <a:lnTo>
                      <a:pt x="81" y="39"/>
                    </a:lnTo>
                    <a:lnTo>
                      <a:pt x="85" y="37"/>
                    </a:lnTo>
                    <a:lnTo>
                      <a:pt x="86" y="37"/>
                    </a:lnTo>
                    <a:lnTo>
                      <a:pt x="88" y="37"/>
                    </a:lnTo>
                    <a:lnTo>
                      <a:pt x="86" y="35"/>
                    </a:lnTo>
                    <a:lnTo>
                      <a:pt x="85" y="35"/>
                    </a:lnTo>
                    <a:lnTo>
                      <a:pt x="81" y="35"/>
                    </a:lnTo>
                    <a:lnTo>
                      <a:pt x="78" y="39"/>
                    </a:lnTo>
                    <a:lnTo>
                      <a:pt x="73" y="39"/>
                    </a:lnTo>
                    <a:lnTo>
                      <a:pt x="71" y="37"/>
                    </a:lnTo>
                    <a:lnTo>
                      <a:pt x="68" y="37"/>
                    </a:lnTo>
                    <a:lnTo>
                      <a:pt x="66" y="37"/>
                    </a:lnTo>
                    <a:lnTo>
                      <a:pt x="62" y="37"/>
                    </a:lnTo>
                    <a:lnTo>
                      <a:pt x="61" y="41"/>
                    </a:lnTo>
                    <a:lnTo>
                      <a:pt x="59" y="39"/>
                    </a:lnTo>
                    <a:lnTo>
                      <a:pt x="59" y="41"/>
                    </a:lnTo>
                    <a:lnTo>
                      <a:pt x="57" y="42"/>
                    </a:lnTo>
                    <a:lnTo>
                      <a:pt x="54" y="44"/>
                    </a:lnTo>
                    <a:lnTo>
                      <a:pt x="51" y="46"/>
                    </a:lnTo>
                    <a:lnTo>
                      <a:pt x="45" y="47"/>
                    </a:lnTo>
                    <a:lnTo>
                      <a:pt x="47" y="44"/>
                    </a:lnTo>
                    <a:lnTo>
                      <a:pt x="45" y="44"/>
                    </a:lnTo>
                    <a:lnTo>
                      <a:pt x="44" y="46"/>
                    </a:lnTo>
                    <a:lnTo>
                      <a:pt x="42" y="46"/>
                    </a:lnTo>
                    <a:lnTo>
                      <a:pt x="42" y="47"/>
                    </a:lnTo>
                    <a:lnTo>
                      <a:pt x="40" y="47"/>
                    </a:lnTo>
                    <a:lnTo>
                      <a:pt x="39" y="47"/>
                    </a:lnTo>
                    <a:lnTo>
                      <a:pt x="39" y="46"/>
                    </a:lnTo>
                    <a:lnTo>
                      <a:pt x="40" y="44"/>
                    </a:lnTo>
                    <a:lnTo>
                      <a:pt x="40" y="41"/>
                    </a:lnTo>
                    <a:lnTo>
                      <a:pt x="44" y="35"/>
                    </a:lnTo>
                    <a:lnTo>
                      <a:pt x="45" y="35"/>
                    </a:lnTo>
                    <a:lnTo>
                      <a:pt x="47" y="34"/>
                    </a:lnTo>
                    <a:lnTo>
                      <a:pt x="44" y="34"/>
                    </a:lnTo>
                    <a:lnTo>
                      <a:pt x="42" y="35"/>
                    </a:lnTo>
                    <a:lnTo>
                      <a:pt x="40" y="35"/>
                    </a:lnTo>
                    <a:lnTo>
                      <a:pt x="39" y="35"/>
                    </a:lnTo>
                    <a:lnTo>
                      <a:pt x="39" y="34"/>
                    </a:lnTo>
                    <a:lnTo>
                      <a:pt x="37" y="32"/>
                    </a:lnTo>
                    <a:lnTo>
                      <a:pt x="37" y="34"/>
                    </a:lnTo>
                    <a:lnTo>
                      <a:pt x="39" y="35"/>
                    </a:lnTo>
                    <a:lnTo>
                      <a:pt x="40" y="37"/>
                    </a:lnTo>
                    <a:lnTo>
                      <a:pt x="37" y="39"/>
                    </a:lnTo>
                    <a:lnTo>
                      <a:pt x="34" y="39"/>
                    </a:lnTo>
                    <a:lnTo>
                      <a:pt x="32" y="41"/>
                    </a:lnTo>
                    <a:lnTo>
                      <a:pt x="30" y="39"/>
                    </a:lnTo>
                    <a:lnTo>
                      <a:pt x="25" y="39"/>
                    </a:lnTo>
                    <a:lnTo>
                      <a:pt x="23" y="35"/>
                    </a:lnTo>
                    <a:lnTo>
                      <a:pt x="22" y="34"/>
                    </a:lnTo>
                    <a:lnTo>
                      <a:pt x="20" y="34"/>
                    </a:lnTo>
                    <a:lnTo>
                      <a:pt x="20" y="32"/>
                    </a:lnTo>
                    <a:lnTo>
                      <a:pt x="18" y="29"/>
                    </a:lnTo>
                    <a:lnTo>
                      <a:pt x="20" y="27"/>
                    </a:lnTo>
                    <a:lnTo>
                      <a:pt x="23" y="25"/>
                    </a:lnTo>
                    <a:lnTo>
                      <a:pt x="25" y="22"/>
                    </a:lnTo>
                    <a:lnTo>
                      <a:pt x="30" y="20"/>
                    </a:lnTo>
                    <a:lnTo>
                      <a:pt x="27" y="20"/>
                    </a:lnTo>
                    <a:lnTo>
                      <a:pt x="22" y="24"/>
                    </a:lnTo>
                    <a:lnTo>
                      <a:pt x="20" y="24"/>
                    </a:lnTo>
                    <a:lnTo>
                      <a:pt x="22" y="22"/>
                    </a:lnTo>
                    <a:lnTo>
                      <a:pt x="20" y="22"/>
                    </a:lnTo>
                    <a:lnTo>
                      <a:pt x="20" y="24"/>
                    </a:lnTo>
                    <a:lnTo>
                      <a:pt x="18" y="25"/>
                    </a:lnTo>
                    <a:lnTo>
                      <a:pt x="17" y="24"/>
                    </a:lnTo>
                    <a:lnTo>
                      <a:pt x="17" y="25"/>
                    </a:lnTo>
                    <a:lnTo>
                      <a:pt x="15" y="25"/>
                    </a:lnTo>
                    <a:lnTo>
                      <a:pt x="13" y="25"/>
                    </a:lnTo>
                    <a:lnTo>
                      <a:pt x="10" y="22"/>
                    </a:lnTo>
                    <a:lnTo>
                      <a:pt x="6" y="20"/>
                    </a:lnTo>
                    <a:lnTo>
                      <a:pt x="3" y="17"/>
                    </a:lnTo>
                    <a:lnTo>
                      <a:pt x="3" y="18"/>
                    </a:lnTo>
                    <a:lnTo>
                      <a:pt x="1" y="17"/>
                    </a:lnTo>
                    <a:lnTo>
                      <a:pt x="0" y="17"/>
                    </a:lnTo>
                    <a:lnTo>
                      <a:pt x="1" y="17"/>
                    </a:lnTo>
                    <a:lnTo>
                      <a:pt x="6" y="17"/>
                    </a:lnTo>
                    <a:lnTo>
                      <a:pt x="10" y="17"/>
                    </a:lnTo>
                    <a:lnTo>
                      <a:pt x="15" y="15"/>
                    </a:lnTo>
                    <a:lnTo>
                      <a:pt x="17" y="17"/>
                    </a:lnTo>
                    <a:lnTo>
                      <a:pt x="18" y="15"/>
                    </a:lnTo>
                    <a:lnTo>
                      <a:pt x="27" y="12"/>
                    </a:lnTo>
                    <a:lnTo>
                      <a:pt x="28" y="12"/>
                    </a:lnTo>
                    <a:lnTo>
                      <a:pt x="32" y="10"/>
                    </a:lnTo>
                    <a:lnTo>
                      <a:pt x="35" y="10"/>
                    </a:lnTo>
                    <a:lnTo>
                      <a:pt x="39" y="12"/>
                    </a:lnTo>
                    <a:lnTo>
                      <a:pt x="42" y="12"/>
                    </a:lnTo>
                    <a:lnTo>
                      <a:pt x="54" y="13"/>
                    </a:lnTo>
                    <a:lnTo>
                      <a:pt x="64" y="8"/>
                    </a:lnTo>
                    <a:lnTo>
                      <a:pt x="71" y="3"/>
                    </a:lnTo>
                    <a:lnTo>
                      <a:pt x="79" y="0"/>
                    </a:lnTo>
                    <a:lnTo>
                      <a:pt x="91" y="0"/>
                    </a:lnTo>
                    <a:lnTo>
                      <a:pt x="93" y="0"/>
                    </a:lnTo>
                    <a:lnTo>
                      <a:pt x="105" y="0"/>
                    </a:lnTo>
                    <a:lnTo>
                      <a:pt x="120" y="0"/>
                    </a:lnTo>
                    <a:lnTo>
                      <a:pt x="122" y="0"/>
                    </a:lnTo>
                    <a:lnTo>
                      <a:pt x="132" y="0"/>
                    </a:lnTo>
                    <a:lnTo>
                      <a:pt x="153" y="0"/>
                    </a:lnTo>
                    <a:close/>
                    <a:moveTo>
                      <a:pt x="34" y="76"/>
                    </a:moveTo>
                    <a:lnTo>
                      <a:pt x="34" y="78"/>
                    </a:lnTo>
                    <a:lnTo>
                      <a:pt x="35" y="80"/>
                    </a:lnTo>
                    <a:lnTo>
                      <a:pt x="34" y="80"/>
                    </a:lnTo>
                    <a:lnTo>
                      <a:pt x="35" y="81"/>
                    </a:lnTo>
                    <a:lnTo>
                      <a:pt x="34" y="81"/>
                    </a:lnTo>
                    <a:lnTo>
                      <a:pt x="34" y="83"/>
                    </a:lnTo>
                    <a:lnTo>
                      <a:pt x="30" y="83"/>
                    </a:lnTo>
                    <a:lnTo>
                      <a:pt x="28" y="83"/>
                    </a:lnTo>
                    <a:lnTo>
                      <a:pt x="23" y="81"/>
                    </a:lnTo>
                    <a:lnTo>
                      <a:pt x="25" y="80"/>
                    </a:lnTo>
                    <a:lnTo>
                      <a:pt x="27" y="78"/>
                    </a:lnTo>
                    <a:lnTo>
                      <a:pt x="25" y="80"/>
                    </a:lnTo>
                    <a:lnTo>
                      <a:pt x="27" y="80"/>
                    </a:lnTo>
                    <a:lnTo>
                      <a:pt x="28" y="76"/>
                    </a:lnTo>
                    <a:lnTo>
                      <a:pt x="30" y="76"/>
                    </a:lnTo>
                    <a:lnTo>
                      <a:pt x="30" y="75"/>
                    </a:lnTo>
                    <a:lnTo>
                      <a:pt x="34" y="76"/>
                    </a:lnTo>
                    <a:close/>
                    <a:moveTo>
                      <a:pt x="37" y="41"/>
                    </a:moveTo>
                    <a:lnTo>
                      <a:pt x="35" y="47"/>
                    </a:lnTo>
                    <a:lnTo>
                      <a:pt x="32" y="47"/>
                    </a:lnTo>
                    <a:lnTo>
                      <a:pt x="32" y="46"/>
                    </a:lnTo>
                    <a:lnTo>
                      <a:pt x="28" y="44"/>
                    </a:lnTo>
                    <a:lnTo>
                      <a:pt x="28" y="41"/>
                    </a:lnTo>
                    <a:lnTo>
                      <a:pt x="32" y="41"/>
                    </a:lnTo>
                    <a:lnTo>
                      <a:pt x="35" y="41"/>
                    </a:lnTo>
                    <a:lnTo>
                      <a:pt x="37" y="41"/>
                    </a:lnTo>
                    <a:close/>
                    <a:moveTo>
                      <a:pt x="40" y="59"/>
                    </a:moveTo>
                    <a:lnTo>
                      <a:pt x="42" y="63"/>
                    </a:lnTo>
                    <a:lnTo>
                      <a:pt x="39" y="63"/>
                    </a:lnTo>
                    <a:lnTo>
                      <a:pt x="39" y="64"/>
                    </a:lnTo>
                    <a:lnTo>
                      <a:pt x="39" y="63"/>
                    </a:lnTo>
                    <a:lnTo>
                      <a:pt x="37" y="63"/>
                    </a:lnTo>
                    <a:lnTo>
                      <a:pt x="35" y="64"/>
                    </a:lnTo>
                    <a:lnTo>
                      <a:pt x="32" y="63"/>
                    </a:lnTo>
                    <a:lnTo>
                      <a:pt x="35" y="59"/>
                    </a:lnTo>
                    <a:lnTo>
                      <a:pt x="37" y="59"/>
                    </a:lnTo>
                    <a:lnTo>
                      <a:pt x="39" y="59"/>
                    </a:lnTo>
                    <a:lnTo>
                      <a:pt x="40" y="59"/>
                    </a:lnTo>
                    <a:close/>
                    <a:moveTo>
                      <a:pt x="23" y="56"/>
                    </a:moveTo>
                    <a:lnTo>
                      <a:pt x="25" y="58"/>
                    </a:lnTo>
                    <a:lnTo>
                      <a:pt x="23" y="61"/>
                    </a:lnTo>
                    <a:lnTo>
                      <a:pt x="22" y="61"/>
                    </a:lnTo>
                    <a:lnTo>
                      <a:pt x="20" y="59"/>
                    </a:lnTo>
                    <a:lnTo>
                      <a:pt x="17" y="61"/>
                    </a:lnTo>
                    <a:lnTo>
                      <a:pt x="15" y="59"/>
                    </a:lnTo>
                    <a:lnTo>
                      <a:pt x="17" y="58"/>
                    </a:lnTo>
                    <a:lnTo>
                      <a:pt x="20" y="58"/>
                    </a:lnTo>
                    <a:lnTo>
                      <a:pt x="22" y="56"/>
                    </a:lnTo>
                    <a:lnTo>
                      <a:pt x="23" y="56"/>
                    </a:lnTo>
                    <a:close/>
                    <a:moveTo>
                      <a:pt x="54" y="73"/>
                    </a:moveTo>
                    <a:lnTo>
                      <a:pt x="52" y="73"/>
                    </a:lnTo>
                    <a:lnTo>
                      <a:pt x="52" y="75"/>
                    </a:lnTo>
                    <a:lnTo>
                      <a:pt x="51" y="73"/>
                    </a:lnTo>
                    <a:lnTo>
                      <a:pt x="51" y="75"/>
                    </a:lnTo>
                    <a:lnTo>
                      <a:pt x="51" y="76"/>
                    </a:lnTo>
                    <a:lnTo>
                      <a:pt x="49" y="76"/>
                    </a:lnTo>
                    <a:lnTo>
                      <a:pt x="47" y="75"/>
                    </a:lnTo>
                    <a:lnTo>
                      <a:pt x="49" y="75"/>
                    </a:lnTo>
                    <a:lnTo>
                      <a:pt x="47" y="73"/>
                    </a:lnTo>
                    <a:lnTo>
                      <a:pt x="49" y="73"/>
                    </a:lnTo>
                    <a:lnTo>
                      <a:pt x="49" y="71"/>
                    </a:lnTo>
                    <a:lnTo>
                      <a:pt x="51" y="71"/>
                    </a:lnTo>
                    <a:lnTo>
                      <a:pt x="51" y="69"/>
                    </a:lnTo>
                    <a:lnTo>
                      <a:pt x="54" y="69"/>
                    </a:lnTo>
                    <a:lnTo>
                      <a:pt x="54" y="73"/>
                    </a:lnTo>
                    <a:close/>
                    <a:moveTo>
                      <a:pt x="42" y="76"/>
                    </a:moveTo>
                    <a:lnTo>
                      <a:pt x="42" y="81"/>
                    </a:lnTo>
                    <a:lnTo>
                      <a:pt x="42" y="83"/>
                    </a:lnTo>
                    <a:lnTo>
                      <a:pt x="37" y="83"/>
                    </a:lnTo>
                    <a:lnTo>
                      <a:pt x="40" y="80"/>
                    </a:lnTo>
                    <a:lnTo>
                      <a:pt x="37" y="81"/>
                    </a:lnTo>
                    <a:lnTo>
                      <a:pt x="40" y="78"/>
                    </a:lnTo>
                    <a:lnTo>
                      <a:pt x="39" y="78"/>
                    </a:lnTo>
                    <a:lnTo>
                      <a:pt x="37" y="76"/>
                    </a:lnTo>
                    <a:lnTo>
                      <a:pt x="39" y="76"/>
                    </a:lnTo>
                    <a:lnTo>
                      <a:pt x="39" y="75"/>
                    </a:lnTo>
                    <a:lnTo>
                      <a:pt x="42" y="76"/>
                    </a:lnTo>
                    <a:close/>
                    <a:moveTo>
                      <a:pt x="28" y="41"/>
                    </a:moveTo>
                    <a:lnTo>
                      <a:pt x="25" y="42"/>
                    </a:lnTo>
                    <a:lnTo>
                      <a:pt x="20" y="42"/>
                    </a:lnTo>
                    <a:lnTo>
                      <a:pt x="20" y="41"/>
                    </a:lnTo>
                    <a:lnTo>
                      <a:pt x="22" y="39"/>
                    </a:lnTo>
                    <a:lnTo>
                      <a:pt x="22" y="35"/>
                    </a:lnTo>
                    <a:lnTo>
                      <a:pt x="25" y="39"/>
                    </a:lnTo>
                    <a:lnTo>
                      <a:pt x="28" y="41"/>
                    </a:lnTo>
                    <a:close/>
                    <a:moveTo>
                      <a:pt x="62" y="54"/>
                    </a:moveTo>
                    <a:lnTo>
                      <a:pt x="62" y="56"/>
                    </a:lnTo>
                    <a:lnTo>
                      <a:pt x="64" y="58"/>
                    </a:lnTo>
                    <a:lnTo>
                      <a:pt x="62" y="58"/>
                    </a:lnTo>
                    <a:lnTo>
                      <a:pt x="62" y="56"/>
                    </a:lnTo>
                    <a:lnTo>
                      <a:pt x="61" y="58"/>
                    </a:lnTo>
                    <a:lnTo>
                      <a:pt x="59" y="58"/>
                    </a:lnTo>
                    <a:lnTo>
                      <a:pt x="59" y="59"/>
                    </a:lnTo>
                    <a:lnTo>
                      <a:pt x="61" y="59"/>
                    </a:lnTo>
                    <a:lnTo>
                      <a:pt x="59" y="59"/>
                    </a:lnTo>
                    <a:lnTo>
                      <a:pt x="56" y="59"/>
                    </a:lnTo>
                    <a:lnTo>
                      <a:pt x="56" y="58"/>
                    </a:lnTo>
                    <a:lnTo>
                      <a:pt x="57" y="56"/>
                    </a:lnTo>
                    <a:lnTo>
                      <a:pt x="59" y="56"/>
                    </a:lnTo>
                    <a:lnTo>
                      <a:pt x="61" y="54"/>
                    </a:lnTo>
                    <a:lnTo>
                      <a:pt x="64" y="52"/>
                    </a:lnTo>
                    <a:lnTo>
                      <a:pt x="62" y="54"/>
                    </a:lnTo>
                    <a:close/>
                    <a:moveTo>
                      <a:pt x="27" y="69"/>
                    </a:moveTo>
                    <a:lnTo>
                      <a:pt x="27" y="71"/>
                    </a:lnTo>
                    <a:lnTo>
                      <a:pt x="27" y="69"/>
                    </a:lnTo>
                    <a:lnTo>
                      <a:pt x="28" y="71"/>
                    </a:lnTo>
                    <a:lnTo>
                      <a:pt x="28" y="73"/>
                    </a:lnTo>
                    <a:lnTo>
                      <a:pt x="27" y="75"/>
                    </a:lnTo>
                    <a:lnTo>
                      <a:pt x="23" y="75"/>
                    </a:lnTo>
                    <a:lnTo>
                      <a:pt x="22" y="73"/>
                    </a:lnTo>
                    <a:lnTo>
                      <a:pt x="23" y="71"/>
                    </a:lnTo>
                    <a:lnTo>
                      <a:pt x="25" y="71"/>
                    </a:lnTo>
                    <a:lnTo>
                      <a:pt x="25" y="69"/>
                    </a:lnTo>
                    <a:lnTo>
                      <a:pt x="27" y="69"/>
                    </a:lnTo>
                    <a:close/>
                    <a:moveTo>
                      <a:pt x="37" y="76"/>
                    </a:moveTo>
                    <a:lnTo>
                      <a:pt x="39" y="80"/>
                    </a:lnTo>
                    <a:lnTo>
                      <a:pt x="37" y="81"/>
                    </a:lnTo>
                    <a:lnTo>
                      <a:pt x="35" y="81"/>
                    </a:lnTo>
                    <a:lnTo>
                      <a:pt x="35" y="80"/>
                    </a:lnTo>
                    <a:lnTo>
                      <a:pt x="35" y="78"/>
                    </a:lnTo>
                    <a:lnTo>
                      <a:pt x="35" y="80"/>
                    </a:lnTo>
                    <a:lnTo>
                      <a:pt x="34" y="78"/>
                    </a:lnTo>
                    <a:lnTo>
                      <a:pt x="35" y="75"/>
                    </a:lnTo>
                    <a:lnTo>
                      <a:pt x="35" y="76"/>
                    </a:lnTo>
                    <a:lnTo>
                      <a:pt x="37" y="75"/>
                    </a:lnTo>
                    <a:lnTo>
                      <a:pt x="37" y="76"/>
                    </a:lnTo>
                    <a:close/>
                    <a:moveTo>
                      <a:pt x="28" y="59"/>
                    </a:moveTo>
                    <a:lnTo>
                      <a:pt x="25" y="63"/>
                    </a:lnTo>
                    <a:lnTo>
                      <a:pt x="22" y="63"/>
                    </a:lnTo>
                    <a:lnTo>
                      <a:pt x="23" y="61"/>
                    </a:lnTo>
                    <a:lnTo>
                      <a:pt x="25" y="59"/>
                    </a:lnTo>
                    <a:lnTo>
                      <a:pt x="28" y="58"/>
                    </a:lnTo>
                    <a:lnTo>
                      <a:pt x="28" y="59"/>
                    </a:lnTo>
                    <a:close/>
                    <a:moveTo>
                      <a:pt x="45" y="71"/>
                    </a:moveTo>
                    <a:lnTo>
                      <a:pt x="44" y="71"/>
                    </a:lnTo>
                    <a:lnTo>
                      <a:pt x="45" y="73"/>
                    </a:lnTo>
                    <a:lnTo>
                      <a:pt x="44" y="73"/>
                    </a:lnTo>
                    <a:lnTo>
                      <a:pt x="45" y="73"/>
                    </a:lnTo>
                    <a:lnTo>
                      <a:pt x="45" y="75"/>
                    </a:lnTo>
                    <a:lnTo>
                      <a:pt x="44" y="75"/>
                    </a:lnTo>
                    <a:lnTo>
                      <a:pt x="42" y="75"/>
                    </a:lnTo>
                    <a:lnTo>
                      <a:pt x="44" y="69"/>
                    </a:lnTo>
                    <a:lnTo>
                      <a:pt x="45" y="69"/>
                    </a:lnTo>
                    <a:lnTo>
                      <a:pt x="45" y="71"/>
                    </a:lnTo>
                    <a:close/>
                    <a:moveTo>
                      <a:pt x="40" y="56"/>
                    </a:moveTo>
                    <a:lnTo>
                      <a:pt x="42" y="58"/>
                    </a:lnTo>
                    <a:lnTo>
                      <a:pt x="40" y="59"/>
                    </a:lnTo>
                    <a:lnTo>
                      <a:pt x="39" y="58"/>
                    </a:lnTo>
                    <a:lnTo>
                      <a:pt x="39" y="56"/>
                    </a:lnTo>
                    <a:lnTo>
                      <a:pt x="37" y="56"/>
                    </a:lnTo>
                    <a:lnTo>
                      <a:pt x="39" y="54"/>
                    </a:lnTo>
                    <a:lnTo>
                      <a:pt x="40" y="56"/>
                    </a:lnTo>
                    <a:close/>
                    <a:moveTo>
                      <a:pt x="35" y="69"/>
                    </a:moveTo>
                    <a:lnTo>
                      <a:pt x="34" y="69"/>
                    </a:lnTo>
                    <a:lnTo>
                      <a:pt x="35" y="69"/>
                    </a:lnTo>
                    <a:lnTo>
                      <a:pt x="34" y="68"/>
                    </a:lnTo>
                    <a:lnTo>
                      <a:pt x="32" y="71"/>
                    </a:lnTo>
                    <a:lnTo>
                      <a:pt x="30" y="69"/>
                    </a:lnTo>
                    <a:lnTo>
                      <a:pt x="30" y="68"/>
                    </a:lnTo>
                    <a:lnTo>
                      <a:pt x="32" y="68"/>
                    </a:lnTo>
                    <a:lnTo>
                      <a:pt x="35" y="68"/>
                    </a:lnTo>
                    <a:lnTo>
                      <a:pt x="35" y="69"/>
                    </a:lnTo>
                    <a:close/>
                    <a:moveTo>
                      <a:pt x="34" y="64"/>
                    </a:moveTo>
                    <a:lnTo>
                      <a:pt x="32" y="64"/>
                    </a:lnTo>
                    <a:lnTo>
                      <a:pt x="32" y="66"/>
                    </a:lnTo>
                    <a:lnTo>
                      <a:pt x="30" y="66"/>
                    </a:lnTo>
                    <a:lnTo>
                      <a:pt x="28" y="66"/>
                    </a:lnTo>
                    <a:lnTo>
                      <a:pt x="28" y="64"/>
                    </a:lnTo>
                    <a:lnTo>
                      <a:pt x="32" y="64"/>
                    </a:lnTo>
                    <a:lnTo>
                      <a:pt x="34" y="64"/>
                    </a:lnTo>
                    <a:close/>
                    <a:moveTo>
                      <a:pt x="54" y="61"/>
                    </a:moveTo>
                    <a:lnTo>
                      <a:pt x="54" y="63"/>
                    </a:lnTo>
                    <a:lnTo>
                      <a:pt x="52" y="63"/>
                    </a:lnTo>
                    <a:lnTo>
                      <a:pt x="51" y="63"/>
                    </a:lnTo>
                    <a:lnTo>
                      <a:pt x="52" y="61"/>
                    </a:lnTo>
                    <a:lnTo>
                      <a:pt x="52" y="59"/>
                    </a:lnTo>
                    <a:lnTo>
                      <a:pt x="54" y="59"/>
                    </a:lnTo>
                    <a:lnTo>
                      <a:pt x="54" y="61"/>
                    </a:lnTo>
                    <a:close/>
                    <a:moveTo>
                      <a:pt x="39" y="58"/>
                    </a:moveTo>
                    <a:lnTo>
                      <a:pt x="37" y="59"/>
                    </a:lnTo>
                    <a:lnTo>
                      <a:pt x="35" y="58"/>
                    </a:lnTo>
                    <a:lnTo>
                      <a:pt x="37" y="56"/>
                    </a:lnTo>
                    <a:lnTo>
                      <a:pt x="39" y="58"/>
                    </a:lnTo>
                    <a:close/>
                    <a:moveTo>
                      <a:pt x="47" y="68"/>
                    </a:moveTo>
                    <a:lnTo>
                      <a:pt x="47" y="69"/>
                    </a:lnTo>
                    <a:lnTo>
                      <a:pt x="45" y="69"/>
                    </a:lnTo>
                    <a:lnTo>
                      <a:pt x="45" y="68"/>
                    </a:lnTo>
                    <a:lnTo>
                      <a:pt x="47" y="66"/>
                    </a:lnTo>
                    <a:lnTo>
                      <a:pt x="47" y="68"/>
                    </a:lnTo>
                    <a:close/>
                    <a:moveTo>
                      <a:pt x="71" y="71"/>
                    </a:moveTo>
                    <a:lnTo>
                      <a:pt x="71" y="73"/>
                    </a:lnTo>
                    <a:lnTo>
                      <a:pt x="68" y="73"/>
                    </a:lnTo>
                    <a:lnTo>
                      <a:pt x="66" y="73"/>
                    </a:lnTo>
                    <a:lnTo>
                      <a:pt x="68" y="73"/>
                    </a:lnTo>
                    <a:lnTo>
                      <a:pt x="69" y="71"/>
                    </a:lnTo>
                    <a:lnTo>
                      <a:pt x="71" y="71"/>
                    </a:lnTo>
                    <a:close/>
                    <a:moveTo>
                      <a:pt x="17" y="71"/>
                    </a:moveTo>
                    <a:lnTo>
                      <a:pt x="11" y="71"/>
                    </a:lnTo>
                    <a:lnTo>
                      <a:pt x="13" y="69"/>
                    </a:lnTo>
                    <a:lnTo>
                      <a:pt x="17" y="71"/>
                    </a:lnTo>
                    <a:close/>
                    <a:moveTo>
                      <a:pt x="42" y="66"/>
                    </a:moveTo>
                    <a:lnTo>
                      <a:pt x="45" y="66"/>
                    </a:lnTo>
                    <a:lnTo>
                      <a:pt x="45" y="69"/>
                    </a:lnTo>
                    <a:lnTo>
                      <a:pt x="42" y="69"/>
                    </a:lnTo>
                    <a:lnTo>
                      <a:pt x="42" y="66"/>
                    </a:lnTo>
                    <a:close/>
                    <a:moveTo>
                      <a:pt x="42" y="37"/>
                    </a:moveTo>
                    <a:lnTo>
                      <a:pt x="42" y="35"/>
                    </a:lnTo>
                    <a:lnTo>
                      <a:pt x="45" y="34"/>
                    </a:lnTo>
                    <a:lnTo>
                      <a:pt x="42" y="37"/>
                    </a:lnTo>
                    <a:close/>
                    <a:moveTo>
                      <a:pt x="64" y="41"/>
                    </a:moveTo>
                    <a:lnTo>
                      <a:pt x="66" y="41"/>
                    </a:lnTo>
                    <a:lnTo>
                      <a:pt x="66" y="42"/>
                    </a:lnTo>
                    <a:lnTo>
                      <a:pt x="64" y="42"/>
                    </a:lnTo>
                    <a:lnTo>
                      <a:pt x="64" y="41"/>
                    </a:lnTo>
                    <a:close/>
                    <a:moveTo>
                      <a:pt x="39" y="83"/>
                    </a:moveTo>
                    <a:lnTo>
                      <a:pt x="35" y="83"/>
                    </a:lnTo>
                    <a:lnTo>
                      <a:pt x="39" y="83"/>
                    </a:lnTo>
                    <a:close/>
                    <a:moveTo>
                      <a:pt x="54" y="83"/>
                    </a:moveTo>
                    <a:lnTo>
                      <a:pt x="56" y="83"/>
                    </a:lnTo>
                    <a:lnTo>
                      <a:pt x="54" y="83"/>
                    </a:lnTo>
                    <a:close/>
                    <a:moveTo>
                      <a:pt x="39" y="58"/>
                    </a:moveTo>
                    <a:lnTo>
                      <a:pt x="40" y="58"/>
                    </a:lnTo>
                    <a:lnTo>
                      <a:pt x="40" y="59"/>
                    </a:lnTo>
                    <a:lnTo>
                      <a:pt x="39" y="59"/>
                    </a:lnTo>
                    <a:lnTo>
                      <a:pt x="39" y="58"/>
                    </a:lnTo>
                    <a:close/>
                    <a:moveTo>
                      <a:pt x="37" y="42"/>
                    </a:moveTo>
                    <a:lnTo>
                      <a:pt x="37" y="44"/>
                    </a:lnTo>
                    <a:lnTo>
                      <a:pt x="37" y="42"/>
                    </a:lnTo>
                    <a:close/>
                    <a:moveTo>
                      <a:pt x="52" y="85"/>
                    </a:moveTo>
                    <a:lnTo>
                      <a:pt x="54" y="85"/>
                    </a:lnTo>
                    <a:lnTo>
                      <a:pt x="54" y="86"/>
                    </a:lnTo>
                    <a:lnTo>
                      <a:pt x="52" y="86"/>
                    </a:lnTo>
                    <a:lnTo>
                      <a:pt x="52" y="85"/>
                    </a:lnTo>
                    <a:close/>
                    <a:moveTo>
                      <a:pt x="17" y="69"/>
                    </a:moveTo>
                    <a:lnTo>
                      <a:pt x="18" y="69"/>
                    </a:lnTo>
                    <a:lnTo>
                      <a:pt x="18" y="71"/>
                    </a:lnTo>
                    <a:lnTo>
                      <a:pt x="17" y="71"/>
                    </a:lnTo>
                    <a:lnTo>
                      <a:pt x="17" y="69"/>
                    </a:lnTo>
                    <a:close/>
                    <a:moveTo>
                      <a:pt x="35" y="39"/>
                    </a:moveTo>
                    <a:lnTo>
                      <a:pt x="39" y="39"/>
                    </a:lnTo>
                    <a:lnTo>
                      <a:pt x="39" y="41"/>
                    </a:lnTo>
                    <a:lnTo>
                      <a:pt x="35" y="41"/>
                    </a:lnTo>
                    <a:lnTo>
                      <a:pt x="35" y="39"/>
                    </a:lnTo>
                    <a:close/>
                    <a:moveTo>
                      <a:pt x="27" y="68"/>
                    </a:moveTo>
                    <a:lnTo>
                      <a:pt x="28" y="68"/>
                    </a:lnTo>
                    <a:lnTo>
                      <a:pt x="27" y="68"/>
                    </a:lnTo>
                    <a:close/>
                    <a:moveTo>
                      <a:pt x="35" y="66"/>
                    </a:moveTo>
                    <a:lnTo>
                      <a:pt x="37" y="66"/>
                    </a:lnTo>
                    <a:lnTo>
                      <a:pt x="35" y="66"/>
                    </a:lnTo>
                    <a:close/>
                    <a:moveTo>
                      <a:pt x="66" y="41"/>
                    </a:moveTo>
                    <a:lnTo>
                      <a:pt x="68" y="41"/>
                    </a:lnTo>
                    <a:lnTo>
                      <a:pt x="68" y="42"/>
                    </a:lnTo>
                    <a:lnTo>
                      <a:pt x="66" y="42"/>
                    </a:lnTo>
                    <a:lnTo>
                      <a:pt x="66" y="41"/>
                    </a:lnTo>
                    <a:close/>
                    <a:moveTo>
                      <a:pt x="51" y="83"/>
                    </a:moveTo>
                    <a:lnTo>
                      <a:pt x="52" y="83"/>
                    </a:lnTo>
                    <a:lnTo>
                      <a:pt x="52" y="85"/>
                    </a:lnTo>
                    <a:lnTo>
                      <a:pt x="51" y="85"/>
                    </a:lnTo>
                    <a:lnTo>
                      <a:pt x="51" y="83"/>
                    </a:lnTo>
                    <a:close/>
                    <a:moveTo>
                      <a:pt x="22" y="63"/>
                    </a:moveTo>
                    <a:lnTo>
                      <a:pt x="22" y="64"/>
                    </a:lnTo>
                    <a:lnTo>
                      <a:pt x="22" y="63"/>
                    </a:lnTo>
                    <a:close/>
                    <a:moveTo>
                      <a:pt x="42" y="47"/>
                    </a:moveTo>
                    <a:lnTo>
                      <a:pt x="44" y="47"/>
                    </a:lnTo>
                    <a:lnTo>
                      <a:pt x="42" y="47"/>
                    </a:lnTo>
                    <a:close/>
                    <a:moveTo>
                      <a:pt x="51" y="68"/>
                    </a:moveTo>
                    <a:lnTo>
                      <a:pt x="52" y="68"/>
                    </a:lnTo>
                    <a:lnTo>
                      <a:pt x="52" y="69"/>
                    </a:lnTo>
                    <a:lnTo>
                      <a:pt x="51" y="69"/>
                    </a:lnTo>
                    <a:lnTo>
                      <a:pt x="51" y="68"/>
                    </a:lnTo>
                    <a:close/>
                    <a:moveTo>
                      <a:pt x="76" y="78"/>
                    </a:moveTo>
                    <a:lnTo>
                      <a:pt x="78" y="78"/>
                    </a:lnTo>
                    <a:lnTo>
                      <a:pt x="76" y="78"/>
                    </a:lnTo>
                    <a:close/>
                    <a:moveTo>
                      <a:pt x="51" y="69"/>
                    </a:moveTo>
                    <a:lnTo>
                      <a:pt x="51" y="71"/>
                    </a:lnTo>
                    <a:lnTo>
                      <a:pt x="51" y="69"/>
                    </a:lnTo>
                    <a:close/>
                  </a:path>
                </a:pathLst>
              </a:custGeom>
              <a:solidFill>
                <a:schemeClr val="tx2">
                  <a:lumMod val="50000"/>
                  <a:lumOff val="50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7" name="Freeform 33">
                <a:extLst>
                  <a:ext uri="{FF2B5EF4-FFF2-40B4-BE49-F238E27FC236}">
                    <a16:creationId xmlns:a16="http://schemas.microsoft.com/office/drawing/2014/main" id="{834A05AA-A619-4EFC-9072-073CE1581905}"/>
                  </a:ext>
                </a:extLst>
              </p:cNvPr>
              <p:cNvSpPr>
                <a:spLocks/>
              </p:cNvSpPr>
              <p:nvPr/>
            </p:nvSpPr>
            <p:spPr bwMode="gray">
              <a:xfrm>
                <a:off x="3884614" y="2589213"/>
                <a:ext cx="490537" cy="514350"/>
              </a:xfrm>
              <a:custGeom>
                <a:avLst/>
                <a:gdLst>
                  <a:gd name="T0" fmla="*/ 168 w 309"/>
                  <a:gd name="T1" fmla="*/ 22 h 324"/>
                  <a:gd name="T2" fmla="*/ 178 w 309"/>
                  <a:gd name="T3" fmla="*/ 24 h 324"/>
                  <a:gd name="T4" fmla="*/ 180 w 309"/>
                  <a:gd name="T5" fmla="*/ 31 h 324"/>
                  <a:gd name="T6" fmla="*/ 185 w 309"/>
                  <a:gd name="T7" fmla="*/ 36 h 324"/>
                  <a:gd name="T8" fmla="*/ 192 w 309"/>
                  <a:gd name="T9" fmla="*/ 45 h 324"/>
                  <a:gd name="T10" fmla="*/ 201 w 309"/>
                  <a:gd name="T11" fmla="*/ 53 h 324"/>
                  <a:gd name="T12" fmla="*/ 211 w 309"/>
                  <a:gd name="T13" fmla="*/ 55 h 324"/>
                  <a:gd name="T14" fmla="*/ 219 w 309"/>
                  <a:gd name="T15" fmla="*/ 50 h 324"/>
                  <a:gd name="T16" fmla="*/ 238 w 309"/>
                  <a:gd name="T17" fmla="*/ 43 h 324"/>
                  <a:gd name="T18" fmla="*/ 265 w 309"/>
                  <a:gd name="T19" fmla="*/ 43 h 324"/>
                  <a:gd name="T20" fmla="*/ 279 w 309"/>
                  <a:gd name="T21" fmla="*/ 50 h 324"/>
                  <a:gd name="T22" fmla="*/ 297 w 309"/>
                  <a:gd name="T23" fmla="*/ 74 h 324"/>
                  <a:gd name="T24" fmla="*/ 301 w 309"/>
                  <a:gd name="T25" fmla="*/ 92 h 324"/>
                  <a:gd name="T26" fmla="*/ 308 w 309"/>
                  <a:gd name="T27" fmla="*/ 130 h 324"/>
                  <a:gd name="T28" fmla="*/ 292 w 309"/>
                  <a:gd name="T29" fmla="*/ 148 h 324"/>
                  <a:gd name="T30" fmla="*/ 272 w 309"/>
                  <a:gd name="T31" fmla="*/ 199 h 324"/>
                  <a:gd name="T32" fmla="*/ 280 w 309"/>
                  <a:gd name="T33" fmla="*/ 242 h 324"/>
                  <a:gd name="T34" fmla="*/ 294 w 309"/>
                  <a:gd name="T35" fmla="*/ 259 h 324"/>
                  <a:gd name="T36" fmla="*/ 296 w 309"/>
                  <a:gd name="T37" fmla="*/ 278 h 324"/>
                  <a:gd name="T38" fmla="*/ 287 w 309"/>
                  <a:gd name="T39" fmla="*/ 286 h 324"/>
                  <a:gd name="T40" fmla="*/ 223 w 309"/>
                  <a:gd name="T41" fmla="*/ 279 h 324"/>
                  <a:gd name="T42" fmla="*/ 122 w 309"/>
                  <a:gd name="T43" fmla="*/ 296 h 324"/>
                  <a:gd name="T44" fmla="*/ 85 w 309"/>
                  <a:gd name="T45" fmla="*/ 310 h 324"/>
                  <a:gd name="T46" fmla="*/ 53 w 309"/>
                  <a:gd name="T47" fmla="*/ 322 h 324"/>
                  <a:gd name="T48" fmla="*/ 53 w 309"/>
                  <a:gd name="T49" fmla="*/ 307 h 324"/>
                  <a:gd name="T50" fmla="*/ 54 w 309"/>
                  <a:gd name="T51" fmla="*/ 291 h 324"/>
                  <a:gd name="T52" fmla="*/ 61 w 309"/>
                  <a:gd name="T53" fmla="*/ 276 h 324"/>
                  <a:gd name="T54" fmla="*/ 59 w 309"/>
                  <a:gd name="T55" fmla="*/ 267 h 324"/>
                  <a:gd name="T56" fmla="*/ 59 w 309"/>
                  <a:gd name="T57" fmla="*/ 252 h 324"/>
                  <a:gd name="T58" fmla="*/ 53 w 309"/>
                  <a:gd name="T59" fmla="*/ 247 h 324"/>
                  <a:gd name="T60" fmla="*/ 42 w 309"/>
                  <a:gd name="T61" fmla="*/ 244 h 324"/>
                  <a:gd name="T62" fmla="*/ 39 w 309"/>
                  <a:gd name="T63" fmla="*/ 232 h 324"/>
                  <a:gd name="T64" fmla="*/ 22 w 309"/>
                  <a:gd name="T65" fmla="*/ 227 h 324"/>
                  <a:gd name="T66" fmla="*/ 10 w 309"/>
                  <a:gd name="T67" fmla="*/ 218 h 324"/>
                  <a:gd name="T68" fmla="*/ 3 w 309"/>
                  <a:gd name="T69" fmla="*/ 210 h 324"/>
                  <a:gd name="T70" fmla="*/ 10 w 309"/>
                  <a:gd name="T71" fmla="*/ 204 h 324"/>
                  <a:gd name="T72" fmla="*/ 15 w 309"/>
                  <a:gd name="T73" fmla="*/ 198 h 324"/>
                  <a:gd name="T74" fmla="*/ 14 w 309"/>
                  <a:gd name="T75" fmla="*/ 179 h 324"/>
                  <a:gd name="T76" fmla="*/ 12 w 309"/>
                  <a:gd name="T77" fmla="*/ 159 h 324"/>
                  <a:gd name="T78" fmla="*/ 27 w 309"/>
                  <a:gd name="T79" fmla="*/ 148 h 324"/>
                  <a:gd name="T80" fmla="*/ 31 w 309"/>
                  <a:gd name="T81" fmla="*/ 133 h 324"/>
                  <a:gd name="T82" fmla="*/ 19 w 309"/>
                  <a:gd name="T83" fmla="*/ 116 h 324"/>
                  <a:gd name="T84" fmla="*/ 36 w 309"/>
                  <a:gd name="T85" fmla="*/ 114 h 324"/>
                  <a:gd name="T86" fmla="*/ 39 w 309"/>
                  <a:gd name="T87" fmla="*/ 114 h 324"/>
                  <a:gd name="T88" fmla="*/ 37 w 309"/>
                  <a:gd name="T89" fmla="*/ 101 h 324"/>
                  <a:gd name="T90" fmla="*/ 44 w 309"/>
                  <a:gd name="T91" fmla="*/ 85 h 324"/>
                  <a:gd name="T92" fmla="*/ 36 w 309"/>
                  <a:gd name="T93" fmla="*/ 67 h 324"/>
                  <a:gd name="T94" fmla="*/ 25 w 309"/>
                  <a:gd name="T95" fmla="*/ 53 h 324"/>
                  <a:gd name="T96" fmla="*/ 24 w 309"/>
                  <a:gd name="T97" fmla="*/ 43 h 324"/>
                  <a:gd name="T98" fmla="*/ 32 w 309"/>
                  <a:gd name="T99" fmla="*/ 29 h 324"/>
                  <a:gd name="T100" fmla="*/ 42 w 309"/>
                  <a:gd name="T101" fmla="*/ 21 h 324"/>
                  <a:gd name="T102" fmla="*/ 54 w 309"/>
                  <a:gd name="T103" fmla="*/ 14 h 324"/>
                  <a:gd name="T104" fmla="*/ 73 w 309"/>
                  <a:gd name="T105" fmla="*/ 24 h 324"/>
                  <a:gd name="T106" fmla="*/ 97 w 309"/>
                  <a:gd name="T107" fmla="*/ 19 h 324"/>
                  <a:gd name="T108" fmla="*/ 102 w 309"/>
                  <a:gd name="T109" fmla="*/ 5 h 324"/>
                  <a:gd name="T110" fmla="*/ 119 w 309"/>
                  <a:gd name="T111" fmla="*/ 0 h 324"/>
                  <a:gd name="T112" fmla="*/ 121 w 309"/>
                  <a:gd name="T113" fmla="*/ 12 h 324"/>
                  <a:gd name="T114" fmla="*/ 122 w 309"/>
                  <a:gd name="T115" fmla="*/ 22 h 324"/>
                  <a:gd name="T116" fmla="*/ 136 w 309"/>
                  <a:gd name="T117" fmla="*/ 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9" h="324">
                    <a:moveTo>
                      <a:pt x="156" y="16"/>
                    </a:moveTo>
                    <a:lnTo>
                      <a:pt x="158" y="19"/>
                    </a:lnTo>
                    <a:lnTo>
                      <a:pt x="160" y="19"/>
                    </a:lnTo>
                    <a:lnTo>
                      <a:pt x="160" y="21"/>
                    </a:lnTo>
                    <a:lnTo>
                      <a:pt x="163" y="22"/>
                    </a:lnTo>
                    <a:lnTo>
                      <a:pt x="165" y="24"/>
                    </a:lnTo>
                    <a:lnTo>
                      <a:pt x="165" y="22"/>
                    </a:lnTo>
                    <a:lnTo>
                      <a:pt x="167" y="22"/>
                    </a:lnTo>
                    <a:lnTo>
                      <a:pt x="168" y="22"/>
                    </a:lnTo>
                    <a:lnTo>
                      <a:pt x="168" y="21"/>
                    </a:lnTo>
                    <a:lnTo>
                      <a:pt x="168" y="22"/>
                    </a:lnTo>
                    <a:lnTo>
                      <a:pt x="172" y="22"/>
                    </a:lnTo>
                    <a:lnTo>
                      <a:pt x="173" y="21"/>
                    </a:lnTo>
                    <a:lnTo>
                      <a:pt x="173" y="22"/>
                    </a:lnTo>
                    <a:lnTo>
                      <a:pt x="175" y="22"/>
                    </a:lnTo>
                    <a:lnTo>
                      <a:pt x="177" y="22"/>
                    </a:lnTo>
                    <a:lnTo>
                      <a:pt x="177" y="24"/>
                    </a:lnTo>
                    <a:lnTo>
                      <a:pt x="178" y="24"/>
                    </a:lnTo>
                    <a:lnTo>
                      <a:pt x="177" y="24"/>
                    </a:lnTo>
                    <a:lnTo>
                      <a:pt x="177" y="26"/>
                    </a:lnTo>
                    <a:lnTo>
                      <a:pt x="177" y="28"/>
                    </a:lnTo>
                    <a:lnTo>
                      <a:pt x="178" y="26"/>
                    </a:lnTo>
                    <a:lnTo>
                      <a:pt x="178" y="28"/>
                    </a:lnTo>
                    <a:lnTo>
                      <a:pt x="177" y="29"/>
                    </a:lnTo>
                    <a:lnTo>
                      <a:pt x="180" y="29"/>
                    </a:lnTo>
                    <a:lnTo>
                      <a:pt x="178" y="31"/>
                    </a:lnTo>
                    <a:lnTo>
                      <a:pt x="180" y="31"/>
                    </a:lnTo>
                    <a:lnTo>
                      <a:pt x="180" y="33"/>
                    </a:lnTo>
                    <a:lnTo>
                      <a:pt x="178" y="31"/>
                    </a:lnTo>
                    <a:lnTo>
                      <a:pt x="178" y="33"/>
                    </a:lnTo>
                    <a:lnTo>
                      <a:pt x="180" y="33"/>
                    </a:lnTo>
                    <a:lnTo>
                      <a:pt x="180" y="34"/>
                    </a:lnTo>
                    <a:lnTo>
                      <a:pt x="184" y="33"/>
                    </a:lnTo>
                    <a:lnTo>
                      <a:pt x="182" y="34"/>
                    </a:lnTo>
                    <a:lnTo>
                      <a:pt x="184" y="36"/>
                    </a:lnTo>
                    <a:lnTo>
                      <a:pt x="185" y="36"/>
                    </a:lnTo>
                    <a:lnTo>
                      <a:pt x="185" y="38"/>
                    </a:lnTo>
                    <a:lnTo>
                      <a:pt x="184" y="38"/>
                    </a:lnTo>
                    <a:lnTo>
                      <a:pt x="185" y="39"/>
                    </a:lnTo>
                    <a:lnTo>
                      <a:pt x="185" y="41"/>
                    </a:lnTo>
                    <a:lnTo>
                      <a:pt x="184" y="43"/>
                    </a:lnTo>
                    <a:lnTo>
                      <a:pt x="187" y="45"/>
                    </a:lnTo>
                    <a:lnTo>
                      <a:pt x="187" y="43"/>
                    </a:lnTo>
                    <a:lnTo>
                      <a:pt x="189" y="45"/>
                    </a:lnTo>
                    <a:lnTo>
                      <a:pt x="192" y="45"/>
                    </a:lnTo>
                    <a:lnTo>
                      <a:pt x="192" y="46"/>
                    </a:lnTo>
                    <a:lnTo>
                      <a:pt x="194" y="46"/>
                    </a:lnTo>
                    <a:lnTo>
                      <a:pt x="194" y="50"/>
                    </a:lnTo>
                    <a:lnTo>
                      <a:pt x="192" y="50"/>
                    </a:lnTo>
                    <a:lnTo>
                      <a:pt x="194" y="51"/>
                    </a:lnTo>
                    <a:lnTo>
                      <a:pt x="195" y="50"/>
                    </a:lnTo>
                    <a:lnTo>
                      <a:pt x="195" y="51"/>
                    </a:lnTo>
                    <a:lnTo>
                      <a:pt x="199" y="55"/>
                    </a:lnTo>
                    <a:lnTo>
                      <a:pt x="201" y="53"/>
                    </a:lnTo>
                    <a:lnTo>
                      <a:pt x="202" y="53"/>
                    </a:lnTo>
                    <a:lnTo>
                      <a:pt x="202" y="51"/>
                    </a:lnTo>
                    <a:lnTo>
                      <a:pt x="204" y="53"/>
                    </a:lnTo>
                    <a:lnTo>
                      <a:pt x="206" y="51"/>
                    </a:lnTo>
                    <a:lnTo>
                      <a:pt x="207" y="50"/>
                    </a:lnTo>
                    <a:lnTo>
                      <a:pt x="207" y="51"/>
                    </a:lnTo>
                    <a:lnTo>
                      <a:pt x="207" y="55"/>
                    </a:lnTo>
                    <a:lnTo>
                      <a:pt x="207" y="56"/>
                    </a:lnTo>
                    <a:lnTo>
                      <a:pt x="211" y="55"/>
                    </a:lnTo>
                    <a:lnTo>
                      <a:pt x="214" y="58"/>
                    </a:lnTo>
                    <a:lnTo>
                      <a:pt x="214" y="56"/>
                    </a:lnTo>
                    <a:lnTo>
                      <a:pt x="216" y="56"/>
                    </a:lnTo>
                    <a:lnTo>
                      <a:pt x="218" y="58"/>
                    </a:lnTo>
                    <a:lnTo>
                      <a:pt x="219" y="56"/>
                    </a:lnTo>
                    <a:lnTo>
                      <a:pt x="219" y="53"/>
                    </a:lnTo>
                    <a:lnTo>
                      <a:pt x="221" y="51"/>
                    </a:lnTo>
                    <a:lnTo>
                      <a:pt x="219" y="51"/>
                    </a:lnTo>
                    <a:lnTo>
                      <a:pt x="219" y="50"/>
                    </a:lnTo>
                    <a:lnTo>
                      <a:pt x="224" y="50"/>
                    </a:lnTo>
                    <a:lnTo>
                      <a:pt x="226" y="46"/>
                    </a:lnTo>
                    <a:lnTo>
                      <a:pt x="228" y="46"/>
                    </a:lnTo>
                    <a:lnTo>
                      <a:pt x="231" y="48"/>
                    </a:lnTo>
                    <a:lnTo>
                      <a:pt x="233" y="46"/>
                    </a:lnTo>
                    <a:lnTo>
                      <a:pt x="235" y="46"/>
                    </a:lnTo>
                    <a:lnTo>
                      <a:pt x="235" y="45"/>
                    </a:lnTo>
                    <a:lnTo>
                      <a:pt x="236" y="45"/>
                    </a:lnTo>
                    <a:lnTo>
                      <a:pt x="238" y="43"/>
                    </a:lnTo>
                    <a:lnTo>
                      <a:pt x="243" y="43"/>
                    </a:lnTo>
                    <a:lnTo>
                      <a:pt x="245" y="41"/>
                    </a:lnTo>
                    <a:lnTo>
                      <a:pt x="250" y="41"/>
                    </a:lnTo>
                    <a:lnTo>
                      <a:pt x="252" y="39"/>
                    </a:lnTo>
                    <a:lnTo>
                      <a:pt x="253" y="41"/>
                    </a:lnTo>
                    <a:lnTo>
                      <a:pt x="260" y="41"/>
                    </a:lnTo>
                    <a:lnTo>
                      <a:pt x="262" y="41"/>
                    </a:lnTo>
                    <a:lnTo>
                      <a:pt x="263" y="41"/>
                    </a:lnTo>
                    <a:lnTo>
                      <a:pt x="265" y="43"/>
                    </a:lnTo>
                    <a:lnTo>
                      <a:pt x="269" y="43"/>
                    </a:lnTo>
                    <a:lnTo>
                      <a:pt x="269" y="45"/>
                    </a:lnTo>
                    <a:lnTo>
                      <a:pt x="270" y="46"/>
                    </a:lnTo>
                    <a:lnTo>
                      <a:pt x="274" y="41"/>
                    </a:lnTo>
                    <a:lnTo>
                      <a:pt x="275" y="46"/>
                    </a:lnTo>
                    <a:lnTo>
                      <a:pt x="277" y="45"/>
                    </a:lnTo>
                    <a:lnTo>
                      <a:pt x="277" y="46"/>
                    </a:lnTo>
                    <a:lnTo>
                      <a:pt x="279" y="48"/>
                    </a:lnTo>
                    <a:lnTo>
                      <a:pt x="279" y="50"/>
                    </a:lnTo>
                    <a:lnTo>
                      <a:pt x="280" y="51"/>
                    </a:lnTo>
                    <a:lnTo>
                      <a:pt x="284" y="51"/>
                    </a:lnTo>
                    <a:lnTo>
                      <a:pt x="287" y="60"/>
                    </a:lnTo>
                    <a:lnTo>
                      <a:pt x="292" y="65"/>
                    </a:lnTo>
                    <a:lnTo>
                      <a:pt x="296" y="68"/>
                    </a:lnTo>
                    <a:lnTo>
                      <a:pt x="299" y="63"/>
                    </a:lnTo>
                    <a:lnTo>
                      <a:pt x="301" y="70"/>
                    </a:lnTo>
                    <a:lnTo>
                      <a:pt x="297" y="72"/>
                    </a:lnTo>
                    <a:lnTo>
                      <a:pt x="297" y="74"/>
                    </a:lnTo>
                    <a:lnTo>
                      <a:pt x="301" y="75"/>
                    </a:lnTo>
                    <a:lnTo>
                      <a:pt x="299" y="79"/>
                    </a:lnTo>
                    <a:lnTo>
                      <a:pt x="297" y="80"/>
                    </a:lnTo>
                    <a:lnTo>
                      <a:pt x="296" y="82"/>
                    </a:lnTo>
                    <a:lnTo>
                      <a:pt x="296" y="84"/>
                    </a:lnTo>
                    <a:lnTo>
                      <a:pt x="296" y="85"/>
                    </a:lnTo>
                    <a:lnTo>
                      <a:pt x="297" y="87"/>
                    </a:lnTo>
                    <a:lnTo>
                      <a:pt x="301" y="87"/>
                    </a:lnTo>
                    <a:lnTo>
                      <a:pt x="301" y="92"/>
                    </a:lnTo>
                    <a:lnTo>
                      <a:pt x="303" y="92"/>
                    </a:lnTo>
                    <a:lnTo>
                      <a:pt x="303" y="96"/>
                    </a:lnTo>
                    <a:lnTo>
                      <a:pt x="304" y="97"/>
                    </a:lnTo>
                    <a:lnTo>
                      <a:pt x="303" y="99"/>
                    </a:lnTo>
                    <a:lnTo>
                      <a:pt x="304" y="99"/>
                    </a:lnTo>
                    <a:lnTo>
                      <a:pt x="308" y="113"/>
                    </a:lnTo>
                    <a:lnTo>
                      <a:pt x="309" y="123"/>
                    </a:lnTo>
                    <a:lnTo>
                      <a:pt x="309" y="128"/>
                    </a:lnTo>
                    <a:lnTo>
                      <a:pt x="308" y="130"/>
                    </a:lnTo>
                    <a:lnTo>
                      <a:pt x="304" y="131"/>
                    </a:lnTo>
                    <a:lnTo>
                      <a:pt x="303" y="133"/>
                    </a:lnTo>
                    <a:lnTo>
                      <a:pt x="304" y="135"/>
                    </a:lnTo>
                    <a:lnTo>
                      <a:pt x="304" y="136"/>
                    </a:lnTo>
                    <a:lnTo>
                      <a:pt x="301" y="138"/>
                    </a:lnTo>
                    <a:lnTo>
                      <a:pt x="297" y="143"/>
                    </a:lnTo>
                    <a:lnTo>
                      <a:pt x="296" y="142"/>
                    </a:lnTo>
                    <a:lnTo>
                      <a:pt x="294" y="147"/>
                    </a:lnTo>
                    <a:lnTo>
                      <a:pt x="292" y="148"/>
                    </a:lnTo>
                    <a:lnTo>
                      <a:pt x="287" y="159"/>
                    </a:lnTo>
                    <a:lnTo>
                      <a:pt x="287" y="165"/>
                    </a:lnTo>
                    <a:lnTo>
                      <a:pt x="286" y="174"/>
                    </a:lnTo>
                    <a:lnTo>
                      <a:pt x="286" y="176"/>
                    </a:lnTo>
                    <a:lnTo>
                      <a:pt x="287" y="179"/>
                    </a:lnTo>
                    <a:lnTo>
                      <a:pt x="282" y="182"/>
                    </a:lnTo>
                    <a:lnTo>
                      <a:pt x="282" y="186"/>
                    </a:lnTo>
                    <a:lnTo>
                      <a:pt x="279" y="187"/>
                    </a:lnTo>
                    <a:lnTo>
                      <a:pt x="272" y="199"/>
                    </a:lnTo>
                    <a:lnTo>
                      <a:pt x="272" y="201"/>
                    </a:lnTo>
                    <a:lnTo>
                      <a:pt x="274" y="204"/>
                    </a:lnTo>
                    <a:lnTo>
                      <a:pt x="270" y="210"/>
                    </a:lnTo>
                    <a:lnTo>
                      <a:pt x="272" y="210"/>
                    </a:lnTo>
                    <a:lnTo>
                      <a:pt x="272" y="215"/>
                    </a:lnTo>
                    <a:lnTo>
                      <a:pt x="275" y="225"/>
                    </a:lnTo>
                    <a:lnTo>
                      <a:pt x="275" y="228"/>
                    </a:lnTo>
                    <a:lnTo>
                      <a:pt x="279" y="233"/>
                    </a:lnTo>
                    <a:lnTo>
                      <a:pt x="280" y="242"/>
                    </a:lnTo>
                    <a:lnTo>
                      <a:pt x="280" y="244"/>
                    </a:lnTo>
                    <a:lnTo>
                      <a:pt x="282" y="249"/>
                    </a:lnTo>
                    <a:lnTo>
                      <a:pt x="282" y="256"/>
                    </a:lnTo>
                    <a:lnTo>
                      <a:pt x="286" y="256"/>
                    </a:lnTo>
                    <a:lnTo>
                      <a:pt x="286" y="259"/>
                    </a:lnTo>
                    <a:lnTo>
                      <a:pt x="287" y="261"/>
                    </a:lnTo>
                    <a:lnTo>
                      <a:pt x="291" y="259"/>
                    </a:lnTo>
                    <a:lnTo>
                      <a:pt x="292" y="259"/>
                    </a:lnTo>
                    <a:lnTo>
                      <a:pt x="294" y="259"/>
                    </a:lnTo>
                    <a:lnTo>
                      <a:pt x="296" y="261"/>
                    </a:lnTo>
                    <a:lnTo>
                      <a:pt x="296" y="262"/>
                    </a:lnTo>
                    <a:lnTo>
                      <a:pt x="296" y="269"/>
                    </a:lnTo>
                    <a:lnTo>
                      <a:pt x="297" y="271"/>
                    </a:lnTo>
                    <a:lnTo>
                      <a:pt x="297" y="274"/>
                    </a:lnTo>
                    <a:lnTo>
                      <a:pt x="296" y="273"/>
                    </a:lnTo>
                    <a:lnTo>
                      <a:pt x="296" y="276"/>
                    </a:lnTo>
                    <a:lnTo>
                      <a:pt x="294" y="276"/>
                    </a:lnTo>
                    <a:lnTo>
                      <a:pt x="296" y="278"/>
                    </a:lnTo>
                    <a:lnTo>
                      <a:pt x="296" y="281"/>
                    </a:lnTo>
                    <a:lnTo>
                      <a:pt x="297" y="284"/>
                    </a:lnTo>
                    <a:lnTo>
                      <a:pt x="296" y="286"/>
                    </a:lnTo>
                    <a:lnTo>
                      <a:pt x="294" y="284"/>
                    </a:lnTo>
                    <a:lnTo>
                      <a:pt x="292" y="286"/>
                    </a:lnTo>
                    <a:lnTo>
                      <a:pt x="292" y="284"/>
                    </a:lnTo>
                    <a:lnTo>
                      <a:pt x="292" y="286"/>
                    </a:lnTo>
                    <a:lnTo>
                      <a:pt x="289" y="284"/>
                    </a:lnTo>
                    <a:lnTo>
                      <a:pt x="287" y="286"/>
                    </a:lnTo>
                    <a:lnTo>
                      <a:pt x="282" y="284"/>
                    </a:lnTo>
                    <a:lnTo>
                      <a:pt x="280" y="284"/>
                    </a:lnTo>
                    <a:lnTo>
                      <a:pt x="279" y="286"/>
                    </a:lnTo>
                    <a:lnTo>
                      <a:pt x="262" y="283"/>
                    </a:lnTo>
                    <a:lnTo>
                      <a:pt x="248" y="281"/>
                    </a:lnTo>
                    <a:lnTo>
                      <a:pt x="235" y="278"/>
                    </a:lnTo>
                    <a:lnTo>
                      <a:pt x="233" y="279"/>
                    </a:lnTo>
                    <a:lnTo>
                      <a:pt x="229" y="279"/>
                    </a:lnTo>
                    <a:lnTo>
                      <a:pt x="223" y="279"/>
                    </a:lnTo>
                    <a:lnTo>
                      <a:pt x="206" y="281"/>
                    </a:lnTo>
                    <a:lnTo>
                      <a:pt x="195" y="283"/>
                    </a:lnTo>
                    <a:lnTo>
                      <a:pt x="173" y="284"/>
                    </a:lnTo>
                    <a:lnTo>
                      <a:pt x="168" y="286"/>
                    </a:lnTo>
                    <a:lnTo>
                      <a:pt x="156" y="286"/>
                    </a:lnTo>
                    <a:lnTo>
                      <a:pt x="143" y="290"/>
                    </a:lnTo>
                    <a:lnTo>
                      <a:pt x="129" y="293"/>
                    </a:lnTo>
                    <a:lnTo>
                      <a:pt x="127" y="295"/>
                    </a:lnTo>
                    <a:lnTo>
                      <a:pt x="122" y="296"/>
                    </a:lnTo>
                    <a:lnTo>
                      <a:pt x="110" y="301"/>
                    </a:lnTo>
                    <a:lnTo>
                      <a:pt x="109" y="301"/>
                    </a:lnTo>
                    <a:lnTo>
                      <a:pt x="102" y="303"/>
                    </a:lnTo>
                    <a:lnTo>
                      <a:pt x="102" y="305"/>
                    </a:lnTo>
                    <a:lnTo>
                      <a:pt x="100" y="303"/>
                    </a:lnTo>
                    <a:lnTo>
                      <a:pt x="100" y="305"/>
                    </a:lnTo>
                    <a:lnTo>
                      <a:pt x="97" y="307"/>
                    </a:lnTo>
                    <a:lnTo>
                      <a:pt x="85" y="308"/>
                    </a:lnTo>
                    <a:lnTo>
                      <a:pt x="85" y="310"/>
                    </a:lnTo>
                    <a:lnTo>
                      <a:pt x="82" y="313"/>
                    </a:lnTo>
                    <a:lnTo>
                      <a:pt x="80" y="313"/>
                    </a:lnTo>
                    <a:lnTo>
                      <a:pt x="71" y="315"/>
                    </a:lnTo>
                    <a:lnTo>
                      <a:pt x="70" y="317"/>
                    </a:lnTo>
                    <a:lnTo>
                      <a:pt x="68" y="318"/>
                    </a:lnTo>
                    <a:lnTo>
                      <a:pt x="66" y="318"/>
                    </a:lnTo>
                    <a:lnTo>
                      <a:pt x="61" y="322"/>
                    </a:lnTo>
                    <a:lnTo>
                      <a:pt x="54" y="324"/>
                    </a:lnTo>
                    <a:lnTo>
                      <a:pt x="53" y="322"/>
                    </a:lnTo>
                    <a:lnTo>
                      <a:pt x="54" y="320"/>
                    </a:lnTo>
                    <a:lnTo>
                      <a:pt x="53" y="318"/>
                    </a:lnTo>
                    <a:lnTo>
                      <a:pt x="53" y="317"/>
                    </a:lnTo>
                    <a:lnTo>
                      <a:pt x="53" y="315"/>
                    </a:lnTo>
                    <a:lnTo>
                      <a:pt x="53" y="313"/>
                    </a:lnTo>
                    <a:lnTo>
                      <a:pt x="53" y="312"/>
                    </a:lnTo>
                    <a:lnTo>
                      <a:pt x="54" y="312"/>
                    </a:lnTo>
                    <a:lnTo>
                      <a:pt x="53" y="308"/>
                    </a:lnTo>
                    <a:lnTo>
                      <a:pt x="53" y="307"/>
                    </a:lnTo>
                    <a:lnTo>
                      <a:pt x="53" y="301"/>
                    </a:lnTo>
                    <a:lnTo>
                      <a:pt x="51" y="301"/>
                    </a:lnTo>
                    <a:lnTo>
                      <a:pt x="53" y="300"/>
                    </a:lnTo>
                    <a:lnTo>
                      <a:pt x="51" y="296"/>
                    </a:lnTo>
                    <a:lnTo>
                      <a:pt x="53" y="295"/>
                    </a:lnTo>
                    <a:lnTo>
                      <a:pt x="54" y="295"/>
                    </a:lnTo>
                    <a:lnTo>
                      <a:pt x="54" y="293"/>
                    </a:lnTo>
                    <a:lnTo>
                      <a:pt x="53" y="293"/>
                    </a:lnTo>
                    <a:lnTo>
                      <a:pt x="54" y="291"/>
                    </a:lnTo>
                    <a:lnTo>
                      <a:pt x="53" y="288"/>
                    </a:lnTo>
                    <a:lnTo>
                      <a:pt x="54" y="286"/>
                    </a:lnTo>
                    <a:lnTo>
                      <a:pt x="56" y="286"/>
                    </a:lnTo>
                    <a:lnTo>
                      <a:pt x="58" y="284"/>
                    </a:lnTo>
                    <a:lnTo>
                      <a:pt x="58" y="281"/>
                    </a:lnTo>
                    <a:lnTo>
                      <a:pt x="56" y="279"/>
                    </a:lnTo>
                    <a:lnTo>
                      <a:pt x="58" y="279"/>
                    </a:lnTo>
                    <a:lnTo>
                      <a:pt x="58" y="278"/>
                    </a:lnTo>
                    <a:lnTo>
                      <a:pt x="61" y="276"/>
                    </a:lnTo>
                    <a:lnTo>
                      <a:pt x="59" y="278"/>
                    </a:lnTo>
                    <a:lnTo>
                      <a:pt x="61" y="276"/>
                    </a:lnTo>
                    <a:lnTo>
                      <a:pt x="63" y="274"/>
                    </a:lnTo>
                    <a:lnTo>
                      <a:pt x="61" y="274"/>
                    </a:lnTo>
                    <a:lnTo>
                      <a:pt x="63" y="271"/>
                    </a:lnTo>
                    <a:lnTo>
                      <a:pt x="61" y="273"/>
                    </a:lnTo>
                    <a:lnTo>
                      <a:pt x="58" y="269"/>
                    </a:lnTo>
                    <a:lnTo>
                      <a:pt x="59" y="269"/>
                    </a:lnTo>
                    <a:lnTo>
                      <a:pt x="59" y="267"/>
                    </a:lnTo>
                    <a:lnTo>
                      <a:pt x="61" y="266"/>
                    </a:lnTo>
                    <a:lnTo>
                      <a:pt x="61" y="264"/>
                    </a:lnTo>
                    <a:lnTo>
                      <a:pt x="63" y="264"/>
                    </a:lnTo>
                    <a:lnTo>
                      <a:pt x="61" y="264"/>
                    </a:lnTo>
                    <a:lnTo>
                      <a:pt x="61" y="262"/>
                    </a:lnTo>
                    <a:lnTo>
                      <a:pt x="63" y="262"/>
                    </a:lnTo>
                    <a:lnTo>
                      <a:pt x="63" y="259"/>
                    </a:lnTo>
                    <a:lnTo>
                      <a:pt x="61" y="259"/>
                    </a:lnTo>
                    <a:lnTo>
                      <a:pt x="59" y="252"/>
                    </a:lnTo>
                    <a:lnTo>
                      <a:pt x="59" y="250"/>
                    </a:lnTo>
                    <a:lnTo>
                      <a:pt x="59" y="249"/>
                    </a:lnTo>
                    <a:lnTo>
                      <a:pt x="58" y="247"/>
                    </a:lnTo>
                    <a:lnTo>
                      <a:pt x="58" y="250"/>
                    </a:lnTo>
                    <a:lnTo>
                      <a:pt x="54" y="249"/>
                    </a:lnTo>
                    <a:lnTo>
                      <a:pt x="56" y="249"/>
                    </a:lnTo>
                    <a:lnTo>
                      <a:pt x="54" y="247"/>
                    </a:lnTo>
                    <a:lnTo>
                      <a:pt x="54" y="249"/>
                    </a:lnTo>
                    <a:lnTo>
                      <a:pt x="53" y="247"/>
                    </a:lnTo>
                    <a:lnTo>
                      <a:pt x="53" y="245"/>
                    </a:lnTo>
                    <a:lnTo>
                      <a:pt x="51" y="247"/>
                    </a:lnTo>
                    <a:lnTo>
                      <a:pt x="51" y="245"/>
                    </a:lnTo>
                    <a:lnTo>
                      <a:pt x="48" y="245"/>
                    </a:lnTo>
                    <a:lnTo>
                      <a:pt x="48" y="244"/>
                    </a:lnTo>
                    <a:lnTo>
                      <a:pt x="46" y="244"/>
                    </a:lnTo>
                    <a:lnTo>
                      <a:pt x="48" y="245"/>
                    </a:lnTo>
                    <a:lnTo>
                      <a:pt x="46" y="245"/>
                    </a:lnTo>
                    <a:lnTo>
                      <a:pt x="42" y="244"/>
                    </a:lnTo>
                    <a:lnTo>
                      <a:pt x="42" y="242"/>
                    </a:lnTo>
                    <a:lnTo>
                      <a:pt x="41" y="240"/>
                    </a:lnTo>
                    <a:lnTo>
                      <a:pt x="42" y="239"/>
                    </a:lnTo>
                    <a:lnTo>
                      <a:pt x="41" y="237"/>
                    </a:lnTo>
                    <a:lnTo>
                      <a:pt x="39" y="235"/>
                    </a:lnTo>
                    <a:lnTo>
                      <a:pt x="39" y="237"/>
                    </a:lnTo>
                    <a:lnTo>
                      <a:pt x="37" y="235"/>
                    </a:lnTo>
                    <a:lnTo>
                      <a:pt x="39" y="233"/>
                    </a:lnTo>
                    <a:lnTo>
                      <a:pt x="39" y="232"/>
                    </a:lnTo>
                    <a:lnTo>
                      <a:pt x="39" y="230"/>
                    </a:lnTo>
                    <a:lnTo>
                      <a:pt x="36" y="227"/>
                    </a:lnTo>
                    <a:lnTo>
                      <a:pt x="34" y="225"/>
                    </a:lnTo>
                    <a:lnTo>
                      <a:pt x="34" y="227"/>
                    </a:lnTo>
                    <a:lnTo>
                      <a:pt x="34" y="225"/>
                    </a:lnTo>
                    <a:lnTo>
                      <a:pt x="32" y="227"/>
                    </a:lnTo>
                    <a:lnTo>
                      <a:pt x="32" y="225"/>
                    </a:lnTo>
                    <a:lnTo>
                      <a:pt x="31" y="225"/>
                    </a:lnTo>
                    <a:lnTo>
                      <a:pt x="22" y="227"/>
                    </a:lnTo>
                    <a:lnTo>
                      <a:pt x="20" y="225"/>
                    </a:lnTo>
                    <a:lnTo>
                      <a:pt x="17" y="225"/>
                    </a:lnTo>
                    <a:lnTo>
                      <a:pt x="17" y="223"/>
                    </a:lnTo>
                    <a:lnTo>
                      <a:pt x="15" y="223"/>
                    </a:lnTo>
                    <a:lnTo>
                      <a:pt x="14" y="222"/>
                    </a:lnTo>
                    <a:lnTo>
                      <a:pt x="10" y="223"/>
                    </a:lnTo>
                    <a:lnTo>
                      <a:pt x="10" y="222"/>
                    </a:lnTo>
                    <a:lnTo>
                      <a:pt x="12" y="222"/>
                    </a:lnTo>
                    <a:lnTo>
                      <a:pt x="10" y="218"/>
                    </a:lnTo>
                    <a:lnTo>
                      <a:pt x="8" y="216"/>
                    </a:lnTo>
                    <a:lnTo>
                      <a:pt x="7" y="216"/>
                    </a:lnTo>
                    <a:lnTo>
                      <a:pt x="7" y="218"/>
                    </a:lnTo>
                    <a:lnTo>
                      <a:pt x="2" y="215"/>
                    </a:lnTo>
                    <a:lnTo>
                      <a:pt x="0" y="215"/>
                    </a:lnTo>
                    <a:lnTo>
                      <a:pt x="2" y="215"/>
                    </a:lnTo>
                    <a:lnTo>
                      <a:pt x="2" y="211"/>
                    </a:lnTo>
                    <a:lnTo>
                      <a:pt x="3" y="211"/>
                    </a:lnTo>
                    <a:lnTo>
                      <a:pt x="3" y="210"/>
                    </a:lnTo>
                    <a:lnTo>
                      <a:pt x="5" y="210"/>
                    </a:lnTo>
                    <a:lnTo>
                      <a:pt x="7" y="210"/>
                    </a:lnTo>
                    <a:lnTo>
                      <a:pt x="7" y="208"/>
                    </a:lnTo>
                    <a:lnTo>
                      <a:pt x="8" y="208"/>
                    </a:lnTo>
                    <a:lnTo>
                      <a:pt x="8" y="206"/>
                    </a:lnTo>
                    <a:lnTo>
                      <a:pt x="8" y="208"/>
                    </a:lnTo>
                    <a:lnTo>
                      <a:pt x="8" y="206"/>
                    </a:lnTo>
                    <a:lnTo>
                      <a:pt x="10" y="206"/>
                    </a:lnTo>
                    <a:lnTo>
                      <a:pt x="10" y="204"/>
                    </a:lnTo>
                    <a:lnTo>
                      <a:pt x="12" y="204"/>
                    </a:lnTo>
                    <a:lnTo>
                      <a:pt x="12" y="203"/>
                    </a:lnTo>
                    <a:lnTo>
                      <a:pt x="12" y="201"/>
                    </a:lnTo>
                    <a:lnTo>
                      <a:pt x="14" y="203"/>
                    </a:lnTo>
                    <a:lnTo>
                      <a:pt x="14" y="199"/>
                    </a:lnTo>
                    <a:lnTo>
                      <a:pt x="15" y="199"/>
                    </a:lnTo>
                    <a:lnTo>
                      <a:pt x="14" y="198"/>
                    </a:lnTo>
                    <a:lnTo>
                      <a:pt x="15" y="196"/>
                    </a:lnTo>
                    <a:lnTo>
                      <a:pt x="15" y="198"/>
                    </a:lnTo>
                    <a:lnTo>
                      <a:pt x="14" y="196"/>
                    </a:lnTo>
                    <a:lnTo>
                      <a:pt x="15" y="194"/>
                    </a:lnTo>
                    <a:lnTo>
                      <a:pt x="14" y="191"/>
                    </a:lnTo>
                    <a:lnTo>
                      <a:pt x="17" y="191"/>
                    </a:lnTo>
                    <a:lnTo>
                      <a:pt x="17" y="189"/>
                    </a:lnTo>
                    <a:lnTo>
                      <a:pt x="15" y="189"/>
                    </a:lnTo>
                    <a:lnTo>
                      <a:pt x="15" y="186"/>
                    </a:lnTo>
                    <a:lnTo>
                      <a:pt x="17" y="181"/>
                    </a:lnTo>
                    <a:lnTo>
                      <a:pt x="14" y="179"/>
                    </a:lnTo>
                    <a:lnTo>
                      <a:pt x="12" y="177"/>
                    </a:lnTo>
                    <a:lnTo>
                      <a:pt x="14" y="176"/>
                    </a:lnTo>
                    <a:lnTo>
                      <a:pt x="10" y="174"/>
                    </a:lnTo>
                    <a:lnTo>
                      <a:pt x="10" y="165"/>
                    </a:lnTo>
                    <a:lnTo>
                      <a:pt x="10" y="164"/>
                    </a:lnTo>
                    <a:lnTo>
                      <a:pt x="7" y="164"/>
                    </a:lnTo>
                    <a:lnTo>
                      <a:pt x="7" y="162"/>
                    </a:lnTo>
                    <a:lnTo>
                      <a:pt x="10" y="159"/>
                    </a:lnTo>
                    <a:lnTo>
                      <a:pt x="12" y="159"/>
                    </a:lnTo>
                    <a:lnTo>
                      <a:pt x="12" y="160"/>
                    </a:lnTo>
                    <a:lnTo>
                      <a:pt x="15" y="159"/>
                    </a:lnTo>
                    <a:lnTo>
                      <a:pt x="17" y="160"/>
                    </a:lnTo>
                    <a:lnTo>
                      <a:pt x="20" y="162"/>
                    </a:lnTo>
                    <a:lnTo>
                      <a:pt x="22" y="160"/>
                    </a:lnTo>
                    <a:lnTo>
                      <a:pt x="24" y="155"/>
                    </a:lnTo>
                    <a:lnTo>
                      <a:pt x="25" y="153"/>
                    </a:lnTo>
                    <a:lnTo>
                      <a:pt x="27" y="150"/>
                    </a:lnTo>
                    <a:lnTo>
                      <a:pt x="27" y="148"/>
                    </a:lnTo>
                    <a:lnTo>
                      <a:pt x="25" y="147"/>
                    </a:lnTo>
                    <a:lnTo>
                      <a:pt x="27" y="142"/>
                    </a:lnTo>
                    <a:lnTo>
                      <a:pt x="29" y="136"/>
                    </a:lnTo>
                    <a:lnTo>
                      <a:pt x="31" y="138"/>
                    </a:lnTo>
                    <a:lnTo>
                      <a:pt x="31" y="136"/>
                    </a:lnTo>
                    <a:lnTo>
                      <a:pt x="32" y="138"/>
                    </a:lnTo>
                    <a:lnTo>
                      <a:pt x="34" y="138"/>
                    </a:lnTo>
                    <a:lnTo>
                      <a:pt x="34" y="136"/>
                    </a:lnTo>
                    <a:lnTo>
                      <a:pt x="31" y="133"/>
                    </a:lnTo>
                    <a:lnTo>
                      <a:pt x="31" y="130"/>
                    </a:lnTo>
                    <a:lnTo>
                      <a:pt x="29" y="130"/>
                    </a:lnTo>
                    <a:lnTo>
                      <a:pt x="27" y="131"/>
                    </a:lnTo>
                    <a:lnTo>
                      <a:pt x="24" y="130"/>
                    </a:lnTo>
                    <a:lnTo>
                      <a:pt x="22" y="130"/>
                    </a:lnTo>
                    <a:lnTo>
                      <a:pt x="20" y="128"/>
                    </a:lnTo>
                    <a:lnTo>
                      <a:pt x="19" y="128"/>
                    </a:lnTo>
                    <a:lnTo>
                      <a:pt x="19" y="125"/>
                    </a:lnTo>
                    <a:lnTo>
                      <a:pt x="19" y="116"/>
                    </a:lnTo>
                    <a:lnTo>
                      <a:pt x="20" y="116"/>
                    </a:lnTo>
                    <a:lnTo>
                      <a:pt x="20" y="113"/>
                    </a:lnTo>
                    <a:lnTo>
                      <a:pt x="24" y="114"/>
                    </a:lnTo>
                    <a:lnTo>
                      <a:pt x="25" y="114"/>
                    </a:lnTo>
                    <a:lnTo>
                      <a:pt x="25" y="113"/>
                    </a:lnTo>
                    <a:lnTo>
                      <a:pt x="31" y="114"/>
                    </a:lnTo>
                    <a:lnTo>
                      <a:pt x="32" y="114"/>
                    </a:lnTo>
                    <a:lnTo>
                      <a:pt x="34" y="113"/>
                    </a:lnTo>
                    <a:lnTo>
                      <a:pt x="36" y="114"/>
                    </a:lnTo>
                    <a:lnTo>
                      <a:pt x="34" y="114"/>
                    </a:lnTo>
                    <a:lnTo>
                      <a:pt x="36" y="116"/>
                    </a:lnTo>
                    <a:lnTo>
                      <a:pt x="34" y="116"/>
                    </a:lnTo>
                    <a:lnTo>
                      <a:pt x="36" y="116"/>
                    </a:lnTo>
                    <a:lnTo>
                      <a:pt x="37" y="116"/>
                    </a:lnTo>
                    <a:lnTo>
                      <a:pt x="37" y="118"/>
                    </a:lnTo>
                    <a:lnTo>
                      <a:pt x="39" y="118"/>
                    </a:lnTo>
                    <a:lnTo>
                      <a:pt x="39" y="116"/>
                    </a:lnTo>
                    <a:lnTo>
                      <a:pt x="39" y="114"/>
                    </a:lnTo>
                    <a:lnTo>
                      <a:pt x="41" y="114"/>
                    </a:lnTo>
                    <a:lnTo>
                      <a:pt x="44" y="119"/>
                    </a:lnTo>
                    <a:lnTo>
                      <a:pt x="49" y="119"/>
                    </a:lnTo>
                    <a:lnTo>
                      <a:pt x="48" y="116"/>
                    </a:lnTo>
                    <a:lnTo>
                      <a:pt x="48" y="114"/>
                    </a:lnTo>
                    <a:lnTo>
                      <a:pt x="46" y="111"/>
                    </a:lnTo>
                    <a:lnTo>
                      <a:pt x="46" y="108"/>
                    </a:lnTo>
                    <a:lnTo>
                      <a:pt x="42" y="101"/>
                    </a:lnTo>
                    <a:lnTo>
                      <a:pt x="37" y="101"/>
                    </a:lnTo>
                    <a:lnTo>
                      <a:pt x="37" y="99"/>
                    </a:lnTo>
                    <a:lnTo>
                      <a:pt x="34" y="101"/>
                    </a:lnTo>
                    <a:lnTo>
                      <a:pt x="32" y="97"/>
                    </a:lnTo>
                    <a:lnTo>
                      <a:pt x="36" y="91"/>
                    </a:lnTo>
                    <a:lnTo>
                      <a:pt x="34" y="87"/>
                    </a:lnTo>
                    <a:lnTo>
                      <a:pt x="36" y="87"/>
                    </a:lnTo>
                    <a:lnTo>
                      <a:pt x="37" y="85"/>
                    </a:lnTo>
                    <a:lnTo>
                      <a:pt x="39" y="84"/>
                    </a:lnTo>
                    <a:lnTo>
                      <a:pt x="44" y="85"/>
                    </a:lnTo>
                    <a:lnTo>
                      <a:pt x="42" y="84"/>
                    </a:lnTo>
                    <a:lnTo>
                      <a:pt x="39" y="79"/>
                    </a:lnTo>
                    <a:lnTo>
                      <a:pt x="37" y="80"/>
                    </a:lnTo>
                    <a:lnTo>
                      <a:pt x="34" y="79"/>
                    </a:lnTo>
                    <a:lnTo>
                      <a:pt x="37" y="74"/>
                    </a:lnTo>
                    <a:lnTo>
                      <a:pt x="37" y="72"/>
                    </a:lnTo>
                    <a:lnTo>
                      <a:pt x="39" y="67"/>
                    </a:lnTo>
                    <a:lnTo>
                      <a:pt x="37" y="67"/>
                    </a:lnTo>
                    <a:lnTo>
                      <a:pt x="36" y="67"/>
                    </a:lnTo>
                    <a:lnTo>
                      <a:pt x="32" y="68"/>
                    </a:lnTo>
                    <a:lnTo>
                      <a:pt x="29" y="68"/>
                    </a:lnTo>
                    <a:lnTo>
                      <a:pt x="25" y="65"/>
                    </a:lnTo>
                    <a:lnTo>
                      <a:pt x="24" y="60"/>
                    </a:lnTo>
                    <a:lnTo>
                      <a:pt x="24" y="58"/>
                    </a:lnTo>
                    <a:lnTo>
                      <a:pt x="24" y="56"/>
                    </a:lnTo>
                    <a:lnTo>
                      <a:pt x="25" y="55"/>
                    </a:lnTo>
                    <a:lnTo>
                      <a:pt x="24" y="53"/>
                    </a:lnTo>
                    <a:lnTo>
                      <a:pt x="25" y="53"/>
                    </a:lnTo>
                    <a:lnTo>
                      <a:pt x="24" y="50"/>
                    </a:lnTo>
                    <a:lnTo>
                      <a:pt x="25" y="50"/>
                    </a:lnTo>
                    <a:lnTo>
                      <a:pt x="25" y="48"/>
                    </a:lnTo>
                    <a:lnTo>
                      <a:pt x="25" y="46"/>
                    </a:lnTo>
                    <a:lnTo>
                      <a:pt x="25" y="45"/>
                    </a:lnTo>
                    <a:lnTo>
                      <a:pt x="24" y="45"/>
                    </a:lnTo>
                    <a:lnTo>
                      <a:pt x="25" y="43"/>
                    </a:lnTo>
                    <a:lnTo>
                      <a:pt x="24" y="41"/>
                    </a:lnTo>
                    <a:lnTo>
                      <a:pt x="24" y="43"/>
                    </a:lnTo>
                    <a:lnTo>
                      <a:pt x="22" y="41"/>
                    </a:lnTo>
                    <a:lnTo>
                      <a:pt x="24" y="41"/>
                    </a:lnTo>
                    <a:lnTo>
                      <a:pt x="22" y="41"/>
                    </a:lnTo>
                    <a:lnTo>
                      <a:pt x="25" y="39"/>
                    </a:lnTo>
                    <a:lnTo>
                      <a:pt x="24" y="39"/>
                    </a:lnTo>
                    <a:lnTo>
                      <a:pt x="24" y="36"/>
                    </a:lnTo>
                    <a:lnTo>
                      <a:pt x="31" y="33"/>
                    </a:lnTo>
                    <a:lnTo>
                      <a:pt x="31" y="29"/>
                    </a:lnTo>
                    <a:lnTo>
                      <a:pt x="32" y="29"/>
                    </a:lnTo>
                    <a:lnTo>
                      <a:pt x="34" y="29"/>
                    </a:lnTo>
                    <a:lnTo>
                      <a:pt x="36" y="28"/>
                    </a:lnTo>
                    <a:lnTo>
                      <a:pt x="37" y="28"/>
                    </a:lnTo>
                    <a:lnTo>
                      <a:pt x="41" y="26"/>
                    </a:lnTo>
                    <a:lnTo>
                      <a:pt x="41" y="24"/>
                    </a:lnTo>
                    <a:lnTo>
                      <a:pt x="44" y="22"/>
                    </a:lnTo>
                    <a:lnTo>
                      <a:pt x="42" y="22"/>
                    </a:lnTo>
                    <a:lnTo>
                      <a:pt x="44" y="21"/>
                    </a:lnTo>
                    <a:lnTo>
                      <a:pt x="42" y="21"/>
                    </a:lnTo>
                    <a:lnTo>
                      <a:pt x="44" y="21"/>
                    </a:lnTo>
                    <a:lnTo>
                      <a:pt x="44" y="19"/>
                    </a:lnTo>
                    <a:lnTo>
                      <a:pt x="46" y="17"/>
                    </a:lnTo>
                    <a:lnTo>
                      <a:pt x="44" y="17"/>
                    </a:lnTo>
                    <a:lnTo>
                      <a:pt x="48" y="16"/>
                    </a:lnTo>
                    <a:lnTo>
                      <a:pt x="49" y="14"/>
                    </a:lnTo>
                    <a:lnTo>
                      <a:pt x="51" y="16"/>
                    </a:lnTo>
                    <a:lnTo>
                      <a:pt x="53" y="16"/>
                    </a:lnTo>
                    <a:lnTo>
                      <a:pt x="54" y="14"/>
                    </a:lnTo>
                    <a:lnTo>
                      <a:pt x="56" y="14"/>
                    </a:lnTo>
                    <a:lnTo>
                      <a:pt x="58" y="14"/>
                    </a:lnTo>
                    <a:lnTo>
                      <a:pt x="59" y="17"/>
                    </a:lnTo>
                    <a:lnTo>
                      <a:pt x="63" y="19"/>
                    </a:lnTo>
                    <a:lnTo>
                      <a:pt x="63" y="24"/>
                    </a:lnTo>
                    <a:lnTo>
                      <a:pt x="65" y="24"/>
                    </a:lnTo>
                    <a:lnTo>
                      <a:pt x="66" y="22"/>
                    </a:lnTo>
                    <a:lnTo>
                      <a:pt x="68" y="24"/>
                    </a:lnTo>
                    <a:lnTo>
                      <a:pt x="73" y="24"/>
                    </a:lnTo>
                    <a:lnTo>
                      <a:pt x="76" y="26"/>
                    </a:lnTo>
                    <a:lnTo>
                      <a:pt x="78" y="29"/>
                    </a:lnTo>
                    <a:lnTo>
                      <a:pt x="80" y="29"/>
                    </a:lnTo>
                    <a:lnTo>
                      <a:pt x="83" y="28"/>
                    </a:lnTo>
                    <a:lnTo>
                      <a:pt x="82" y="22"/>
                    </a:lnTo>
                    <a:lnTo>
                      <a:pt x="83" y="19"/>
                    </a:lnTo>
                    <a:lnTo>
                      <a:pt x="88" y="19"/>
                    </a:lnTo>
                    <a:lnTo>
                      <a:pt x="93" y="17"/>
                    </a:lnTo>
                    <a:lnTo>
                      <a:pt x="97" y="19"/>
                    </a:lnTo>
                    <a:lnTo>
                      <a:pt x="100" y="17"/>
                    </a:lnTo>
                    <a:lnTo>
                      <a:pt x="100" y="16"/>
                    </a:lnTo>
                    <a:lnTo>
                      <a:pt x="99" y="14"/>
                    </a:lnTo>
                    <a:lnTo>
                      <a:pt x="97" y="11"/>
                    </a:lnTo>
                    <a:lnTo>
                      <a:pt x="99" y="11"/>
                    </a:lnTo>
                    <a:lnTo>
                      <a:pt x="99" y="7"/>
                    </a:lnTo>
                    <a:lnTo>
                      <a:pt x="99" y="5"/>
                    </a:lnTo>
                    <a:lnTo>
                      <a:pt x="100" y="4"/>
                    </a:lnTo>
                    <a:lnTo>
                      <a:pt x="102" y="5"/>
                    </a:lnTo>
                    <a:lnTo>
                      <a:pt x="104" y="7"/>
                    </a:lnTo>
                    <a:lnTo>
                      <a:pt x="105" y="7"/>
                    </a:lnTo>
                    <a:lnTo>
                      <a:pt x="109" y="9"/>
                    </a:lnTo>
                    <a:lnTo>
                      <a:pt x="112" y="7"/>
                    </a:lnTo>
                    <a:lnTo>
                      <a:pt x="110" y="7"/>
                    </a:lnTo>
                    <a:lnTo>
                      <a:pt x="110" y="2"/>
                    </a:lnTo>
                    <a:lnTo>
                      <a:pt x="112" y="2"/>
                    </a:lnTo>
                    <a:lnTo>
                      <a:pt x="116" y="2"/>
                    </a:lnTo>
                    <a:lnTo>
                      <a:pt x="119" y="0"/>
                    </a:lnTo>
                    <a:lnTo>
                      <a:pt x="121" y="0"/>
                    </a:lnTo>
                    <a:lnTo>
                      <a:pt x="121" y="2"/>
                    </a:lnTo>
                    <a:lnTo>
                      <a:pt x="121" y="4"/>
                    </a:lnTo>
                    <a:lnTo>
                      <a:pt x="122" y="5"/>
                    </a:lnTo>
                    <a:lnTo>
                      <a:pt x="121" y="7"/>
                    </a:lnTo>
                    <a:lnTo>
                      <a:pt x="122" y="7"/>
                    </a:lnTo>
                    <a:lnTo>
                      <a:pt x="122" y="9"/>
                    </a:lnTo>
                    <a:lnTo>
                      <a:pt x="119" y="11"/>
                    </a:lnTo>
                    <a:lnTo>
                      <a:pt x="121" y="12"/>
                    </a:lnTo>
                    <a:lnTo>
                      <a:pt x="121" y="11"/>
                    </a:lnTo>
                    <a:lnTo>
                      <a:pt x="122" y="12"/>
                    </a:lnTo>
                    <a:lnTo>
                      <a:pt x="124" y="14"/>
                    </a:lnTo>
                    <a:lnTo>
                      <a:pt x="122" y="14"/>
                    </a:lnTo>
                    <a:lnTo>
                      <a:pt x="124" y="17"/>
                    </a:lnTo>
                    <a:lnTo>
                      <a:pt x="122" y="17"/>
                    </a:lnTo>
                    <a:lnTo>
                      <a:pt x="124" y="19"/>
                    </a:lnTo>
                    <a:lnTo>
                      <a:pt x="122" y="21"/>
                    </a:lnTo>
                    <a:lnTo>
                      <a:pt x="122" y="22"/>
                    </a:lnTo>
                    <a:lnTo>
                      <a:pt x="121" y="22"/>
                    </a:lnTo>
                    <a:lnTo>
                      <a:pt x="121" y="24"/>
                    </a:lnTo>
                    <a:lnTo>
                      <a:pt x="122" y="24"/>
                    </a:lnTo>
                    <a:lnTo>
                      <a:pt x="122" y="26"/>
                    </a:lnTo>
                    <a:lnTo>
                      <a:pt x="126" y="28"/>
                    </a:lnTo>
                    <a:lnTo>
                      <a:pt x="131" y="28"/>
                    </a:lnTo>
                    <a:lnTo>
                      <a:pt x="133" y="26"/>
                    </a:lnTo>
                    <a:lnTo>
                      <a:pt x="133" y="24"/>
                    </a:lnTo>
                    <a:lnTo>
                      <a:pt x="136" y="24"/>
                    </a:lnTo>
                    <a:lnTo>
                      <a:pt x="138" y="19"/>
                    </a:lnTo>
                    <a:lnTo>
                      <a:pt x="139" y="19"/>
                    </a:lnTo>
                    <a:lnTo>
                      <a:pt x="144" y="16"/>
                    </a:lnTo>
                    <a:lnTo>
                      <a:pt x="148" y="14"/>
                    </a:lnTo>
                    <a:lnTo>
                      <a:pt x="151" y="16"/>
                    </a:lnTo>
                    <a:lnTo>
                      <a:pt x="155" y="14"/>
                    </a:lnTo>
                    <a:lnTo>
                      <a:pt x="156" y="16"/>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8" name="Freeform 34">
                <a:extLst>
                  <a:ext uri="{FF2B5EF4-FFF2-40B4-BE49-F238E27FC236}">
                    <a16:creationId xmlns:a16="http://schemas.microsoft.com/office/drawing/2014/main" id="{9CEE1F09-D21A-48EE-9A2B-7F0ADE07779A}"/>
                  </a:ext>
                </a:extLst>
              </p:cNvPr>
              <p:cNvSpPr>
                <a:spLocks noEditPoints="1"/>
              </p:cNvSpPr>
              <p:nvPr/>
            </p:nvSpPr>
            <p:spPr bwMode="gray">
              <a:xfrm>
                <a:off x="7304088" y="3011488"/>
                <a:ext cx="641350" cy="817563"/>
              </a:xfrm>
              <a:custGeom>
                <a:avLst/>
                <a:gdLst>
                  <a:gd name="T0" fmla="*/ 358 w 404"/>
                  <a:gd name="T1" fmla="*/ 144 h 515"/>
                  <a:gd name="T2" fmla="*/ 358 w 404"/>
                  <a:gd name="T3" fmla="*/ 207 h 515"/>
                  <a:gd name="T4" fmla="*/ 358 w 404"/>
                  <a:gd name="T5" fmla="*/ 279 h 515"/>
                  <a:gd name="T6" fmla="*/ 386 w 404"/>
                  <a:gd name="T7" fmla="*/ 359 h 515"/>
                  <a:gd name="T8" fmla="*/ 379 w 404"/>
                  <a:gd name="T9" fmla="*/ 372 h 515"/>
                  <a:gd name="T10" fmla="*/ 370 w 404"/>
                  <a:gd name="T11" fmla="*/ 377 h 515"/>
                  <a:gd name="T12" fmla="*/ 360 w 404"/>
                  <a:gd name="T13" fmla="*/ 381 h 515"/>
                  <a:gd name="T14" fmla="*/ 357 w 404"/>
                  <a:gd name="T15" fmla="*/ 377 h 515"/>
                  <a:gd name="T16" fmla="*/ 353 w 404"/>
                  <a:gd name="T17" fmla="*/ 379 h 515"/>
                  <a:gd name="T18" fmla="*/ 357 w 404"/>
                  <a:gd name="T19" fmla="*/ 396 h 515"/>
                  <a:gd name="T20" fmla="*/ 347 w 404"/>
                  <a:gd name="T21" fmla="*/ 398 h 515"/>
                  <a:gd name="T22" fmla="*/ 340 w 404"/>
                  <a:gd name="T23" fmla="*/ 408 h 515"/>
                  <a:gd name="T24" fmla="*/ 316 w 404"/>
                  <a:gd name="T25" fmla="*/ 418 h 515"/>
                  <a:gd name="T26" fmla="*/ 316 w 404"/>
                  <a:gd name="T27" fmla="*/ 435 h 515"/>
                  <a:gd name="T28" fmla="*/ 301 w 404"/>
                  <a:gd name="T29" fmla="*/ 462 h 515"/>
                  <a:gd name="T30" fmla="*/ 292 w 404"/>
                  <a:gd name="T31" fmla="*/ 485 h 515"/>
                  <a:gd name="T32" fmla="*/ 290 w 404"/>
                  <a:gd name="T33" fmla="*/ 486 h 515"/>
                  <a:gd name="T34" fmla="*/ 279 w 404"/>
                  <a:gd name="T35" fmla="*/ 512 h 515"/>
                  <a:gd name="T36" fmla="*/ 272 w 404"/>
                  <a:gd name="T37" fmla="*/ 512 h 515"/>
                  <a:gd name="T38" fmla="*/ 248 w 404"/>
                  <a:gd name="T39" fmla="*/ 500 h 515"/>
                  <a:gd name="T40" fmla="*/ 192 w 404"/>
                  <a:gd name="T41" fmla="*/ 457 h 515"/>
                  <a:gd name="T42" fmla="*/ 185 w 404"/>
                  <a:gd name="T43" fmla="*/ 452 h 515"/>
                  <a:gd name="T44" fmla="*/ 144 w 404"/>
                  <a:gd name="T45" fmla="*/ 408 h 515"/>
                  <a:gd name="T46" fmla="*/ 49 w 404"/>
                  <a:gd name="T47" fmla="*/ 354 h 515"/>
                  <a:gd name="T48" fmla="*/ 10 w 404"/>
                  <a:gd name="T49" fmla="*/ 331 h 515"/>
                  <a:gd name="T50" fmla="*/ 0 w 404"/>
                  <a:gd name="T51" fmla="*/ 304 h 515"/>
                  <a:gd name="T52" fmla="*/ 7 w 404"/>
                  <a:gd name="T53" fmla="*/ 262 h 515"/>
                  <a:gd name="T54" fmla="*/ 10 w 404"/>
                  <a:gd name="T55" fmla="*/ 250 h 515"/>
                  <a:gd name="T56" fmla="*/ 20 w 404"/>
                  <a:gd name="T57" fmla="*/ 240 h 515"/>
                  <a:gd name="T58" fmla="*/ 29 w 404"/>
                  <a:gd name="T59" fmla="*/ 224 h 515"/>
                  <a:gd name="T60" fmla="*/ 44 w 404"/>
                  <a:gd name="T61" fmla="*/ 217 h 515"/>
                  <a:gd name="T62" fmla="*/ 47 w 404"/>
                  <a:gd name="T63" fmla="*/ 206 h 515"/>
                  <a:gd name="T64" fmla="*/ 54 w 404"/>
                  <a:gd name="T65" fmla="*/ 187 h 515"/>
                  <a:gd name="T66" fmla="*/ 49 w 404"/>
                  <a:gd name="T67" fmla="*/ 151 h 515"/>
                  <a:gd name="T68" fmla="*/ 39 w 404"/>
                  <a:gd name="T69" fmla="*/ 132 h 515"/>
                  <a:gd name="T70" fmla="*/ 29 w 404"/>
                  <a:gd name="T71" fmla="*/ 119 h 515"/>
                  <a:gd name="T72" fmla="*/ 25 w 404"/>
                  <a:gd name="T73" fmla="*/ 102 h 515"/>
                  <a:gd name="T74" fmla="*/ 18 w 404"/>
                  <a:gd name="T75" fmla="*/ 92 h 515"/>
                  <a:gd name="T76" fmla="*/ 12 w 404"/>
                  <a:gd name="T77" fmla="*/ 86 h 515"/>
                  <a:gd name="T78" fmla="*/ 10 w 404"/>
                  <a:gd name="T79" fmla="*/ 78 h 515"/>
                  <a:gd name="T80" fmla="*/ 5 w 404"/>
                  <a:gd name="T81" fmla="*/ 66 h 515"/>
                  <a:gd name="T82" fmla="*/ 58 w 404"/>
                  <a:gd name="T83" fmla="*/ 15 h 515"/>
                  <a:gd name="T84" fmla="*/ 69 w 404"/>
                  <a:gd name="T85" fmla="*/ 7 h 515"/>
                  <a:gd name="T86" fmla="*/ 86 w 404"/>
                  <a:gd name="T87" fmla="*/ 7 h 515"/>
                  <a:gd name="T88" fmla="*/ 95 w 404"/>
                  <a:gd name="T89" fmla="*/ 20 h 515"/>
                  <a:gd name="T90" fmla="*/ 102 w 404"/>
                  <a:gd name="T91" fmla="*/ 51 h 515"/>
                  <a:gd name="T92" fmla="*/ 146 w 404"/>
                  <a:gd name="T93" fmla="*/ 52 h 515"/>
                  <a:gd name="T94" fmla="*/ 192 w 404"/>
                  <a:gd name="T95" fmla="*/ 81 h 515"/>
                  <a:gd name="T96" fmla="*/ 233 w 404"/>
                  <a:gd name="T97" fmla="*/ 95 h 515"/>
                  <a:gd name="T98" fmla="*/ 241 w 404"/>
                  <a:gd name="T99" fmla="*/ 95 h 515"/>
                  <a:gd name="T100" fmla="*/ 267 w 404"/>
                  <a:gd name="T101" fmla="*/ 102 h 515"/>
                  <a:gd name="T102" fmla="*/ 282 w 404"/>
                  <a:gd name="T103" fmla="*/ 103 h 515"/>
                  <a:gd name="T104" fmla="*/ 316 w 404"/>
                  <a:gd name="T105" fmla="*/ 76 h 515"/>
                  <a:gd name="T106" fmla="*/ 352 w 404"/>
                  <a:gd name="T107" fmla="*/ 64 h 515"/>
                  <a:gd name="T108" fmla="*/ 370 w 404"/>
                  <a:gd name="T109" fmla="*/ 78 h 515"/>
                  <a:gd name="T110" fmla="*/ 386 w 404"/>
                  <a:gd name="T111" fmla="*/ 76 h 515"/>
                  <a:gd name="T112" fmla="*/ 398 w 404"/>
                  <a:gd name="T113" fmla="*/ 76 h 515"/>
                  <a:gd name="T114" fmla="*/ 367 w 404"/>
                  <a:gd name="T115" fmla="*/ 386 h 515"/>
                  <a:gd name="T116" fmla="*/ 358 w 404"/>
                  <a:gd name="T117" fmla="*/ 391 h 515"/>
                  <a:gd name="T118" fmla="*/ 364 w 404"/>
                  <a:gd name="T119" fmla="*/ 382 h 515"/>
                  <a:gd name="T120" fmla="*/ 370 w 404"/>
                  <a:gd name="T121" fmla="*/ 379 h 515"/>
                  <a:gd name="T122" fmla="*/ 372 w 404"/>
                  <a:gd name="T123" fmla="*/ 377 h 515"/>
                  <a:gd name="T124" fmla="*/ 384 w 404"/>
                  <a:gd name="T125" fmla="*/ 36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4" h="515">
                    <a:moveTo>
                      <a:pt x="404" y="76"/>
                    </a:moveTo>
                    <a:lnTo>
                      <a:pt x="401" y="80"/>
                    </a:lnTo>
                    <a:lnTo>
                      <a:pt x="375" y="119"/>
                    </a:lnTo>
                    <a:lnTo>
                      <a:pt x="360" y="132"/>
                    </a:lnTo>
                    <a:lnTo>
                      <a:pt x="358" y="136"/>
                    </a:lnTo>
                    <a:lnTo>
                      <a:pt x="358" y="144"/>
                    </a:lnTo>
                    <a:lnTo>
                      <a:pt x="358" y="160"/>
                    </a:lnTo>
                    <a:lnTo>
                      <a:pt x="358" y="161"/>
                    </a:lnTo>
                    <a:lnTo>
                      <a:pt x="358" y="168"/>
                    </a:lnTo>
                    <a:lnTo>
                      <a:pt x="358" y="178"/>
                    </a:lnTo>
                    <a:lnTo>
                      <a:pt x="358" y="192"/>
                    </a:lnTo>
                    <a:lnTo>
                      <a:pt x="358" y="207"/>
                    </a:lnTo>
                    <a:lnTo>
                      <a:pt x="358" y="216"/>
                    </a:lnTo>
                    <a:lnTo>
                      <a:pt x="358" y="228"/>
                    </a:lnTo>
                    <a:lnTo>
                      <a:pt x="358" y="231"/>
                    </a:lnTo>
                    <a:lnTo>
                      <a:pt x="358" y="245"/>
                    </a:lnTo>
                    <a:lnTo>
                      <a:pt x="358" y="258"/>
                    </a:lnTo>
                    <a:lnTo>
                      <a:pt x="358" y="279"/>
                    </a:lnTo>
                    <a:lnTo>
                      <a:pt x="358" y="289"/>
                    </a:lnTo>
                    <a:lnTo>
                      <a:pt x="358" y="318"/>
                    </a:lnTo>
                    <a:lnTo>
                      <a:pt x="358" y="321"/>
                    </a:lnTo>
                    <a:lnTo>
                      <a:pt x="364" y="330"/>
                    </a:lnTo>
                    <a:lnTo>
                      <a:pt x="369" y="337"/>
                    </a:lnTo>
                    <a:lnTo>
                      <a:pt x="386" y="359"/>
                    </a:lnTo>
                    <a:lnTo>
                      <a:pt x="386" y="362"/>
                    </a:lnTo>
                    <a:lnTo>
                      <a:pt x="382" y="369"/>
                    </a:lnTo>
                    <a:lnTo>
                      <a:pt x="381" y="371"/>
                    </a:lnTo>
                    <a:lnTo>
                      <a:pt x="381" y="369"/>
                    </a:lnTo>
                    <a:lnTo>
                      <a:pt x="381" y="371"/>
                    </a:lnTo>
                    <a:lnTo>
                      <a:pt x="379" y="372"/>
                    </a:lnTo>
                    <a:lnTo>
                      <a:pt x="381" y="372"/>
                    </a:lnTo>
                    <a:lnTo>
                      <a:pt x="377" y="374"/>
                    </a:lnTo>
                    <a:lnTo>
                      <a:pt x="379" y="372"/>
                    </a:lnTo>
                    <a:lnTo>
                      <a:pt x="372" y="379"/>
                    </a:lnTo>
                    <a:lnTo>
                      <a:pt x="372" y="377"/>
                    </a:lnTo>
                    <a:lnTo>
                      <a:pt x="370" y="377"/>
                    </a:lnTo>
                    <a:lnTo>
                      <a:pt x="370" y="379"/>
                    </a:lnTo>
                    <a:lnTo>
                      <a:pt x="369" y="377"/>
                    </a:lnTo>
                    <a:lnTo>
                      <a:pt x="369" y="379"/>
                    </a:lnTo>
                    <a:lnTo>
                      <a:pt x="367" y="379"/>
                    </a:lnTo>
                    <a:lnTo>
                      <a:pt x="365" y="379"/>
                    </a:lnTo>
                    <a:lnTo>
                      <a:pt x="360" y="381"/>
                    </a:lnTo>
                    <a:lnTo>
                      <a:pt x="360" y="382"/>
                    </a:lnTo>
                    <a:lnTo>
                      <a:pt x="358" y="382"/>
                    </a:lnTo>
                    <a:lnTo>
                      <a:pt x="357" y="381"/>
                    </a:lnTo>
                    <a:lnTo>
                      <a:pt x="357" y="377"/>
                    </a:lnTo>
                    <a:lnTo>
                      <a:pt x="358" y="376"/>
                    </a:lnTo>
                    <a:lnTo>
                      <a:pt x="357" y="377"/>
                    </a:lnTo>
                    <a:lnTo>
                      <a:pt x="357" y="379"/>
                    </a:lnTo>
                    <a:lnTo>
                      <a:pt x="357" y="381"/>
                    </a:lnTo>
                    <a:lnTo>
                      <a:pt x="357" y="382"/>
                    </a:lnTo>
                    <a:lnTo>
                      <a:pt x="355" y="384"/>
                    </a:lnTo>
                    <a:lnTo>
                      <a:pt x="353" y="381"/>
                    </a:lnTo>
                    <a:lnTo>
                      <a:pt x="353" y="379"/>
                    </a:lnTo>
                    <a:lnTo>
                      <a:pt x="348" y="377"/>
                    </a:lnTo>
                    <a:lnTo>
                      <a:pt x="353" y="381"/>
                    </a:lnTo>
                    <a:lnTo>
                      <a:pt x="353" y="391"/>
                    </a:lnTo>
                    <a:lnTo>
                      <a:pt x="357" y="391"/>
                    </a:lnTo>
                    <a:lnTo>
                      <a:pt x="357" y="393"/>
                    </a:lnTo>
                    <a:lnTo>
                      <a:pt x="357" y="396"/>
                    </a:lnTo>
                    <a:lnTo>
                      <a:pt x="355" y="396"/>
                    </a:lnTo>
                    <a:lnTo>
                      <a:pt x="353" y="394"/>
                    </a:lnTo>
                    <a:lnTo>
                      <a:pt x="352" y="394"/>
                    </a:lnTo>
                    <a:lnTo>
                      <a:pt x="348" y="398"/>
                    </a:lnTo>
                    <a:lnTo>
                      <a:pt x="348" y="396"/>
                    </a:lnTo>
                    <a:lnTo>
                      <a:pt x="347" y="398"/>
                    </a:lnTo>
                    <a:lnTo>
                      <a:pt x="350" y="398"/>
                    </a:lnTo>
                    <a:lnTo>
                      <a:pt x="348" y="399"/>
                    </a:lnTo>
                    <a:lnTo>
                      <a:pt x="347" y="401"/>
                    </a:lnTo>
                    <a:lnTo>
                      <a:pt x="347" y="403"/>
                    </a:lnTo>
                    <a:lnTo>
                      <a:pt x="343" y="405"/>
                    </a:lnTo>
                    <a:lnTo>
                      <a:pt x="340" y="408"/>
                    </a:lnTo>
                    <a:lnTo>
                      <a:pt x="338" y="408"/>
                    </a:lnTo>
                    <a:lnTo>
                      <a:pt x="335" y="406"/>
                    </a:lnTo>
                    <a:lnTo>
                      <a:pt x="330" y="408"/>
                    </a:lnTo>
                    <a:lnTo>
                      <a:pt x="323" y="411"/>
                    </a:lnTo>
                    <a:lnTo>
                      <a:pt x="319" y="415"/>
                    </a:lnTo>
                    <a:lnTo>
                      <a:pt x="316" y="418"/>
                    </a:lnTo>
                    <a:lnTo>
                      <a:pt x="316" y="422"/>
                    </a:lnTo>
                    <a:lnTo>
                      <a:pt x="316" y="427"/>
                    </a:lnTo>
                    <a:lnTo>
                      <a:pt x="318" y="430"/>
                    </a:lnTo>
                    <a:lnTo>
                      <a:pt x="319" y="430"/>
                    </a:lnTo>
                    <a:lnTo>
                      <a:pt x="318" y="432"/>
                    </a:lnTo>
                    <a:lnTo>
                      <a:pt x="316" y="435"/>
                    </a:lnTo>
                    <a:lnTo>
                      <a:pt x="316" y="437"/>
                    </a:lnTo>
                    <a:lnTo>
                      <a:pt x="314" y="440"/>
                    </a:lnTo>
                    <a:lnTo>
                      <a:pt x="314" y="444"/>
                    </a:lnTo>
                    <a:lnTo>
                      <a:pt x="314" y="445"/>
                    </a:lnTo>
                    <a:lnTo>
                      <a:pt x="306" y="451"/>
                    </a:lnTo>
                    <a:lnTo>
                      <a:pt x="301" y="462"/>
                    </a:lnTo>
                    <a:lnTo>
                      <a:pt x="301" y="466"/>
                    </a:lnTo>
                    <a:lnTo>
                      <a:pt x="299" y="473"/>
                    </a:lnTo>
                    <a:lnTo>
                      <a:pt x="296" y="478"/>
                    </a:lnTo>
                    <a:lnTo>
                      <a:pt x="294" y="481"/>
                    </a:lnTo>
                    <a:lnTo>
                      <a:pt x="294" y="483"/>
                    </a:lnTo>
                    <a:lnTo>
                      <a:pt x="292" y="485"/>
                    </a:lnTo>
                    <a:lnTo>
                      <a:pt x="290" y="481"/>
                    </a:lnTo>
                    <a:lnTo>
                      <a:pt x="289" y="483"/>
                    </a:lnTo>
                    <a:lnTo>
                      <a:pt x="285" y="483"/>
                    </a:lnTo>
                    <a:lnTo>
                      <a:pt x="285" y="485"/>
                    </a:lnTo>
                    <a:lnTo>
                      <a:pt x="289" y="485"/>
                    </a:lnTo>
                    <a:lnTo>
                      <a:pt x="290" y="486"/>
                    </a:lnTo>
                    <a:lnTo>
                      <a:pt x="287" y="491"/>
                    </a:lnTo>
                    <a:lnTo>
                      <a:pt x="284" y="503"/>
                    </a:lnTo>
                    <a:lnTo>
                      <a:pt x="282" y="503"/>
                    </a:lnTo>
                    <a:lnTo>
                      <a:pt x="280" y="507"/>
                    </a:lnTo>
                    <a:lnTo>
                      <a:pt x="280" y="510"/>
                    </a:lnTo>
                    <a:lnTo>
                      <a:pt x="279" y="512"/>
                    </a:lnTo>
                    <a:lnTo>
                      <a:pt x="279" y="510"/>
                    </a:lnTo>
                    <a:lnTo>
                      <a:pt x="277" y="512"/>
                    </a:lnTo>
                    <a:lnTo>
                      <a:pt x="279" y="513"/>
                    </a:lnTo>
                    <a:lnTo>
                      <a:pt x="277" y="513"/>
                    </a:lnTo>
                    <a:lnTo>
                      <a:pt x="272" y="513"/>
                    </a:lnTo>
                    <a:lnTo>
                      <a:pt x="272" y="512"/>
                    </a:lnTo>
                    <a:lnTo>
                      <a:pt x="270" y="513"/>
                    </a:lnTo>
                    <a:lnTo>
                      <a:pt x="268" y="515"/>
                    </a:lnTo>
                    <a:lnTo>
                      <a:pt x="268" y="513"/>
                    </a:lnTo>
                    <a:lnTo>
                      <a:pt x="267" y="513"/>
                    </a:lnTo>
                    <a:lnTo>
                      <a:pt x="263" y="510"/>
                    </a:lnTo>
                    <a:lnTo>
                      <a:pt x="248" y="500"/>
                    </a:lnTo>
                    <a:lnTo>
                      <a:pt x="231" y="488"/>
                    </a:lnTo>
                    <a:lnTo>
                      <a:pt x="228" y="486"/>
                    </a:lnTo>
                    <a:lnTo>
                      <a:pt x="205" y="471"/>
                    </a:lnTo>
                    <a:lnTo>
                      <a:pt x="195" y="464"/>
                    </a:lnTo>
                    <a:lnTo>
                      <a:pt x="194" y="457"/>
                    </a:lnTo>
                    <a:lnTo>
                      <a:pt x="192" y="457"/>
                    </a:lnTo>
                    <a:lnTo>
                      <a:pt x="190" y="456"/>
                    </a:lnTo>
                    <a:lnTo>
                      <a:pt x="188" y="457"/>
                    </a:lnTo>
                    <a:lnTo>
                      <a:pt x="187" y="457"/>
                    </a:lnTo>
                    <a:lnTo>
                      <a:pt x="187" y="454"/>
                    </a:lnTo>
                    <a:lnTo>
                      <a:pt x="185" y="454"/>
                    </a:lnTo>
                    <a:lnTo>
                      <a:pt x="185" y="452"/>
                    </a:lnTo>
                    <a:lnTo>
                      <a:pt x="190" y="449"/>
                    </a:lnTo>
                    <a:lnTo>
                      <a:pt x="190" y="447"/>
                    </a:lnTo>
                    <a:lnTo>
                      <a:pt x="192" y="445"/>
                    </a:lnTo>
                    <a:lnTo>
                      <a:pt x="190" y="434"/>
                    </a:lnTo>
                    <a:lnTo>
                      <a:pt x="171" y="422"/>
                    </a:lnTo>
                    <a:lnTo>
                      <a:pt x="144" y="408"/>
                    </a:lnTo>
                    <a:lnTo>
                      <a:pt x="115" y="391"/>
                    </a:lnTo>
                    <a:lnTo>
                      <a:pt x="105" y="386"/>
                    </a:lnTo>
                    <a:lnTo>
                      <a:pt x="105" y="384"/>
                    </a:lnTo>
                    <a:lnTo>
                      <a:pt x="69" y="365"/>
                    </a:lnTo>
                    <a:lnTo>
                      <a:pt x="56" y="357"/>
                    </a:lnTo>
                    <a:lnTo>
                      <a:pt x="49" y="354"/>
                    </a:lnTo>
                    <a:lnTo>
                      <a:pt x="41" y="348"/>
                    </a:lnTo>
                    <a:lnTo>
                      <a:pt x="27" y="342"/>
                    </a:lnTo>
                    <a:lnTo>
                      <a:pt x="20" y="337"/>
                    </a:lnTo>
                    <a:lnTo>
                      <a:pt x="17" y="337"/>
                    </a:lnTo>
                    <a:lnTo>
                      <a:pt x="17" y="335"/>
                    </a:lnTo>
                    <a:lnTo>
                      <a:pt x="10" y="331"/>
                    </a:lnTo>
                    <a:lnTo>
                      <a:pt x="8" y="330"/>
                    </a:lnTo>
                    <a:lnTo>
                      <a:pt x="5" y="331"/>
                    </a:lnTo>
                    <a:lnTo>
                      <a:pt x="5" y="330"/>
                    </a:lnTo>
                    <a:lnTo>
                      <a:pt x="0" y="330"/>
                    </a:lnTo>
                    <a:lnTo>
                      <a:pt x="0" y="325"/>
                    </a:lnTo>
                    <a:lnTo>
                      <a:pt x="0" y="304"/>
                    </a:lnTo>
                    <a:lnTo>
                      <a:pt x="0" y="303"/>
                    </a:lnTo>
                    <a:lnTo>
                      <a:pt x="3" y="289"/>
                    </a:lnTo>
                    <a:lnTo>
                      <a:pt x="3" y="286"/>
                    </a:lnTo>
                    <a:lnTo>
                      <a:pt x="0" y="274"/>
                    </a:lnTo>
                    <a:lnTo>
                      <a:pt x="5" y="265"/>
                    </a:lnTo>
                    <a:lnTo>
                      <a:pt x="7" y="262"/>
                    </a:lnTo>
                    <a:lnTo>
                      <a:pt x="8" y="262"/>
                    </a:lnTo>
                    <a:lnTo>
                      <a:pt x="8" y="260"/>
                    </a:lnTo>
                    <a:lnTo>
                      <a:pt x="8" y="255"/>
                    </a:lnTo>
                    <a:lnTo>
                      <a:pt x="10" y="255"/>
                    </a:lnTo>
                    <a:lnTo>
                      <a:pt x="10" y="251"/>
                    </a:lnTo>
                    <a:lnTo>
                      <a:pt x="10" y="250"/>
                    </a:lnTo>
                    <a:lnTo>
                      <a:pt x="13" y="248"/>
                    </a:lnTo>
                    <a:lnTo>
                      <a:pt x="13" y="246"/>
                    </a:lnTo>
                    <a:lnTo>
                      <a:pt x="18" y="246"/>
                    </a:lnTo>
                    <a:lnTo>
                      <a:pt x="18" y="245"/>
                    </a:lnTo>
                    <a:lnTo>
                      <a:pt x="20" y="243"/>
                    </a:lnTo>
                    <a:lnTo>
                      <a:pt x="20" y="240"/>
                    </a:lnTo>
                    <a:lnTo>
                      <a:pt x="25" y="238"/>
                    </a:lnTo>
                    <a:lnTo>
                      <a:pt x="24" y="236"/>
                    </a:lnTo>
                    <a:lnTo>
                      <a:pt x="25" y="234"/>
                    </a:lnTo>
                    <a:lnTo>
                      <a:pt x="27" y="233"/>
                    </a:lnTo>
                    <a:lnTo>
                      <a:pt x="29" y="231"/>
                    </a:lnTo>
                    <a:lnTo>
                      <a:pt x="29" y="224"/>
                    </a:lnTo>
                    <a:lnTo>
                      <a:pt x="30" y="223"/>
                    </a:lnTo>
                    <a:lnTo>
                      <a:pt x="32" y="223"/>
                    </a:lnTo>
                    <a:lnTo>
                      <a:pt x="34" y="221"/>
                    </a:lnTo>
                    <a:lnTo>
                      <a:pt x="37" y="219"/>
                    </a:lnTo>
                    <a:lnTo>
                      <a:pt x="37" y="217"/>
                    </a:lnTo>
                    <a:lnTo>
                      <a:pt x="44" y="217"/>
                    </a:lnTo>
                    <a:lnTo>
                      <a:pt x="44" y="216"/>
                    </a:lnTo>
                    <a:lnTo>
                      <a:pt x="46" y="214"/>
                    </a:lnTo>
                    <a:lnTo>
                      <a:pt x="46" y="212"/>
                    </a:lnTo>
                    <a:lnTo>
                      <a:pt x="44" y="209"/>
                    </a:lnTo>
                    <a:lnTo>
                      <a:pt x="44" y="207"/>
                    </a:lnTo>
                    <a:lnTo>
                      <a:pt x="47" y="206"/>
                    </a:lnTo>
                    <a:lnTo>
                      <a:pt x="47" y="202"/>
                    </a:lnTo>
                    <a:lnTo>
                      <a:pt x="49" y="200"/>
                    </a:lnTo>
                    <a:lnTo>
                      <a:pt x="51" y="199"/>
                    </a:lnTo>
                    <a:lnTo>
                      <a:pt x="52" y="195"/>
                    </a:lnTo>
                    <a:lnTo>
                      <a:pt x="54" y="195"/>
                    </a:lnTo>
                    <a:lnTo>
                      <a:pt x="54" y="187"/>
                    </a:lnTo>
                    <a:lnTo>
                      <a:pt x="56" y="182"/>
                    </a:lnTo>
                    <a:lnTo>
                      <a:pt x="52" y="178"/>
                    </a:lnTo>
                    <a:lnTo>
                      <a:pt x="49" y="156"/>
                    </a:lnTo>
                    <a:lnTo>
                      <a:pt x="52" y="155"/>
                    </a:lnTo>
                    <a:lnTo>
                      <a:pt x="51" y="151"/>
                    </a:lnTo>
                    <a:lnTo>
                      <a:pt x="49" y="151"/>
                    </a:lnTo>
                    <a:lnTo>
                      <a:pt x="49" y="148"/>
                    </a:lnTo>
                    <a:lnTo>
                      <a:pt x="47" y="148"/>
                    </a:lnTo>
                    <a:lnTo>
                      <a:pt x="42" y="143"/>
                    </a:lnTo>
                    <a:lnTo>
                      <a:pt x="42" y="139"/>
                    </a:lnTo>
                    <a:lnTo>
                      <a:pt x="42" y="136"/>
                    </a:lnTo>
                    <a:lnTo>
                      <a:pt x="39" y="132"/>
                    </a:lnTo>
                    <a:lnTo>
                      <a:pt x="37" y="134"/>
                    </a:lnTo>
                    <a:lnTo>
                      <a:pt x="35" y="131"/>
                    </a:lnTo>
                    <a:lnTo>
                      <a:pt x="34" y="131"/>
                    </a:lnTo>
                    <a:lnTo>
                      <a:pt x="32" y="122"/>
                    </a:lnTo>
                    <a:lnTo>
                      <a:pt x="30" y="119"/>
                    </a:lnTo>
                    <a:lnTo>
                      <a:pt x="29" y="119"/>
                    </a:lnTo>
                    <a:lnTo>
                      <a:pt x="27" y="117"/>
                    </a:lnTo>
                    <a:lnTo>
                      <a:pt x="25" y="112"/>
                    </a:lnTo>
                    <a:lnTo>
                      <a:pt x="24" y="107"/>
                    </a:lnTo>
                    <a:lnTo>
                      <a:pt x="24" y="103"/>
                    </a:lnTo>
                    <a:lnTo>
                      <a:pt x="24" y="102"/>
                    </a:lnTo>
                    <a:lnTo>
                      <a:pt x="25" y="102"/>
                    </a:lnTo>
                    <a:lnTo>
                      <a:pt x="25" y="100"/>
                    </a:lnTo>
                    <a:lnTo>
                      <a:pt x="27" y="93"/>
                    </a:lnTo>
                    <a:lnTo>
                      <a:pt x="24" y="92"/>
                    </a:lnTo>
                    <a:lnTo>
                      <a:pt x="22" y="90"/>
                    </a:lnTo>
                    <a:lnTo>
                      <a:pt x="20" y="90"/>
                    </a:lnTo>
                    <a:lnTo>
                      <a:pt x="18" y="92"/>
                    </a:lnTo>
                    <a:lnTo>
                      <a:pt x="18" y="90"/>
                    </a:lnTo>
                    <a:lnTo>
                      <a:pt x="15" y="86"/>
                    </a:lnTo>
                    <a:lnTo>
                      <a:pt x="12" y="88"/>
                    </a:lnTo>
                    <a:lnTo>
                      <a:pt x="12" y="86"/>
                    </a:lnTo>
                    <a:lnTo>
                      <a:pt x="13" y="86"/>
                    </a:lnTo>
                    <a:lnTo>
                      <a:pt x="12" y="86"/>
                    </a:lnTo>
                    <a:lnTo>
                      <a:pt x="12" y="85"/>
                    </a:lnTo>
                    <a:lnTo>
                      <a:pt x="15" y="85"/>
                    </a:lnTo>
                    <a:lnTo>
                      <a:pt x="13" y="81"/>
                    </a:lnTo>
                    <a:lnTo>
                      <a:pt x="8" y="83"/>
                    </a:lnTo>
                    <a:lnTo>
                      <a:pt x="8" y="81"/>
                    </a:lnTo>
                    <a:lnTo>
                      <a:pt x="10" y="78"/>
                    </a:lnTo>
                    <a:lnTo>
                      <a:pt x="7" y="75"/>
                    </a:lnTo>
                    <a:lnTo>
                      <a:pt x="8" y="75"/>
                    </a:lnTo>
                    <a:lnTo>
                      <a:pt x="8" y="73"/>
                    </a:lnTo>
                    <a:lnTo>
                      <a:pt x="5" y="69"/>
                    </a:lnTo>
                    <a:lnTo>
                      <a:pt x="7" y="69"/>
                    </a:lnTo>
                    <a:lnTo>
                      <a:pt x="5" y="66"/>
                    </a:lnTo>
                    <a:lnTo>
                      <a:pt x="3" y="64"/>
                    </a:lnTo>
                    <a:lnTo>
                      <a:pt x="10" y="58"/>
                    </a:lnTo>
                    <a:lnTo>
                      <a:pt x="25" y="42"/>
                    </a:lnTo>
                    <a:lnTo>
                      <a:pt x="34" y="35"/>
                    </a:lnTo>
                    <a:lnTo>
                      <a:pt x="49" y="22"/>
                    </a:lnTo>
                    <a:lnTo>
                      <a:pt x="58" y="15"/>
                    </a:lnTo>
                    <a:lnTo>
                      <a:pt x="61" y="12"/>
                    </a:lnTo>
                    <a:lnTo>
                      <a:pt x="68" y="1"/>
                    </a:lnTo>
                    <a:lnTo>
                      <a:pt x="69" y="0"/>
                    </a:lnTo>
                    <a:lnTo>
                      <a:pt x="71" y="3"/>
                    </a:lnTo>
                    <a:lnTo>
                      <a:pt x="69" y="3"/>
                    </a:lnTo>
                    <a:lnTo>
                      <a:pt x="69" y="7"/>
                    </a:lnTo>
                    <a:lnTo>
                      <a:pt x="71" y="8"/>
                    </a:lnTo>
                    <a:lnTo>
                      <a:pt x="75" y="7"/>
                    </a:lnTo>
                    <a:lnTo>
                      <a:pt x="80" y="5"/>
                    </a:lnTo>
                    <a:lnTo>
                      <a:pt x="81" y="3"/>
                    </a:lnTo>
                    <a:lnTo>
                      <a:pt x="85" y="5"/>
                    </a:lnTo>
                    <a:lnTo>
                      <a:pt x="86" y="7"/>
                    </a:lnTo>
                    <a:lnTo>
                      <a:pt x="90" y="5"/>
                    </a:lnTo>
                    <a:lnTo>
                      <a:pt x="93" y="8"/>
                    </a:lnTo>
                    <a:lnTo>
                      <a:pt x="98" y="8"/>
                    </a:lnTo>
                    <a:lnTo>
                      <a:pt x="97" y="12"/>
                    </a:lnTo>
                    <a:lnTo>
                      <a:pt x="98" y="17"/>
                    </a:lnTo>
                    <a:lnTo>
                      <a:pt x="95" y="20"/>
                    </a:lnTo>
                    <a:lnTo>
                      <a:pt x="95" y="27"/>
                    </a:lnTo>
                    <a:lnTo>
                      <a:pt x="95" y="35"/>
                    </a:lnTo>
                    <a:lnTo>
                      <a:pt x="102" y="44"/>
                    </a:lnTo>
                    <a:lnTo>
                      <a:pt x="102" y="46"/>
                    </a:lnTo>
                    <a:lnTo>
                      <a:pt x="103" y="47"/>
                    </a:lnTo>
                    <a:lnTo>
                      <a:pt x="102" y="51"/>
                    </a:lnTo>
                    <a:lnTo>
                      <a:pt x="103" y="52"/>
                    </a:lnTo>
                    <a:lnTo>
                      <a:pt x="117" y="52"/>
                    </a:lnTo>
                    <a:lnTo>
                      <a:pt x="132" y="52"/>
                    </a:lnTo>
                    <a:lnTo>
                      <a:pt x="136" y="52"/>
                    </a:lnTo>
                    <a:lnTo>
                      <a:pt x="137" y="52"/>
                    </a:lnTo>
                    <a:lnTo>
                      <a:pt x="146" y="52"/>
                    </a:lnTo>
                    <a:lnTo>
                      <a:pt x="156" y="56"/>
                    </a:lnTo>
                    <a:lnTo>
                      <a:pt x="158" y="58"/>
                    </a:lnTo>
                    <a:lnTo>
                      <a:pt x="160" y="58"/>
                    </a:lnTo>
                    <a:lnTo>
                      <a:pt x="161" y="61"/>
                    </a:lnTo>
                    <a:lnTo>
                      <a:pt x="178" y="71"/>
                    </a:lnTo>
                    <a:lnTo>
                      <a:pt x="192" y="81"/>
                    </a:lnTo>
                    <a:lnTo>
                      <a:pt x="202" y="86"/>
                    </a:lnTo>
                    <a:lnTo>
                      <a:pt x="205" y="90"/>
                    </a:lnTo>
                    <a:lnTo>
                      <a:pt x="212" y="95"/>
                    </a:lnTo>
                    <a:lnTo>
                      <a:pt x="216" y="95"/>
                    </a:lnTo>
                    <a:lnTo>
                      <a:pt x="229" y="97"/>
                    </a:lnTo>
                    <a:lnTo>
                      <a:pt x="233" y="95"/>
                    </a:lnTo>
                    <a:lnTo>
                      <a:pt x="233" y="93"/>
                    </a:lnTo>
                    <a:lnTo>
                      <a:pt x="234" y="93"/>
                    </a:lnTo>
                    <a:lnTo>
                      <a:pt x="236" y="97"/>
                    </a:lnTo>
                    <a:lnTo>
                      <a:pt x="238" y="95"/>
                    </a:lnTo>
                    <a:lnTo>
                      <a:pt x="239" y="97"/>
                    </a:lnTo>
                    <a:lnTo>
                      <a:pt x="241" y="95"/>
                    </a:lnTo>
                    <a:lnTo>
                      <a:pt x="243" y="98"/>
                    </a:lnTo>
                    <a:lnTo>
                      <a:pt x="253" y="100"/>
                    </a:lnTo>
                    <a:lnTo>
                      <a:pt x="255" y="100"/>
                    </a:lnTo>
                    <a:lnTo>
                      <a:pt x="258" y="100"/>
                    </a:lnTo>
                    <a:lnTo>
                      <a:pt x="262" y="100"/>
                    </a:lnTo>
                    <a:lnTo>
                      <a:pt x="267" y="102"/>
                    </a:lnTo>
                    <a:lnTo>
                      <a:pt x="270" y="103"/>
                    </a:lnTo>
                    <a:lnTo>
                      <a:pt x="272" y="102"/>
                    </a:lnTo>
                    <a:lnTo>
                      <a:pt x="273" y="102"/>
                    </a:lnTo>
                    <a:lnTo>
                      <a:pt x="273" y="103"/>
                    </a:lnTo>
                    <a:lnTo>
                      <a:pt x="280" y="103"/>
                    </a:lnTo>
                    <a:lnTo>
                      <a:pt x="282" y="103"/>
                    </a:lnTo>
                    <a:lnTo>
                      <a:pt x="284" y="105"/>
                    </a:lnTo>
                    <a:lnTo>
                      <a:pt x="285" y="107"/>
                    </a:lnTo>
                    <a:lnTo>
                      <a:pt x="287" y="102"/>
                    </a:lnTo>
                    <a:lnTo>
                      <a:pt x="296" y="93"/>
                    </a:lnTo>
                    <a:lnTo>
                      <a:pt x="301" y="83"/>
                    </a:lnTo>
                    <a:lnTo>
                      <a:pt x="316" y="76"/>
                    </a:lnTo>
                    <a:lnTo>
                      <a:pt x="330" y="69"/>
                    </a:lnTo>
                    <a:lnTo>
                      <a:pt x="343" y="64"/>
                    </a:lnTo>
                    <a:lnTo>
                      <a:pt x="345" y="64"/>
                    </a:lnTo>
                    <a:lnTo>
                      <a:pt x="347" y="63"/>
                    </a:lnTo>
                    <a:lnTo>
                      <a:pt x="348" y="63"/>
                    </a:lnTo>
                    <a:lnTo>
                      <a:pt x="352" y="64"/>
                    </a:lnTo>
                    <a:lnTo>
                      <a:pt x="353" y="68"/>
                    </a:lnTo>
                    <a:lnTo>
                      <a:pt x="355" y="68"/>
                    </a:lnTo>
                    <a:lnTo>
                      <a:pt x="358" y="69"/>
                    </a:lnTo>
                    <a:lnTo>
                      <a:pt x="365" y="78"/>
                    </a:lnTo>
                    <a:lnTo>
                      <a:pt x="369" y="80"/>
                    </a:lnTo>
                    <a:lnTo>
                      <a:pt x="370" y="78"/>
                    </a:lnTo>
                    <a:lnTo>
                      <a:pt x="375" y="80"/>
                    </a:lnTo>
                    <a:lnTo>
                      <a:pt x="375" y="78"/>
                    </a:lnTo>
                    <a:lnTo>
                      <a:pt x="377" y="78"/>
                    </a:lnTo>
                    <a:lnTo>
                      <a:pt x="379" y="78"/>
                    </a:lnTo>
                    <a:lnTo>
                      <a:pt x="384" y="78"/>
                    </a:lnTo>
                    <a:lnTo>
                      <a:pt x="386" y="76"/>
                    </a:lnTo>
                    <a:lnTo>
                      <a:pt x="387" y="78"/>
                    </a:lnTo>
                    <a:lnTo>
                      <a:pt x="391" y="76"/>
                    </a:lnTo>
                    <a:lnTo>
                      <a:pt x="392" y="78"/>
                    </a:lnTo>
                    <a:lnTo>
                      <a:pt x="394" y="76"/>
                    </a:lnTo>
                    <a:lnTo>
                      <a:pt x="396" y="78"/>
                    </a:lnTo>
                    <a:lnTo>
                      <a:pt x="398" y="76"/>
                    </a:lnTo>
                    <a:lnTo>
                      <a:pt x="399" y="78"/>
                    </a:lnTo>
                    <a:lnTo>
                      <a:pt x="401" y="78"/>
                    </a:lnTo>
                    <a:lnTo>
                      <a:pt x="404" y="76"/>
                    </a:lnTo>
                    <a:close/>
                    <a:moveTo>
                      <a:pt x="364" y="382"/>
                    </a:moveTo>
                    <a:lnTo>
                      <a:pt x="367" y="384"/>
                    </a:lnTo>
                    <a:lnTo>
                      <a:pt x="367" y="386"/>
                    </a:lnTo>
                    <a:lnTo>
                      <a:pt x="365" y="386"/>
                    </a:lnTo>
                    <a:lnTo>
                      <a:pt x="364" y="386"/>
                    </a:lnTo>
                    <a:lnTo>
                      <a:pt x="364" y="388"/>
                    </a:lnTo>
                    <a:lnTo>
                      <a:pt x="360" y="388"/>
                    </a:lnTo>
                    <a:lnTo>
                      <a:pt x="358" y="388"/>
                    </a:lnTo>
                    <a:lnTo>
                      <a:pt x="358" y="391"/>
                    </a:lnTo>
                    <a:lnTo>
                      <a:pt x="357" y="389"/>
                    </a:lnTo>
                    <a:lnTo>
                      <a:pt x="357" y="388"/>
                    </a:lnTo>
                    <a:lnTo>
                      <a:pt x="357" y="386"/>
                    </a:lnTo>
                    <a:lnTo>
                      <a:pt x="360" y="384"/>
                    </a:lnTo>
                    <a:lnTo>
                      <a:pt x="362" y="382"/>
                    </a:lnTo>
                    <a:lnTo>
                      <a:pt x="364" y="382"/>
                    </a:lnTo>
                    <a:close/>
                    <a:moveTo>
                      <a:pt x="289" y="483"/>
                    </a:moveTo>
                    <a:lnTo>
                      <a:pt x="292" y="483"/>
                    </a:lnTo>
                    <a:lnTo>
                      <a:pt x="292" y="485"/>
                    </a:lnTo>
                    <a:lnTo>
                      <a:pt x="289" y="485"/>
                    </a:lnTo>
                    <a:lnTo>
                      <a:pt x="289" y="483"/>
                    </a:lnTo>
                    <a:close/>
                    <a:moveTo>
                      <a:pt x="370" y="379"/>
                    </a:moveTo>
                    <a:lnTo>
                      <a:pt x="372" y="379"/>
                    </a:lnTo>
                    <a:lnTo>
                      <a:pt x="374" y="379"/>
                    </a:lnTo>
                    <a:lnTo>
                      <a:pt x="370" y="382"/>
                    </a:lnTo>
                    <a:lnTo>
                      <a:pt x="372" y="381"/>
                    </a:lnTo>
                    <a:lnTo>
                      <a:pt x="370" y="379"/>
                    </a:lnTo>
                    <a:lnTo>
                      <a:pt x="372" y="377"/>
                    </a:lnTo>
                    <a:lnTo>
                      <a:pt x="370" y="379"/>
                    </a:lnTo>
                    <a:close/>
                    <a:moveTo>
                      <a:pt x="365" y="381"/>
                    </a:moveTo>
                    <a:lnTo>
                      <a:pt x="369" y="381"/>
                    </a:lnTo>
                    <a:lnTo>
                      <a:pt x="365" y="381"/>
                    </a:lnTo>
                    <a:close/>
                    <a:moveTo>
                      <a:pt x="382" y="367"/>
                    </a:moveTo>
                    <a:lnTo>
                      <a:pt x="384" y="367"/>
                    </a:lnTo>
                    <a:lnTo>
                      <a:pt x="384" y="369"/>
                    </a:lnTo>
                    <a:lnTo>
                      <a:pt x="382" y="369"/>
                    </a:lnTo>
                    <a:lnTo>
                      <a:pt x="382" y="367"/>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39" name="Freeform 35">
                <a:extLst>
                  <a:ext uri="{FF2B5EF4-FFF2-40B4-BE49-F238E27FC236}">
                    <a16:creationId xmlns:a16="http://schemas.microsoft.com/office/drawing/2014/main" id="{7F482DA9-2B0E-4380-B289-F7559CBB1C5F}"/>
                  </a:ext>
                </a:extLst>
              </p:cNvPr>
              <p:cNvSpPr>
                <a:spLocks/>
              </p:cNvSpPr>
              <p:nvPr/>
            </p:nvSpPr>
            <p:spPr bwMode="gray">
              <a:xfrm>
                <a:off x="6748463" y="5751513"/>
                <a:ext cx="196850" cy="169863"/>
              </a:xfrm>
              <a:custGeom>
                <a:avLst/>
                <a:gdLst>
                  <a:gd name="T0" fmla="*/ 91 w 124"/>
                  <a:gd name="T1" fmla="*/ 7 h 107"/>
                  <a:gd name="T2" fmla="*/ 95 w 124"/>
                  <a:gd name="T3" fmla="*/ 11 h 107"/>
                  <a:gd name="T4" fmla="*/ 96 w 124"/>
                  <a:gd name="T5" fmla="*/ 12 h 107"/>
                  <a:gd name="T6" fmla="*/ 98 w 124"/>
                  <a:gd name="T7" fmla="*/ 14 h 107"/>
                  <a:gd name="T8" fmla="*/ 100 w 124"/>
                  <a:gd name="T9" fmla="*/ 17 h 107"/>
                  <a:gd name="T10" fmla="*/ 105 w 124"/>
                  <a:gd name="T11" fmla="*/ 17 h 107"/>
                  <a:gd name="T12" fmla="*/ 112 w 124"/>
                  <a:gd name="T13" fmla="*/ 24 h 107"/>
                  <a:gd name="T14" fmla="*/ 117 w 124"/>
                  <a:gd name="T15" fmla="*/ 26 h 107"/>
                  <a:gd name="T16" fmla="*/ 119 w 124"/>
                  <a:gd name="T17" fmla="*/ 33 h 107"/>
                  <a:gd name="T18" fmla="*/ 122 w 124"/>
                  <a:gd name="T19" fmla="*/ 36 h 107"/>
                  <a:gd name="T20" fmla="*/ 122 w 124"/>
                  <a:gd name="T21" fmla="*/ 39 h 107"/>
                  <a:gd name="T22" fmla="*/ 120 w 124"/>
                  <a:gd name="T23" fmla="*/ 45 h 107"/>
                  <a:gd name="T24" fmla="*/ 117 w 124"/>
                  <a:gd name="T25" fmla="*/ 50 h 107"/>
                  <a:gd name="T26" fmla="*/ 115 w 124"/>
                  <a:gd name="T27" fmla="*/ 51 h 107"/>
                  <a:gd name="T28" fmla="*/ 108 w 124"/>
                  <a:gd name="T29" fmla="*/ 56 h 107"/>
                  <a:gd name="T30" fmla="*/ 107 w 124"/>
                  <a:gd name="T31" fmla="*/ 63 h 107"/>
                  <a:gd name="T32" fmla="*/ 108 w 124"/>
                  <a:gd name="T33" fmla="*/ 68 h 107"/>
                  <a:gd name="T34" fmla="*/ 105 w 124"/>
                  <a:gd name="T35" fmla="*/ 70 h 107"/>
                  <a:gd name="T36" fmla="*/ 93 w 124"/>
                  <a:gd name="T37" fmla="*/ 77 h 107"/>
                  <a:gd name="T38" fmla="*/ 83 w 124"/>
                  <a:gd name="T39" fmla="*/ 80 h 107"/>
                  <a:gd name="T40" fmla="*/ 69 w 124"/>
                  <a:gd name="T41" fmla="*/ 80 h 107"/>
                  <a:gd name="T42" fmla="*/ 66 w 124"/>
                  <a:gd name="T43" fmla="*/ 84 h 107"/>
                  <a:gd name="T44" fmla="*/ 61 w 124"/>
                  <a:gd name="T45" fmla="*/ 87 h 107"/>
                  <a:gd name="T46" fmla="*/ 62 w 124"/>
                  <a:gd name="T47" fmla="*/ 94 h 107"/>
                  <a:gd name="T48" fmla="*/ 57 w 124"/>
                  <a:gd name="T49" fmla="*/ 96 h 107"/>
                  <a:gd name="T50" fmla="*/ 57 w 124"/>
                  <a:gd name="T51" fmla="*/ 101 h 107"/>
                  <a:gd name="T52" fmla="*/ 56 w 124"/>
                  <a:gd name="T53" fmla="*/ 107 h 107"/>
                  <a:gd name="T54" fmla="*/ 47 w 124"/>
                  <a:gd name="T55" fmla="*/ 106 h 107"/>
                  <a:gd name="T56" fmla="*/ 37 w 124"/>
                  <a:gd name="T57" fmla="*/ 104 h 107"/>
                  <a:gd name="T58" fmla="*/ 30 w 124"/>
                  <a:gd name="T59" fmla="*/ 96 h 107"/>
                  <a:gd name="T60" fmla="*/ 23 w 124"/>
                  <a:gd name="T61" fmla="*/ 92 h 107"/>
                  <a:gd name="T62" fmla="*/ 18 w 124"/>
                  <a:gd name="T63" fmla="*/ 89 h 107"/>
                  <a:gd name="T64" fmla="*/ 20 w 124"/>
                  <a:gd name="T65" fmla="*/ 80 h 107"/>
                  <a:gd name="T66" fmla="*/ 13 w 124"/>
                  <a:gd name="T67" fmla="*/ 75 h 107"/>
                  <a:gd name="T68" fmla="*/ 5 w 124"/>
                  <a:gd name="T69" fmla="*/ 60 h 107"/>
                  <a:gd name="T70" fmla="*/ 0 w 124"/>
                  <a:gd name="T71" fmla="*/ 53 h 107"/>
                  <a:gd name="T72" fmla="*/ 3 w 124"/>
                  <a:gd name="T73" fmla="*/ 53 h 107"/>
                  <a:gd name="T74" fmla="*/ 10 w 124"/>
                  <a:gd name="T75" fmla="*/ 50 h 107"/>
                  <a:gd name="T76" fmla="*/ 15 w 124"/>
                  <a:gd name="T77" fmla="*/ 50 h 107"/>
                  <a:gd name="T78" fmla="*/ 17 w 124"/>
                  <a:gd name="T79" fmla="*/ 45 h 107"/>
                  <a:gd name="T80" fmla="*/ 22 w 124"/>
                  <a:gd name="T81" fmla="*/ 41 h 107"/>
                  <a:gd name="T82" fmla="*/ 22 w 124"/>
                  <a:gd name="T83" fmla="*/ 38 h 107"/>
                  <a:gd name="T84" fmla="*/ 27 w 124"/>
                  <a:gd name="T85" fmla="*/ 36 h 107"/>
                  <a:gd name="T86" fmla="*/ 25 w 124"/>
                  <a:gd name="T87" fmla="*/ 33 h 107"/>
                  <a:gd name="T88" fmla="*/ 30 w 124"/>
                  <a:gd name="T89" fmla="*/ 29 h 107"/>
                  <a:gd name="T90" fmla="*/ 34 w 124"/>
                  <a:gd name="T91" fmla="*/ 26 h 107"/>
                  <a:gd name="T92" fmla="*/ 34 w 124"/>
                  <a:gd name="T93" fmla="*/ 22 h 107"/>
                  <a:gd name="T94" fmla="*/ 35 w 124"/>
                  <a:gd name="T95" fmla="*/ 19 h 107"/>
                  <a:gd name="T96" fmla="*/ 40 w 124"/>
                  <a:gd name="T97" fmla="*/ 17 h 107"/>
                  <a:gd name="T98" fmla="*/ 44 w 124"/>
                  <a:gd name="T99" fmla="*/ 16 h 107"/>
                  <a:gd name="T100" fmla="*/ 49 w 124"/>
                  <a:gd name="T101" fmla="*/ 16 h 107"/>
                  <a:gd name="T102" fmla="*/ 52 w 124"/>
                  <a:gd name="T103" fmla="*/ 12 h 107"/>
                  <a:gd name="T104" fmla="*/ 57 w 124"/>
                  <a:gd name="T105" fmla="*/ 9 h 107"/>
                  <a:gd name="T106" fmla="*/ 64 w 124"/>
                  <a:gd name="T107" fmla="*/ 7 h 107"/>
                  <a:gd name="T108" fmla="*/ 69 w 124"/>
                  <a:gd name="T109" fmla="*/ 5 h 107"/>
                  <a:gd name="T110" fmla="*/ 69 w 124"/>
                  <a:gd name="T111" fmla="*/ 4 h 107"/>
                  <a:gd name="T112" fmla="*/ 79 w 124"/>
                  <a:gd name="T113"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107">
                    <a:moveTo>
                      <a:pt x="85" y="2"/>
                    </a:moveTo>
                    <a:lnTo>
                      <a:pt x="86" y="5"/>
                    </a:lnTo>
                    <a:lnTo>
                      <a:pt x="91" y="7"/>
                    </a:lnTo>
                    <a:lnTo>
                      <a:pt x="91" y="11"/>
                    </a:lnTo>
                    <a:lnTo>
                      <a:pt x="93" y="11"/>
                    </a:lnTo>
                    <a:lnTo>
                      <a:pt x="95" y="11"/>
                    </a:lnTo>
                    <a:lnTo>
                      <a:pt x="96" y="11"/>
                    </a:lnTo>
                    <a:lnTo>
                      <a:pt x="98" y="11"/>
                    </a:lnTo>
                    <a:lnTo>
                      <a:pt x="96" y="12"/>
                    </a:lnTo>
                    <a:lnTo>
                      <a:pt x="98" y="12"/>
                    </a:lnTo>
                    <a:lnTo>
                      <a:pt x="96" y="12"/>
                    </a:lnTo>
                    <a:lnTo>
                      <a:pt x="98" y="14"/>
                    </a:lnTo>
                    <a:lnTo>
                      <a:pt x="96" y="16"/>
                    </a:lnTo>
                    <a:lnTo>
                      <a:pt x="98" y="16"/>
                    </a:lnTo>
                    <a:lnTo>
                      <a:pt x="100" y="17"/>
                    </a:lnTo>
                    <a:lnTo>
                      <a:pt x="102" y="16"/>
                    </a:lnTo>
                    <a:lnTo>
                      <a:pt x="103" y="17"/>
                    </a:lnTo>
                    <a:lnTo>
                      <a:pt x="105" y="17"/>
                    </a:lnTo>
                    <a:lnTo>
                      <a:pt x="105" y="19"/>
                    </a:lnTo>
                    <a:lnTo>
                      <a:pt x="107" y="21"/>
                    </a:lnTo>
                    <a:lnTo>
                      <a:pt x="112" y="24"/>
                    </a:lnTo>
                    <a:lnTo>
                      <a:pt x="113" y="26"/>
                    </a:lnTo>
                    <a:lnTo>
                      <a:pt x="115" y="26"/>
                    </a:lnTo>
                    <a:lnTo>
                      <a:pt x="117" y="26"/>
                    </a:lnTo>
                    <a:lnTo>
                      <a:pt x="119" y="29"/>
                    </a:lnTo>
                    <a:lnTo>
                      <a:pt x="119" y="31"/>
                    </a:lnTo>
                    <a:lnTo>
                      <a:pt x="119" y="33"/>
                    </a:lnTo>
                    <a:lnTo>
                      <a:pt x="120" y="33"/>
                    </a:lnTo>
                    <a:lnTo>
                      <a:pt x="122" y="34"/>
                    </a:lnTo>
                    <a:lnTo>
                      <a:pt x="122" y="36"/>
                    </a:lnTo>
                    <a:lnTo>
                      <a:pt x="122" y="38"/>
                    </a:lnTo>
                    <a:lnTo>
                      <a:pt x="124" y="39"/>
                    </a:lnTo>
                    <a:lnTo>
                      <a:pt x="122" y="39"/>
                    </a:lnTo>
                    <a:lnTo>
                      <a:pt x="124" y="41"/>
                    </a:lnTo>
                    <a:lnTo>
                      <a:pt x="122" y="43"/>
                    </a:lnTo>
                    <a:lnTo>
                      <a:pt x="120" y="45"/>
                    </a:lnTo>
                    <a:lnTo>
                      <a:pt x="115" y="46"/>
                    </a:lnTo>
                    <a:lnTo>
                      <a:pt x="115" y="48"/>
                    </a:lnTo>
                    <a:lnTo>
                      <a:pt x="117" y="50"/>
                    </a:lnTo>
                    <a:lnTo>
                      <a:pt x="115" y="50"/>
                    </a:lnTo>
                    <a:lnTo>
                      <a:pt x="117" y="51"/>
                    </a:lnTo>
                    <a:lnTo>
                      <a:pt x="115" y="51"/>
                    </a:lnTo>
                    <a:lnTo>
                      <a:pt x="115" y="55"/>
                    </a:lnTo>
                    <a:lnTo>
                      <a:pt x="112" y="55"/>
                    </a:lnTo>
                    <a:lnTo>
                      <a:pt x="108" y="56"/>
                    </a:lnTo>
                    <a:lnTo>
                      <a:pt x="108" y="60"/>
                    </a:lnTo>
                    <a:lnTo>
                      <a:pt x="107" y="62"/>
                    </a:lnTo>
                    <a:lnTo>
                      <a:pt x="107" y="63"/>
                    </a:lnTo>
                    <a:lnTo>
                      <a:pt x="105" y="65"/>
                    </a:lnTo>
                    <a:lnTo>
                      <a:pt x="108" y="67"/>
                    </a:lnTo>
                    <a:lnTo>
                      <a:pt x="108" y="68"/>
                    </a:lnTo>
                    <a:lnTo>
                      <a:pt x="107" y="70"/>
                    </a:lnTo>
                    <a:lnTo>
                      <a:pt x="105" y="72"/>
                    </a:lnTo>
                    <a:lnTo>
                      <a:pt x="105" y="70"/>
                    </a:lnTo>
                    <a:lnTo>
                      <a:pt x="100" y="73"/>
                    </a:lnTo>
                    <a:lnTo>
                      <a:pt x="98" y="75"/>
                    </a:lnTo>
                    <a:lnTo>
                      <a:pt x="93" y="77"/>
                    </a:lnTo>
                    <a:lnTo>
                      <a:pt x="90" y="79"/>
                    </a:lnTo>
                    <a:lnTo>
                      <a:pt x="88" y="79"/>
                    </a:lnTo>
                    <a:lnTo>
                      <a:pt x="83" y="80"/>
                    </a:lnTo>
                    <a:lnTo>
                      <a:pt x="78" y="79"/>
                    </a:lnTo>
                    <a:lnTo>
                      <a:pt x="74" y="80"/>
                    </a:lnTo>
                    <a:lnTo>
                      <a:pt x="69" y="80"/>
                    </a:lnTo>
                    <a:lnTo>
                      <a:pt x="68" y="82"/>
                    </a:lnTo>
                    <a:lnTo>
                      <a:pt x="68" y="84"/>
                    </a:lnTo>
                    <a:lnTo>
                      <a:pt x="66" y="84"/>
                    </a:lnTo>
                    <a:lnTo>
                      <a:pt x="66" y="85"/>
                    </a:lnTo>
                    <a:lnTo>
                      <a:pt x="62" y="85"/>
                    </a:lnTo>
                    <a:lnTo>
                      <a:pt x="61" y="87"/>
                    </a:lnTo>
                    <a:lnTo>
                      <a:pt x="62" y="89"/>
                    </a:lnTo>
                    <a:lnTo>
                      <a:pt x="64" y="92"/>
                    </a:lnTo>
                    <a:lnTo>
                      <a:pt x="62" y="94"/>
                    </a:lnTo>
                    <a:lnTo>
                      <a:pt x="61" y="94"/>
                    </a:lnTo>
                    <a:lnTo>
                      <a:pt x="59" y="96"/>
                    </a:lnTo>
                    <a:lnTo>
                      <a:pt x="57" y="96"/>
                    </a:lnTo>
                    <a:lnTo>
                      <a:pt x="59" y="97"/>
                    </a:lnTo>
                    <a:lnTo>
                      <a:pt x="59" y="99"/>
                    </a:lnTo>
                    <a:lnTo>
                      <a:pt x="57" y="101"/>
                    </a:lnTo>
                    <a:lnTo>
                      <a:pt x="57" y="102"/>
                    </a:lnTo>
                    <a:lnTo>
                      <a:pt x="56" y="102"/>
                    </a:lnTo>
                    <a:lnTo>
                      <a:pt x="56" y="107"/>
                    </a:lnTo>
                    <a:lnTo>
                      <a:pt x="54" y="106"/>
                    </a:lnTo>
                    <a:lnTo>
                      <a:pt x="51" y="106"/>
                    </a:lnTo>
                    <a:lnTo>
                      <a:pt x="47" y="106"/>
                    </a:lnTo>
                    <a:lnTo>
                      <a:pt x="45" y="102"/>
                    </a:lnTo>
                    <a:lnTo>
                      <a:pt x="39" y="104"/>
                    </a:lnTo>
                    <a:lnTo>
                      <a:pt x="37" y="104"/>
                    </a:lnTo>
                    <a:lnTo>
                      <a:pt x="34" y="101"/>
                    </a:lnTo>
                    <a:lnTo>
                      <a:pt x="30" y="97"/>
                    </a:lnTo>
                    <a:lnTo>
                      <a:pt x="30" y="96"/>
                    </a:lnTo>
                    <a:lnTo>
                      <a:pt x="28" y="96"/>
                    </a:lnTo>
                    <a:lnTo>
                      <a:pt x="27" y="94"/>
                    </a:lnTo>
                    <a:lnTo>
                      <a:pt x="23" y="92"/>
                    </a:lnTo>
                    <a:lnTo>
                      <a:pt x="23" y="89"/>
                    </a:lnTo>
                    <a:lnTo>
                      <a:pt x="18" y="90"/>
                    </a:lnTo>
                    <a:lnTo>
                      <a:pt x="18" y="89"/>
                    </a:lnTo>
                    <a:lnTo>
                      <a:pt x="18" y="87"/>
                    </a:lnTo>
                    <a:lnTo>
                      <a:pt x="18" y="82"/>
                    </a:lnTo>
                    <a:lnTo>
                      <a:pt x="20" y="80"/>
                    </a:lnTo>
                    <a:lnTo>
                      <a:pt x="15" y="80"/>
                    </a:lnTo>
                    <a:lnTo>
                      <a:pt x="15" y="75"/>
                    </a:lnTo>
                    <a:lnTo>
                      <a:pt x="13" y="75"/>
                    </a:lnTo>
                    <a:lnTo>
                      <a:pt x="13" y="73"/>
                    </a:lnTo>
                    <a:lnTo>
                      <a:pt x="10" y="73"/>
                    </a:lnTo>
                    <a:lnTo>
                      <a:pt x="5" y="60"/>
                    </a:lnTo>
                    <a:lnTo>
                      <a:pt x="0" y="55"/>
                    </a:lnTo>
                    <a:lnTo>
                      <a:pt x="1" y="55"/>
                    </a:lnTo>
                    <a:lnTo>
                      <a:pt x="0" y="53"/>
                    </a:lnTo>
                    <a:lnTo>
                      <a:pt x="1" y="53"/>
                    </a:lnTo>
                    <a:lnTo>
                      <a:pt x="1" y="55"/>
                    </a:lnTo>
                    <a:lnTo>
                      <a:pt x="3" y="53"/>
                    </a:lnTo>
                    <a:lnTo>
                      <a:pt x="6" y="51"/>
                    </a:lnTo>
                    <a:lnTo>
                      <a:pt x="10" y="51"/>
                    </a:lnTo>
                    <a:lnTo>
                      <a:pt x="10" y="50"/>
                    </a:lnTo>
                    <a:lnTo>
                      <a:pt x="11" y="50"/>
                    </a:lnTo>
                    <a:lnTo>
                      <a:pt x="13" y="48"/>
                    </a:lnTo>
                    <a:lnTo>
                      <a:pt x="15" y="50"/>
                    </a:lnTo>
                    <a:lnTo>
                      <a:pt x="15" y="48"/>
                    </a:lnTo>
                    <a:lnTo>
                      <a:pt x="17" y="46"/>
                    </a:lnTo>
                    <a:lnTo>
                      <a:pt x="17" y="45"/>
                    </a:lnTo>
                    <a:lnTo>
                      <a:pt x="20" y="43"/>
                    </a:lnTo>
                    <a:lnTo>
                      <a:pt x="20" y="41"/>
                    </a:lnTo>
                    <a:lnTo>
                      <a:pt x="22" y="41"/>
                    </a:lnTo>
                    <a:lnTo>
                      <a:pt x="22" y="39"/>
                    </a:lnTo>
                    <a:lnTo>
                      <a:pt x="23" y="38"/>
                    </a:lnTo>
                    <a:lnTo>
                      <a:pt x="22" y="38"/>
                    </a:lnTo>
                    <a:lnTo>
                      <a:pt x="23" y="38"/>
                    </a:lnTo>
                    <a:lnTo>
                      <a:pt x="23" y="36"/>
                    </a:lnTo>
                    <a:lnTo>
                      <a:pt x="27" y="36"/>
                    </a:lnTo>
                    <a:lnTo>
                      <a:pt x="27" y="34"/>
                    </a:lnTo>
                    <a:lnTo>
                      <a:pt x="25" y="34"/>
                    </a:lnTo>
                    <a:lnTo>
                      <a:pt x="25" y="33"/>
                    </a:lnTo>
                    <a:lnTo>
                      <a:pt x="28" y="31"/>
                    </a:lnTo>
                    <a:lnTo>
                      <a:pt x="30" y="31"/>
                    </a:lnTo>
                    <a:lnTo>
                      <a:pt x="30" y="29"/>
                    </a:lnTo>
                    <a:lnTo>
                      <a:pt x="32" y="28"/>
                    </a:lnTo>
                    <a:lnTo>
                      <a:pt x="32" y="26"/>
                    </a:lnTo>
                    <a:lnTo>
                      <a:pt x="34" y="26"/>
                    </a:lnTo>
                    <a:lnTo>
                      <a:pt x="32" y="24"/>
                    </a:lnTo>
                    <a:lnTo>
                      <a:pt x="34" y="24"/>
                    </a:lnTo>
                    <a:lnTo>
                      <a:pt x="34" y="22"/>
                    </a:lnTo>
                    <a:lnTo>
                      <a:pt x="35" y="22"/>
                    </a:lnTo>
                    <a:lnTo>
                      <a:pt x="35" y="21"/>
                    </a:lnTo>
                    <a:lnTo>
                      <a:pt x="35" y="19"/>
                    </a:lnTo>
                    <a:lnTo>
                      <a:pt x="37" y="19"/>
                    </a:lnTo>
                    <a:lnTo>
                      <a:pt x="37" y="17"/>
                    </a:lnTo>
                    <a:lnTo>
                      <a:pt x="40" y="17"/>
                    </a:lnTo>
                    <a:lnTo>
                      <a:pt x="42" y="17"/>
                    </a:lnTo>
                    <a:lnTo>
                      <a:pt x="44" y="17"/>
                    </a:lnTo>
                    <a:lnTo>
                      <a:pt x="44" y="16"/>
                    </a:lnTo>
                    <a:lnTo>
                      <a:pt x="45" y="16"/>
                    </a:lnTo>
                    <a:lnTo>
                      <a:pt x="47" y="14"/>
                    </a:lnTo>
                    <a:lnTo>
                      <a:pt x="49" y="16"/>
                    </a:lnTo>
                    <a:lnTo>
                      <a:pt x="51" y="16"/>
                    </a:lnTo>
                    <a:lnTo>
                      <a:pt x="52" y="14"/>
                    </a:lnTo>
                    <a:lnTo>
                      <a:pt x="52" y="12"/>
                    </a:lnTo>
                    <a:lnTo>
                      <a:pt x="54" y="12"/>
                    </a:lnTo>
                    <a:lnTo>
                      <a:pt x="56" y="9"/>
                    </a:lnTo>
                    <a:lnTo>
                      <a:pt x="57" y="9"/>
                    </a:lnTo>
                    <a:lnTo>
                      <a:pt x="59" y="7"/>
                    </a:lnTo>
                    <a:lnTo>
                      <a:pt x="61" y="7"/>
                    </a:lnTo>
                    <a:lnTo>
                      <a:pt x="64" y="7"/>
                    </a:lnTo>
                    <a:lnTo>
                      <a:pt x="66" y="7"/>
                    </a:lnTo>
                    <a:lnTo>
                      <a:pt x="68" y="7"/>
                    </a:lnTo>
                    <a:lnTo>
                      <a:pt x="69" y="5"/>
                    </a:lnTo>
                    <a:lnTo>
                      <a:pt x="68" y="5"/>
                    </a:lnTo>
                    <a:lnTo>
                      <a:pt x="71" y="4"/>
                    </a:lnTo>
                    <a:lnTo>
                      <a:pt x="69" y="4"/>
                    </a:lnTo>
                    <a:lnTo>
                      <a:pt x="74" y="2"/>
                    </a:lnTo>
                    <a:lnTo>
                      <a:pt x="76" y="2"/>
                    </a:lnTo>
                    <a:lnTo>
                      <a:pt x="79" y="2"/>
                    </a:lnTo>
                    <a:lnTo>
                      <a:pt x="83" y="0"/>
                    </a:lnTo>
                    <a:lnTo>
                      <a:pt x="85" y="2"/>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40" name="Freeform 36">
                <a:extLst>
                  <a:ext uri="{FF2B5EF4-FFF2-40B4-BE49-F238E27FC236}">
                    <a16:creationId xmlns:a16="http://schemas.microsoft.com/office/drawing/2014/main" id="{3B4C90AA-0D04-43A7-ADDE-AACC7656269B}"/>
                  </a:ext>
                </a:extLst>
              </p:cNvPr>
              <p:cNvSpPr>
                <a:spLocks/>
              </p:cNvSpPr>
              <p:nvPr/>
            </p:nvSpPr>
            <p:spPr bwMode="gray">
              <a:xfrm>
                <a:off x="3652838" y="2765425"/>
                <a:ext cx="331787" cy="338138"/>
              </a:xfrm>
              <a:custGeom>
                <a:avLst/>
                <a:gdLst>
                  <a:gd name="T0" fmla="*/ 163 w 209"/>
                  <a:gd name="T1" fmla="*/ 70 h 213"/>
                  <a:gd name="T2" fmla="*/ 161 w 209"/>
                  <a:gd name="T3" fmla="*/ 83 h 213"/>
                  <a:gd name="T4" fmla="*/ 160 w 209"/>
                  <a:gd name="T5" fmla="*/ 88 h 213"/>
                  <a:gd name="T6" fmla="*/ 156 w 209"/>
                  <a:gd name="T7" fmla="*/ 95 h 213"/>
                  <a:gd name="T8" fmla="*/ 153 w 209"/>
                  <a:gd name="T9" fmla="*/ 99 h 213"/>
                  <a:gd name="T10" fmla="*/ 146 w 209"/>
                  <a:gd name="T11" fmla="*/ 104 h 213"/>
                  <a:gd name="T12" fmla="*/ 158 w 209"/>
                  <a:gd name="T13" fmla="*/ 111 h 213"/>
                  <a:gd name="T14" fmla="*/ 163 w 209"/>
                  <a:gd name="T15" fmla="*/ 114 h 213"/>
                  <a:gd name="T16" fmla="*/ 180 w 209"/>
                  <a:gd name="T17" fmla="*/ 114 h 213"/>
                  <a:gd name="T18" fmla="*/ 185 w 209"/>
                  <a:gd name="T19" fmla="*/ 122 h 213"/>
                  <a:gd name="T20" fmla="*/ 187 w 209"/>
                  <a:gd name="T21" fmla="*/ 129 h 213"/>
                  <a:gd name="T22" fmla="*/ 194 w 209"/>
                  <a:gd name="T23" fmla="*/ 133 h 213"/>
                  <a:gd name="T24" fmla="*/ 200 w 209"/>
                  <a:gd name="T25" fmla="*/ 138 h 213"/>
                  <a:gd name="T26" fmla="*/ 205 w 209"/>
                  <a:gd name="T27" fmla="*/ 138 h 213"/>
                  <a:gd name="T28" fmla="*/ 207 w 209"/>
                  <a:gd name="T29" fmla="*/ 151 h 213"/>
                  <a:gd name="T30" fmla="*/ 205 w 209"/>
                  <a:gd name="T31" fmla="*/ 158 h 213"/>
                  <a:gd name="T32" fmla="*/ 207 w 209"/>
                  <a:gd name="T33" fmla="*/ 165 h 213"/>
                  <a:gd name="T34" fmla="*/ 204 w 209"/>
                  <a:gd name="T35" fmla="*/ 170 h 213"/>
                  <a:gd name="T36" fmla="*/ 199 w 209"/>
                  <a:gd name="T37" fmla="*/ 182 h 213"/>
                  <a:gd name="T38" fmla="*/ 197 w 209"/>
                  <a:gd name="T39" fmla="*/ 190 h 213"/>
                  <a:gd name="T40" fmla="*/ 199 w 209"/>
                  <a:gd name="T41" fmla="*/ 202 h 213"/>
                  <a:gd name="T42" fmla="*/ 200 w 209"/>
                  <a:gd name="T43" fmla="*/ 213 h 213"/>
                  <a:gd name="T44" fmla="*/ 185 w 209"/>
                  <a:gd name="T45" fmla="*/ 209 h 213"/>
                  <a:gd name="T46" fmla="*/ 154 w 209"/>
                  <a:gd name="T47" fmla="*/ 197 h 213"/>
                  <a:gd name="T48" fmla="*/ 132 w 209"/>
                  <a:gd name="T49" fmla="*/ 184 h 213"/>
                  <a:gd name="T50" fmla="*/ 112 w 209"/>
                  <a:gd name="T51" fmla="*/ 173 h 213"/>
                  <a:gd name="T52" fmla="*/ 97 w 209"/>
                  <a:gd name="T53" fmla="*/ 156 h 213"/>
                  <a:gd name="T54" fmla="*/ 66 w 209"/>
                  <a:gd name="T55" fmla="*/ 131 h 213"/>
                  <a:gd name="T56" fmla="*/ 34 w 209"/>
                  <a:gd name="T57" fmla="*/ 114 h 213"/>
                  <a:gd name="T58" fmla="*/ 32 w 209"/>
                  <a:gd name="T59" fmla="*/ 105 h 213"/>
                  <a:gd name="T60" fmla="*/ 8 w 209"/>
                  <a:gd name="T61" fmla="*/ 92 h 213"/>
                  <a:gd name="T62" fmla="*/ 13 w 209"/>
                  <a:gd name="T63" fmla="*/ 90 h 213"/>
                  <a:gd name="T64" fmla="*/ 3 w 209"/>
                  <a:gd name="T65" fmla="*/ 82 h 213"/>
                  <a:gd name="T66" fmla="*/ 8 w 209"/>
                  <a:gd name="T67" fmla="*/ 71 h 213"/>
                  <a:gd name="T68" fmla="*/ 15 w 209"/>
                  <a:gd name="T69" fmla="*/ 66 h 213"/>
                  <a:gd name="T70" fmla="*/ 29 w 209"/>
                  <a:gd name="T71" fmla="*/ 54 h 213"/>
                  <a:gd name="T72" fmla="*/ 37 w 209"/>
                  <a:gd name="T73" fmla="*/ 46 h 213"/>
                  <a:gd name="T74" fmla="*/ 51 w 209"/>
                  <a:gd name="T75" fmla="*/ 20 h 213"/>
                  <a:gd name="T76" fmla="*/ 59 w 209"/>
                  <a:gd name="T77" fmla="*/ 14 h 213"/>
                  <a:gd name="T78" fmla="*/ 69 w 209"/>
                  <a:gd name="T79" fmla="*/ 2 h 213"/>
                  <a:gd name="T80" fmla="*/ 80 w 209"/>
                  <a:gd name="T81" fmla="*/ 3 h 213"/>
                  <a:gd name="T82" fmla="*/ 88 w 209"/>
                  <a:gd name="T83" fmla="*/ 0 h 213"/>
                  <a:gd name="T84" fmla="*/ 92 w 209"/>
                  <a:gd name="T85" fmla="*/ 3 h 213"/>
                  <a:gd name="T86" fmla="*/ 97 w 209"/>
                  <a:gd name="T87" fmla="*/ 7 h 213"/>
                  <a:gd name="T88" fmla="*/ 100 w 209"/>
                  <a:gd name="T89" fmla="*/ 15 h 213"/>
                  <a:gd name="T90" fmla="*/ 105 w 209"/>
                  <a:gd name="T91" fmla="*/ 25 h 213"/>
                  <a:gd name="T92" fmla="*/ 107 w 209"/>
                  <a:gd name="T93" fmla="*/ 46 h 213"/>
                  <a:gd name="T94" fmla="*/ 105 w 209"/>
                  <a:gd name="T95" fmla="*/ 59 h 213"/>
                  <a:gd name="T96" fmla="*/ 115 w 209"/>
                  <a:gd name="T97" fmla="*/ 63 h 213"/>
                  <a:gd name="T98" fmla="*/ 122 w 209"/>
                  <a:gd name="T99" fmla="*/ 68 h 213"/>
                  <a:gd name="T100" fmla="*/ 131 w 209"/>
                  <a:gd name="T101" fmla="*/ 66 h 213"/>
                  <a:gd name="T102" fmla="*/ 137 w 209"/>
                  <a:gd name="T103" fmla="*/ 58 h 213"/>
                  <a:gd name="T104" fmla="*/ 143 w 209"/>
                  <a:gd name="T105" fmla="*/ 4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9" h="213">
                    <a:moveTo>
                      <a:pt x="156" y="54"/>
                    </a:moveTo>
                    <a:lnTo>
                      <a:pt x="156" y="63"/>
                    </a:lnTo>
                    <a:lnTo>
                      <a:pt x="160" y="65"/>
                    </a:lnTo>
                    <a:lnTo>
                      <a:pt x="158" y="66"/>
                    </a:lnTo>
                    <a:lnTo>
                      <a:pt x="160" y="68"/>
                    </a:lnTo>
                    <a:lnTo>
                      <a:pt x="163" y="70"/>
                    </a:lnTo>
                    <a:lnTo>
                      <a:pt x="161" y="75"/>
                    </a:lnTo>
                    <a:lnTo>
                      <a:pt x="161" y="78"/>
                    </a:lnTo>
                    <a:lnTo>
                      <a:pt x="163" y="78"/>
                    </a:lnTo>
                    <a:lnTo>
                      <a:pt x="163" y="80"/>
                    </a:lnTo>
                    <a:lnTo>
                      <a:pt x="160" y="80"/>
                    </a:lnTo>
                    <a:lnTo>
                      <a:pt x="161" y="83"/>
                    </a:lnTo>
                    <a:lnTo>
                      <a:pt x="160" y="85"/>
                    </a:lnTo>
                    <a:lnTo>
                      <a:pt x="161" y="87"/>
                    </a:lnTo>
                    <a:lnTo>
                      <a:pt x="161" y="85"/>
                    </a:lnTo>
                    <a:lnTo>
                      <a:pt x="160" y="87"/>
                    </a:lnTo>
                    <a:lnTo>
                      <a:pt x="161" y="88"/>
                    </a:lnTo>
                    <a:lnTo>
                      <a:pt x="160" y="88"/>
                    </a:lnTo>
                    <a:lnTo>
                      <a:pt x="160" y="92"/>
                    </a:lnTo>
                    <a:lnTo>
                      <a:pt x="158" y="90"/>
                    </a:lnTo>
                    <a:lnTo>
                      <a:pt x="158" y="92"/>
                    </a:lnTo>
                    <a:lnTo>
                      <a:pt x="158" y="93"/>
                    </a:lnTo>
                    <a:lnTo>
                      <a:pt x="156" y="93"/>
                    </a:lnTo>
                    <a:lnTo>
                      <a:pt x="156" y="95"/>
                    </a:lnTo>
                    <a:lnTo>
                      <a:pt x="154" y="95"/>
                    </a:lnTo>
                    <a:lnTo>
                      <a:pt x="154" y="97"/>
                    </a:lnTo>
                    <a:lnTo>
                      <a:pt x="154" y="95"/>
                    </a:lnTo>
                    <a:lnTo>
                      <a:pt x="154" y="97"/>
                    </a:lnTo>
                    <a:lnTo>
                      <a:pt x="153" y="97"/>
                    </a:lnTo>
                    <a:lnTo>
                      <a:pt x="153" y="99"/>
                    </a:lnTo>
                    <a:lnTo>
                      <a:pt x="151" y="99"/>
                    </a:lnTo>
                    <a:lnTo>
                      <a:pt x="149" y="99"/>
                    </a:lnTo>
                    <a:lnTo>
                      <a:pt x="149" y="100"/>
                    </a:lnTo>
                    <a:lnTo>
                      <a:pt x="148" y="100"/>
                    </a:lnTo>
                    <a:lnTo>
                      <a:pt x="148" y="104"/>
                    </a:lnTo>
                    <a:lnTo>
                      <a:pt x="146" y="104"/>
                    </a:lnTo>
                    <a:lnTo>
                      <a:pt x="148" y="104"/>
                    </a:lnTo>
                    <a:lnTo>
                      <a:pt x="153" y="107"/>
                    </a:lnTo>
                    <a:lnTo>
                      <a:pt x="153" y="105"/>
                    </a:lnTo>
                    <a:lnTo>
                      <a:pt x="154" y="105"/>
                    </a:lnTo>
                    <a:lnTo>
                      <a:pt x="156" y="107"/>
                    </a:lnTo>
                    <a:lnTo>
                      <a:pt x="158" y="111"/>
                    </a:lnTo>
                    <a:lnTo>
                      <a:pt x="156" y="111"/>
                    </a:lnTo>
                    <a:lnTo>
                      <a:pt x="156" y="112"/>
                    </a:lnTo>
                    <a:lnTo>
                      <a:pt x="160" y="111"/>
                    </a:lnTo>
                    <a:lnTo>
                      <a:pt x="161" y="112"/>
                    </a:lnTo>
                    <a:lnTo>
                      <a:pt x="163" y="112"/>
                    </a:lnTo>
                    <a:lnTo>
                      <a:pt x="163" y="114"/>
                    </a:lnTo>
                    <a:lnTo>
                      <a:pt x="166" y="114"/>
                    </a:lnTo>
                    <a:lnTo>
                      <a:pt x="168" y="116"/>
                    </a:lnTo>
                    <a:lnTo>
                      <a:pt x="177" y="114"/>
                    </a:lnTo>
                    <a:lnTo>
                      <a:pt x="178" y="114"/>
                    </a:lnTo>
                    <a:lnTo>
                      <a:pt x="178" y="116"/>
                    </a:lnTo>
                    <a:lnTo>
                      <a:pt x="180" y="114"/>
                    </a:lnTo>
                    <a:lnTo>
                      <a:pt x="180" y="116"/>
                    </a:lnTo>
                    <a:lnTo>
                      <a:pt x="180" y="114"/>
                    </a:lnTo>
                    <a:lnTo>
                      <a:pt x="182" y="116"/>
                    </a:lnTo>
                    <a:lnTo>
                      <a:pt x="185" y="119"/>
                    </a:lnTo>
                    <a:lnTo>
                      <a:pt x="185" y="121"/>
                    </a:lnTo>
                    <a:lnTo>
                      <a:pt x="185" y="122"/>
                    </a:lnTo>
                    <a:lnTo>
                      <a:pt x="183" y="124"/>
                    </a:lnTo>
                    <a:lnTo>
                      <a:pt x="185" y="126"/>
                    </a:lnTo>
                    <a:lnTo>
                      <a:pt x="185" y="124"/>
                    </a:lnTo>
                    <a:lnTo>
                      <a:pt x="187" y="126"/>
                    </a:lnTo>
                    <a:lnTo>
                      <a:pt x="188" y="128"/>
                    </a:lnTo>
                    <a:lnTo>
                      <a:pt x="187" y="129"/>
                    </a:lnTo>
                    <a:lnTo>
                      <a:pt x="188" y="131"/>
                    </a:lnTo>
                    <a:lnTo>
                      <a:pt x="188" y="133"/>
                    </a:lnTo>
                    <a:lnTo>
                      <a:pt x="192" y="134"/>
                    </a:lnTo>
                    <a:lnTo>
                      <a:pt x="194" y="134"/>
                    </a:lnTo>
                    <a:lnTo>
                      <a:pt x="192" y="133"/>
                    </a:lnTo>
                    <a:lnTo>
                      <a:pt x="194" y="133"/>
                    </a:lnTo>
                    <a:lnTo>
                      <a:pt x="194" y="134"/>
                    </a:lnTo>
                    <a:lnTo>
                      <a:pt x="197" y="134"/>
                    </a:lnTo>
                    <a:lnTo>
                      <a:pt x="197" y="136"/>
                    </a:lnTo>
                    <a:lnTo>
                      <a:pt x="199" y="134"/>
                    </a:lnTo>
                    <a:lnTo>
                      <a:pt x="199" y="136"/>
                    </a:lnTo>
                    <a:lnTo>
                      <a:pt x="200" y="138"/>
                    </a:lnTo>
                    <a:lnTo>
                      <a:pt x="200" y="136"/>
                    </a:lnTo>
                    <a:lnTo>
                      <a:pt x="202" y="138"/>
                    </a:lnTo>
                    <a:lnTo>
                      <a:pt x="200" y="138"/>
                    </a:lnTo>
                    <a:lnTo>
                      <a:pt x="204" y="139"/>
                    </a:lnTo>
                    <a:lnTo>
                      <a:pt x="204" y="136"/>
                    </a:lnTo>
                    <a:lnTo>
                      <a:pt x="205" y="138"/>
                    </a:lnTo>
                    <a:lnTo>
                      <a:pt x="205" y="139"/>
                    </a:lnTo>
                    <a:lnTo>
                      <a:pt x="205" y="141"/>
                    </a:lnTo>
                    <a:lnTo>
                      <a:pt x="207" y="148"/>
                    </a:lnTo>
                    <a:lnTo>
                      <a:pt x="209" y="148"/>
                    </a:lnTo>
                    <a:lnTo>
                      <a:pt x="209" y="151"/>
                    </a:lnTo>
                    <a:lnTo>
                      <a:pt x="207" y="151"/>
                    </a:lnTo>
                    <a:lnTo>
                      <a:pt x="207" y="153"/>
                    </a:lnTo>
                    <a:lnTo>
                      <a:pt x="209" y="153"/>
                    </a:lnTo>
                    <a:lnTo>
                      <a:pt x="207" y="153"/>
                    </a:lnTo>
                    <a:lnTo>
                      <a:pt x="207" y="155"/>
                    </a:lnTo>
                    <a:lnTo>
                      <a:pt x="205" y="156"/>
                    </a:lnTo>
                    <a:lnTo>
                      <a:pt x="205" y="158"/>
                    </a:lnTo>
                    <a:lnTo>
                      <a:pt x="204" y="158"/>
                    </a:lnTo>
                    <a:lnTo>
                      <a:pt x="207" y="162"/>
                    </a:lnTo>
                    <a:lnTo>
                      <a:pt x="209" y="160"/>
                    </a:lnTo>
                    <a:lnTo>
                      <a:pt x="207" y="163"/>
                    </a:lnTo>
                    <a:lnTo>
                      <a:pt x="209" y="163"/>
                    </a:lnTo>
                    <a:lnTo>
                      <a:pt x="207" y="165"/>
                    </a:lnTo>
                    <a:lnTo>
                      <a:pt x="205" y="167"/>
                    </a:lnTo>
                    <a:lnTo>
                      <a:pt x="207" y="165"/>
                    </a:lnTo>
                    <a:lnTo>
                      <a:pt x="204" y="167"/>
                    </a:lnTo>
                    <a:lnTo>
                      <a:pt x="204" y="168"/>
                    </a:lnTo>
                    <a:lnTo>
                      <a:pt x="202" y="168"/>
                    </a:lnTo>
                    <a:lnTo>
                      <a:pt x="204" y="170"/>
                    </a:lnTo>
                    <a:lnTo>
                      <a:pt x="204" y="173"/>
                    </a:lnTo>
                    <a:lnTo>
                      <a:pt x="202" y="175"/>
                    </a:lnTo>
                    <a:lnTo>
                      <a:pt x="200" y="175"/>
                    </a:lnTo>
                    <a:lnTo>
                      <a:pt x="199" y="177"/>
                    </a:lnTo>
                    <a:lnTo>
                      <a:pt x="200" y="180"/>
                    </a:lnTo>
                    <a:lnTo>
                      <a:pt x="199" y="182"/>
                    </a:lnTo>
                    <a:lnTo>
                      <a:pt x="200" y="182"/>
                    </a:lnTo>
                    <a:lnTo>
                      <a:pt x="200" y="184"/>
                    </a:lnTo>
                    <a:lnTo>
                      <a:pt x="199" y="184"/>
                    </a:lnTo>
                    <a:lnTo>
                      <a:pt x="197" y="185"/>
                    </a:lnTo>
                    <a:lnTo>
                      <a:pt x="199" y="189"/>
                    </a:lnTo>
                    <a:lnTo>
                      <a:pt x="197" y="190"/>
                    </a:lnTo>
                    <a:lnTo>
                      <a:pt x="199" y="190"/>
                    </a:lnTo>
                    <a:lnTo>
                      <a:pt x="199" y="196"/>
                    </a:lnTo>
                    <a:lnTo>
                      <a:pt x="199" y="197"/>
                    </a:lnTo>
                    <a:lnTo>
                      <a:pt x="200" y="201"/>
                    </a:lnTo>
                    <a:lnTo>
                      <a:pt x="199" y="201"/>
                    </a:lnTo>
                    <a:lnTo>
                      <a:pt x="199" y="202"/>
                    </a:lnTo>
                    <a:lnTo>
                      <a:pt x="199" y="204"/>
                    </a:lnTo>
                    <a:lnTo>
                      <a:pt x="199" y="206"/>
                    </a:lnTo>
                    <a:lnTo>
                      <a:pt x="199" y="207"/>
                    </a:lnTo>
                    <a:lnTo>
                      <a:pt x="200" y="209"/>
                    </a:lnTo>
                    <a:lnTo>
                      <a:pt x="199" y="211"/>
                    </a:lnTo>
                    <a:lnTo>
                      <a:pt x="200" y="213"/>
                    </a:lnTo>
                    <a:lnTo>
                      <a:pt x="195" y="213"/>
                    </a:lnTo>
                    <a:lnTo>
                      <a:pt x="190" y="213"/>
                    </a:lnTo>
                    <a:lnTo>
                      <a:pt x="190" y="211"/>
                    </a:lnTo>
                    <a:lnTo>
                      <a:pt x="188" y="211"/>
                    </a:lnTo>
                    <a:lnTo>
                      <a:pt x="187" y="211"/>
                    </a:lnTo>
                    <a:lnTo>
                      <a:pt x="185" y="209"/>
                    </a:lnTo>
                    <a:lnTo>
                      <a:pt x="187" y="209"/>
                    </a:lnTo>
                    <a:lnTo>
                      <a:pt x="185" y="207"/>
                    </a:lnTo>
                    <a:lnTo>
                      <a:pt x="180" y="206"/>
                    </a:lnTo>
                    <a:lnTo>
                      <a:pt x="165" y="202"/>
                    </a:lnTo>
                    <a:lnTo>
                      <a:pt x="160" y="199"/>
                    </a:lnTo>
                    <a:lnTo>
                      <a:pt x="154" y="197"/>
                    </a:lnTo>
                    <a:lnTo>
                      <a:pt x="151" y="194"/>
                    </a:lnTo>
                    <a:lnTo>
                      <a:pt x="146" y="192"/>
                    </a:lnTo>
                    <a:lnTo>
                      <a:pt x="141" y="190"/>
                    </a:lnTo>
                    <a:lnTo>
                      <a:pt x="139" y="189"/>
                    </a:lnTo>
                    <a:lnTo>
                      <a:pt x="136" y="187"/>
                    </a:lnTo>
                    <a:lnTo>
                      <a:pt x="132" y="184"/>
                    </a:lnTo>
                    <a:lnTo>
                      <a:pt x="124" y="182"/>
                    </a:lnTo>
                    <a:lnTo>
                      <a:pt x="124" y="180"/>
                    </a:lnTo>
                    <a:lnTo>
                      <a:pt x="120" y="179"/>
                    </a:lnTo>
                    <a:lnTo>
                      <a:pt x="120" y="177"/>
                    </a:lnTo>
                    <a:lnTo>
                      <a:pt x="115" y="175"/>
                    </a:lnTo>
                    <a:lnTo>
                      <a:pt x="112" y="173"/>
                    </a:lnTo>
                    <a:lnTo>
                      <a:pt x="112" y="172"/>
                    </a:lnTo>
                    <a:lnTo>
                      <a:pt x="107" y="168"/>
                    </a:lnTo>
                    <a:lnTo>
                      <a:pt x="103" y="165"/>
                    </a:lnTo>
                    <a:lnTo>
                      <a:pt x="100" y="162"/>
                    </a:lnTo>
                    <a:lnTo>
                      <a:pt x="97" y="158"/>
                    </a:lnTo>
                    <a:lnTo>
                      <a:pt x="97" y="156"/>
                    </a:lnTo>
                    <a:lnTo>
                      <a:pt x="86" y="150"/>
                    </a:lnTo>
                    <a:lnTo>
                      <a:pt x="83" y="145"/>
                    </a:lnTo>
                    <a:lnTo>
                      <a:pt x="73" y="136"/>
                    </a:lnTo>
                    <a:lnTo>
                      <a:pt x="73" y="134"/>
                    </a:lnTo>
                    <a:lnTo>
                      <a:pt x="71" y="134"/>
                    </a:lnTo>
                    <a:lnTo>
                      <a:pt x="66" y="131"/>
                    </a:lnTo>
                    <a:lnTo>
                      <a:pt x="63" y="128"/>
                    </a:lnTo>
                    <a:lnTo>
                      <a:pt x="58" y="124"/>
                    </a:lnTo>
                    <a:lnTo>
                      <a:pt x="56" y="122"/>
                    </a:lnTo>
                    <a:lnTo>
                      <a:pt x="41" y="117"/>
                    </a:lnTo>
                    <a:lnTo>
                      <a:pt x="39" y="117"/>
                    </a:lnTo>
                    <a:lnTo>
                      <a:pt x="34" y="114"/>
                    </a:lnTo>
                    <a:lnTo>
                      <a:pt x="34" y="112"/>
                    </a:lnTo>
                    <a:lnTo>
                      <a:pt x="35" y="112"/>
                    </a:lnTo>
                    <a:lnTo>
                      <a:pt x="34" y="112"/>
                    </a:lnTo>
                    <a:lnTo>
                      <a:pt x="35" y="111"/>
                    </a:lnTo>
                    <a:lnTo>
                      <a:pt x="34" y="109"/>
                    </a:lnTo>
                    <a:lnTo>
                      <a:pt x="32" y="105"/>
                    </a:lnTo>
                    <a:lnTo>
                      <a:pt x="25" y="102"/>
                    </a:lnTo>
                    <a:lnTo>
                      <a:pt x="7" y="93"/>
                    </a:lnTo>
                    <a:lnTo>
                      <a:pt x="5" y="92"/>
                    </a:lnTo>
                    <a:lnTo>
                      <a:pt x="7" y="90"/>
                    </a:lnTo>
                    <a:lnTo>
                      <a:pt x="7" y="92"/>
                    </a:lnTo>
                    <a:lnTo>
                      <a:pt x="8" y="92"/>
                    </a:lnTo>
                    <a:lnTo>
                      <a:pt x="13" y="95"/>
                    </a:lnTo>
                    <a:lnTo>
                      <a:pt x="15" y="95"/>
                    </a:lnTo>
                    <a:lnTo>
                      <a:pt x="15" y="93"/>
                    </a:lnTo>
                    <a:lnTo>
                      <a:pt x="13" y="92"/>
                    </a:lnTo>
                    <a:lnTo>
                      <a:pt x="15" y="92"/>
                    </a:lnTo>
                    <a:lnTo>
                      <a:pt x="13" y="90"/>
                    </a:lnTo>
                    <a:lnTo>
                      <a:pt x="8" y="92"/>
                    </a:lnTo>
                    <a:lnTo>
                      <a:pt x="7" y="90"/>
                    </a:lnTo>
                    <a:lnTo>
                      <a:pt x="5" y="87"/>
                    </a:lnTo>
                    <a:lnTo>
                      <a:pt x="0" y="83"/>
                    </a:lnTo>
                    <a:lnTo>
                      <a:pt x="1" y="83"/>
                    </a:lnTo>
                    <a:lnTo>
                      <a:pt x="3" y="82"/>
                    </a:lnTo>
                    <a:lnTo>
                      <a:pt x="3" y="80"/>
                    </a:lnTo>
                    <a:lnTo>
                      <a:pt x="7" y="78"/>
                    </a:lnTo>
                    <a:lnTo>
                      <a:pt x="7" y="75"/>
                    </a:lnTo>
                    <a:lnTo>
                      <a:pt x="8" y="75"/>
                    </a:lnTo>
                    <a:lnTo>
                      <a:pt x="7" y="71"/>
                    </a:lnTo>
                    <a:lnTo>
                      <a:pt x="8" y="71"/>
                    </a:lnTo>
                    <a:lnTo>
                      <a:pt x="8" y="68"/>
                    </a:lnTo>
                    <a:lnTo>
                      <a:pt x="10" y="70"/>
                    </a:lnTo>
                    <a:lnTo>
                      <a:pt x="12" y="66"/>
                    </a:lnTo>
                    <a:lnTo>
                      <a:pt x="12" y="68"/>
                    </a:lnTo>
                    <a:lnTo>
                      <a:pt x="13" y="66"/>
                    </a:lnTo>
                    <a:lnTo>
                      <a:pt x="15" y="66"/>
                    </a:lnTo>
                    <a:lnTo>
                      <a:pt x="17" y="63"/>
                    </a:lnTo>
                    <a:lnTo>
                      <a:pt x="17" y="61"/>
                    </a:lnTo>
                    <a:lnTo>
                      <a:pt x="20" y="59"/>
                    </a:lnTo>
                    <a:lnTo>
                      <a:pt x="22" y="58"/>
                    </a:lnTo>
                    <a:lnTo>
                      <a:pt x="29" y="53"/>
                    </a:lnTo>
                    <a:lnTo>
                      <a:pt x="29" y="54"/>
                    </a:lnTo>
                    <a:lnTo>
                      <a:pt x="32" y="51"/>
                    </a:lnTo>
                    <a:lnTo>
                      <a:pt x="34" y="51"/>
                    </a:lnTo>
                    <a:lnTo>
                      <a:pt x="34" y="49"/>
                    </a:lnTo>
                    <a:lnTo>
                      <a:pt x="35" y="48"/>
                    </a:lnTo>
                    <a:lnTo>
                      <a:pt x="35" y="46"/>
                    </a:lnTo>
                    <a:lnTo>
                      <a:pt x="37" y="46"/>
                    </a:lnTo>
                    <a:lnTo>
                      <a:pt x="41" y="41"/>
                    </a:lnTo>
                    <a:lnTo>
                      <a:pt x="42" y="41"/>
                    </a:lnTo>
                    <a:lnTo>
                      <a:pt x="46" y="39"/>
                    </a:lnTo>
                    <a:lnTo>
                      <a:pt x="44" y="25"/>
                    </a:lnTo>
                    <a:lnTo>
                      <a:pt x="46" y="25"/>
                    </a:lnTo>
                    <a:lnTo>
                      <a:pt x="51" y="20"/>
                    </a:lnTo>
                    <a:lnTo>
                      <a:pt x="52" y="20"/>
                    </a:lnTo>
                    <a:lnTo>
                      <a:pt x="56" y="20"/>
                    </a:lnTo>
                    <a:lnTo>
                      <a:pt x="58" y="20"/>
                    </a:lnTo>
                    <a:lnTo>
                      <a:pt x="59" y="19"/>
                    </a:lnTo>
                    <a:lnTo>
                      <a:pt x="61" y="17"/>
                    </a:lnTo>
                    <a:lnTo>
                      <a:pt x="59" y="14"/>
                    </a:lnTo>
                    <a:lnTo>
                      <a:pt x="61" y="14"/>
                    </a:lnTo>
                    <a:lnTo>
                      <a:pt x="61" y="12"/>
                    </a:lnTo>
                    <a:lnTo>
                      <a:pt x="61" y="3"/>
                    </a:lnTo>
                    <a:lnTo>
                      <a:pt x="64" y="3"/>
                    </a:lnTo>
                    <a:lnTo>
                      <a:pt x="68" y="2"/>
                    </a:lnTo>
                    <a:lnTo>
                      <a:pt x="69" y="2"/>
                    </a:lnTo>
                    <a:lnTo>
                      <a:pt x="71" y="2"/>
                    </a:lnTo>
                    <a:lnTo>
                      <a:pt x="73" y="3"/>
                    </a:lnTo>
                    <a:lnTo>
                      <a:pt x="73" y="5"/>
                    </a:lnTo>
                    <a:lnTo>
                      <a:pt x="73" y="7"/>
                    </a:lnTo>
                    <a:lnTo>
                      <a:pt x="76" y="5"/>
                    </a:lnTo>
                    <a:lnTo>
                      <a:pt x="80" y="3"/>
                    </a:lnTo>
                    <a:lnTo>
                      <a:pt x="83" y="3"/>
                    </a:lnTo>
                    <a:lnTo>
                      <a:pt x="85" y="3"/>
                    </a:lnTo>
                    <a:lnTo>
                      <a:pt x="86" y="2"/>
                    </a:lnTo>
                    <a:lnTo>
                      <a:pt x="85" y="2"/>
                    </a:lnTo>
                    <a:lnTo>
                      <a:pt x="86" y="0"/>
                    </a:lnTo>
                    <a:lnTo>
                      <a:pt x="88" y="0"/>
                    </a:lnTo>
                    <a:lnTo>
                      <a:pt x="88" y="3"/>
                    </a:lnTo>
                    <a:lnTo>
                      <a:pt x="90" y="5"/>
                    </a:lnTo>
                    <a:lnTo>
                      <a:pt x="90" y="7"/>
                    </a:lnTo>
                    <a:lnTo>
                      <a:pt x="90" y="5"/>
                    </a:lnTo>
                    <a:lnTo>
                      <a:pt x="90" y="3"/>
                    </a:lnTo>
                    <a:lnTo>
                      <a:pt x="92" y="3"/>
                    </a:lnTo>
                    <a:lnTo>
                      <a:pt x="93" y="5"/>
                    </a:lnTo>
                    <a:lnTo>
                      <a:pt x="95" y="5"/>
                    </a:lnTo>
                    <a:lnTo>
                      <a:pt x="93" y="7"/>
                    </a:lnTo>
                    <a:lnTo>
                      <a:pt x="93" y="8"/>
                    </a:lnTo>
                    <a:lnTo>
                      <a:pt x="95" y="8"/>
                    </a:lnTo>
                    <a:lnTo>
                      <a:pt x="97" y="7"/>
                    </a:lnTo>
                    <a:lnTo>
                      <a:pt x="98" y="8"/>
                    </a:lnTo>
                    <a:lnTo>
                      <a:pt x="100" y="8"/>
                    </a:lnTo>
                    <a:lnTo>
                      <a:pt x="102" y="10"/>
                    </a:lnTo>
                    <a:lnTo>
                      <a:pt x="100" y="12"/>
                    </a:lnTo>
                    <a:lnTo>
                      <a:pt x="102" y="15"/>
                    </a:lnTo>
                    <a:lnTo>
                      <a:pt x="100" y="15"/>
                    </a:lnTo>
                    <a:lnTo>
                      <a:pt x="100" y="19"/>
                    </a:lnTo>
                    <a:lnTo>
                      <a:pt x="102" y="19"/>
                    </a:lnTo>
                    <a:lnTo>
                      <a:pt x="103" y="22"/>
                    </a:lnTo>
                    <a:lnTo>
                      <a:pt x="103" y="24"/>
                    </a:lnTo>
                    <a:lnTo>
                      <a:pt x="103" y="25"/>
                    </a:lnTo>
                    <a:lnTo>
                      <a:pt x="105" y="25"/>
                    </a:lnTo>
                    <a:lnTo>
                      <a:pt x="105" y="27"/>
                    </a:lnTo>
                    <a:lnTo>
                      <a:pt x="105" y="29"/>
                    </a:lnTo>
                    <a:lnTo>
                      <a:pt x="103" y="31"/>
                    </a:lnTo>
                    <a:lnTo>
                      <a:pt x="103" y="34"/>
                    </a:lnTo>
                    <a:lnTo>
                      <a:pt x="109" y="41"/>
                    </a:lnTo>
                    <a:lnTo>
                      <a:pt x="107" y="46"/>
                    </a:lnTo>
                    <a:lnTo>
                      <a:pt x="109" y="48"/>
                    </a:lnTo>
                    <a:lnTo>
                      <a:pt x="105" y="54"/>
                    </a:lnTo>
                    <a:lnTo>
                      <a:pt x="102" y="58"/>
                    </a:lnTo>
                    <a:lnTo>
                      <a:pt x="102" y="59"/>
                    </a:lnTo>
                    <a:lnTo>
                      <a:pt x="105" y="58"/>
                    </a:lnTo>
                    <a:lnTo>
                      <a:pt x="105" y="59"/>
                    </a:lnTo>
                    <a:lnTo>
                      <a:pt x="109" y="56"/>
                    </a:lnTo>
                    <a:lnTo>
                      <a:pt x="112" y="58"/>
                    </a:lnTo>
                    <a:lnTo>
                      <a:pt x="112" y="59"/>
                    </a:lnTo>
                    <a:lnTo>
                      <a:pt x="114" y="59"/>
                    </a:lnTo>
                    <a:lnTo>
                      <a:pt x="115" y="59"/>
                    </a:lnTo>
                    <a:lnTo>
                      <a:pt x="115" y="63"/>
                    </a:lnTo>
                    <a:lnTo>
                      <a:pt x="117" y="65"/>
                    </a:lnTo>
                    <a:lnTo>
                      <a:pt x="120" y="65"/>
                    </a:lnTo>
                    <a:lnTo>
                      <a:pt x="120" y="66"/>
                    </a:lnTo>
                    <a:lnTo>
                      <a:pt x="120" y="70"/>
                    </a:lnTo>
                    <a:lnTo>
                      <a:pt x="120" y="68"/>
                    </a:lnTo>
                    <a:lnTo>
                      <a:pt x="122" y="68"/>
                    </a:lnTo>
                    <a:lnTo>
                      <a:pt x="126" y="66"/>
                    </a:lnTo>
                    <a:lnTo>
                      <a:pt x="127" y="66"/>
                    </a:lnTo>
                    <a:lnTo>
                      <a:pt x="127" y="65"/>
                    </a:lnTo>
                    <a:lnTo>
                      <a:pt x="129" y="65"/>
                    </a:lnTo>
                    <a:lnTo>
                      <a:pt x="131" y="65"/>
                    </a:lnTo>
                    <a:lnTo>
                      <a:pt x="131" y="66"/>
                    </a:lnTo>
                    <a:lnTo>
                      <a:pt x="134" y="66"/>
                    </a:lnTo>
                    <a:lnTo>
                      <a:pt x="134" y="65"/>
                    </a:lnTo>
                    <a:lnTo>
                      <a:pt x="134" y="63"/>
                    </a:lnTo>
                    <a:lnTo>
                      <a:pt x="134" y="61"/>
                    </a:lnTo>
                    <a:lnTo>
                      <a:pt x="136" y="58"/>
                    </a:lnTo>
                    <a:lnTo>
                      <a:pt x="137" y="58"/>
                    </a:lnTo>
                    <a:lnTo>
                      <a:pt x="137" y="56"/>
                    </a:lnTo>
                    <a:lnTo>
                      <a:pt x="141" y="53"/>
                    </a:lnTo>
                    <a:lnTo>
                      <a:pt x="141" y="51"/>
                    </a:lnTo>
                    <a:lnTo>
                      <a:pt x="141" y="48"/>
                    </a:lnTo>
                    <a:lnTo>
                      <a:pt x="141" y="46"/>
                    </a:lnTo>
                    <a:lnTo>
                      <a:pt x="143" y="44"/>
                    </a:lnTo>
                    <a:lnTo>
                      <a:pt x="149" y="42"/>
                    </a:lnTo>
                    <a:lnTo>
                      <a:pt x="149" y="48"/>
                    </a:lnTo>
                    <a:lnTo>
                      <a:pt x="151" y="49"/>
                    </a:lnTo>
                    <a:lnTo>
                      <a:pt x="151" y="53"/>
                    </a:lnTo>
                    <a:lnTo>
                      <a:pt x="156" y="54"/>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41" name="Freeform 37">
                <a:extLst>
                  <a:ext uri="{FF2B5EF4-FFF2-40B4-BE49-F238E27FC236}">
                    <a16:creationId xmlns:a16="http://schemas.microsoft.com/office/drawing/2014/main" id="{66F30C0E-CD7E-40C9-A2D0-25B81C987D90}"/>
                  </a:ext>
                </a:extLst>
              </p:cNvPr>
              <p:cNvSpPr>
                <a:spLocks/>
              </p:cNvSpPr>
              <p:nvPr/>
            </p:nvSpPr>
            <p:spPr bwMode="gray">
              <a:xfrm>
                <a:off x="5330825" y="785813"/>
                <a:ext cx="1265237" cy="1098550"/>
              </a:xfrm>
              <a:custGeom>
                <a:avLst/>
                <a:gdLst>
                  <a:gd name="T0" fmla="*/ 784 w 797"/>
                  <a:gd name="T1" fmla="*/ 89 h 692"/>
                  <a:gd name="T2" fmla="*/ 789 w 797"/>
                  <a:gd name="T3" fmla="*/ 128 h 692"/>
                  <a:gd name="T4" fmla="*/ 775 w 797"/>
                  <a:gd name="T5" fmla="*/ 153 h 692"/>
                  <a:gd name="T6" fmla="*/ 784 w 797"/>
                  <a:gd name="T7" fmla="*/ 182 h 692"/>
                  <a:gd name="T8" fmla="*/ 791 w 797"/>
                  <a:gd name="T9" fmla="*/ 281 h 692"/>
                  <a:gd name="T10" fmla="*/ 791 w 797"/>
                  <a:gd name="T11" fmla="*/ 567 h 692"/>
                  <a:gd name="T12" fmla="*/ 648 w 797"/>
                  <a:gd name="T13" fmla="*/ 645 h 692"/>
                  <a:gd name="T14" fmla="*/ 490 w 797"/>
                  <a:gd name="T15" fmla="*/ 565 h 692"/>
                  <a:gd name="T16" fmla="*/ 284 w 797"/>
                  <a:gd name="T17" fmla="*/ 515 h 692"/>
                  <a:gd name="T18" fmla="*/ 184 w 797"/>
                  <a:gd name="T19" fmla="*/ 500 h 692"/>
                  <a:gd name="T20" fmla="*/ 85 w 797"/>
                  <a:gd name="T21" fmla="*/ 442 h 692"/>
                  <a:gd name="T22" fmla="*/ 70 w 797"/>
                  <a:gd name="T23" fmla="*/ 439 h 692"/>
                  <a:gd name="T24" fmla="*/ 49 w 797"/>
                  <a:gd name="T25" fmla="*/ 437 h 692"/>
                  <a:gd name="T26" fmla="*/ 32 w 797"/>
                  <a:gd name="T27" fmla="*/ 395 h 692"/>
                  <a:gd name="T28" fmla="*/ 7 w 797"/>
                  <a:gd name="T29" fmla="*/ 344 h 692"/>
                  <a:gd name="T30" fmla="*/ 24 w 797"/>
                  <a:gd name="T31" fmla="*/ 315 h 692"/>
                  <a:gd name="T32" fmla="*/ 22 w 797"/>
                  <a:gd name="T33" fmla="*/ 289 h 692"/>
                  <a:gd name="T34" fmla="*/ 24 w 797"/>
                  <a:gd name="T35" fmla="*/ 282 h 692"/>
                  <a:gd name="T36" fmla="*/ 29 w 797"/>
                  <a:gd name="T37" fmla="*/ 269 h 692"/>
                  <a:gd name="T38" fmla="*/ 20 w 797"/>
                  <a:gd name="T39" fmla="*/ 189 h 692"/>
                  <a:gd name="T40" fmla="*/ 9 w 797"/>
                  <a:gd name="T41" fmla="*/ 148 h 692"/>
                  <a:gd name="T42" fmla="*/ 32 w 797"/>
                  <a:gd name="T43" fmla="*/ 134 h 692"/>
                  <a:gd name="T44" fmla="*/ 44 w 797"/>
                  <a:gd name="T45" fmla="*/ 107 h 692"/>
                  <a:gd name="T46" fmla="*/ 54 w 797"/>
                  <a:gd name="T47" fmla="*/ 73 h 692"/>
                  <a:gd name="T48" fmla="*/ 63 w 797"/>
                  <a:gd name="T49" fmla="*/ 61 h 692"/>
                  <a:gd name="T50" fmla="*/ 80 w 797"/>
                  <a:gd name="T51" fmla="*/ 49 h 692"/>
                  <a:gd name="T52" fmla="*/ 112 w 797"/>
                  <a:gd name="T53" fmla="*/ 31 h 692"/>
                  <a:gd name="T54" fmla="*/ 109 w 797"/>
                  <a:gd name="T55" fmla="*/ 9 h 692"/>
                  <a:gd name="T56" fmla="*/ 121 w 797"/>
                  <a:gd name="T57" fmla="*/ 3 h 692"/>
                  <a:gd name="T58" fmla="*/ 124 w 797"/>
                  <a:gd name="T59" fmla="*/ 3 h 692"/>
                  <a:gd name="T60" fmla="*/ 182 w 797"/>
                  <a:gd name="T61" fmla="*/ 17 h 692"/>
                  <a:gd name="T62" fmla="*/ 194 w 797"/>
                  <a:gd name="T63" fmla="*/ 14 h 692"/>
                  <a:gd name="T64" fmla="*/ 224 w 797"/>
                  <a:gd name="T65" fmla="*/ 19 h 692"/>
                  <a:gd name="T66" fmla="*/ 247 w 797"/>
                  <a:gd name="T67" fmla="*/ 26 h 692"/>
                  <a:gd name="T68" fmla="*/ 279 w 797"/>
                  <a:gd name="T69" fmla="*/ 37 h 692"/>
                  <a:gd name="T70" fmla="*/ 296 w 797"/>
                  <a:gd name="T71" fmla="*/ 41 h 692"/>
                  <a:gd name="T72" fmla="*/ 303 w 797"/>
                  <a:gd name="T73" fmla="*/ 61 h 692"/>
                  <a:gd name="T74" fmla="*/ 342 w 797"/>
                  <a:gd name="T75" fmla="*/ 97 h 692"/>
                  <a:gd name="T76" fmla="*/ 406 w 797"/>
                  <a:gd name="T77" fmla="*/ 106 h 692"/>
                  <a:gd name="T78" fmla="*/ 445 w 797"/>
                  <a:gd name="T79" fmla="*/ 121 h 692"/>
                  <a:gd name="T80" fmla="*/ 466 w 797"/>
                  <a:gd name="T81" fmla="*/ 134 h 692"/>
                  <a:gd name="T82" fmla="*/ 476 w 797"/>
                  <a:gd name="T83" fmla="*/ 141 h 692"/>
                  <a:gd name="T84" fmla="*/ 496 w 797"/>
                  <a:gd name="T85" fmla="*/ 146 h 692"/>
                  <a:gd name="T86" fmla="*/ 527 w 797"/>
                  <a:gd name="T87" fmla="*/ 133 h 692"/>
                  <a:gd name="T88" fmla="*/ 546 w 797"/>
                  <a:gd name="T89" fmla="*/ 97 h 692"/>
                  <a:gd name="T90" fmla="*/ 536 w 797"/>
                  <a:gd name="T91" fmla="*/ 75 h 692"/>
                  <a:gd name="T92" fmla="*/ 541 w 797"/>
                  <a:gd name="T93" fmla="*/ 54 h 692"/>
                  <a:gd name="T94" fmla="*/ 541 w 797"/>
                  <a:gd name="T95" fmla="*/ 54 h 692"/>
                  <a:gd name="T96" fmla="*/ 544 w 797"/>
                  <a:gd name="T97" fmla="*/ 49 h 692"/>
                  <a:gd name="T98" fmla="*/ 609 w 797"/>
                  <a:gd name="T99" fmla="*/ 19 h 692"/>
                  <a:gd name="T100" fmla="*/ 641 w 797"/>
                  <a:gd name="T101" fmla="*/ 14 h 692"/>
                  <a:gd name="T102" fmla="*/ 658 w 797"/>
                  <a:gd name="T103" fmla="*/ 15 h 692"/>
                  <a:gd name="T104" fmla="*/ 680 w 797"/>
                  <a:gd name="T105" fmla="*/ 22 h 692"/>
                  <a:gd name="T106" fmla="*/ 695 w 797"/>
                  <a:gd name="T107" fmla="*/ 32 h 692"/>
                  <a:gd name="T108" fmla="*/ 697 w 797"/>
                  <a:gd name="T109" fmla="*/ 39 h 692"/>
                  <a:gd name="T110" fmla="*/ 704 w 797"/>
                  <a:gd name="T111" fmla="*/ 49 h 692"/>
                  <a:gd name="T112" fmla="*/ 726 w 797"/>
                  <a:gd name="T113" fmla="*/ 49 h 692"/>
                  <a:gd name="T114" fmla="*/ 738 w 797"/>
                  <a:gd name="T115" fmla="*/ 54 h 692"/>
                  <a:gd name="T116" fmla="*/ 760 w 797"/>
                  <a:gd name="T117" fmla="*/ 60 h 692"/>
                  <a:gd name="T118" fmla="*/ 779 w 797"/>
                  <a:gd name="T119" fmla="*/ 58 h 692"/>
                  <a:gd name="T120" fmla="*/ 796 w 797"/>
                  <a:gd name="T121" fmla="*/ 71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7" h="692">
                    <a:moveTo>
                      <a:pt x="797" y="75"/>
                    </a:moveTo>
                    <a:lnTo>
                      <a:pt x="796" y="78"/>
                    </a:lnTo>
                    <a:lnTo>
                      <a:pt x="794" y="82"/>
                    </a:lnTo>
                    <a:lnTo>
                      <a:pt x="791" y="85"/>
                    </a:lnTo>
                    <a:lnTo>
                      <a:pt x="784" y="89"/>
                    </a:lnTo>
                    <a:lnTo>
                      <a:pt x="785" y="95"/>
                    </a:lnTo>
                    <a:lnTo>
                      <a:pt x="785" y="102"/>
                    </a:lnTo>
                    <a:lnTo>
                      <a:pt x="791" y="114"/>
                    </a:lnTo>
                    <a:lnTo>
                      <a:pt x="792" y="121"/>
                    </a:lnTo>
                    <a:lnTo>
                      <a:pt x="789" y="128"/>
                    </a:lnTo>
                    <a:lnTo>
                      <a:pt x="787" y="131"/>
                    </a:lnTo>
                    <a:lnTo>
                      <a:pt x="787" y="134"/>
                    </a:lnTo>
                    <a:lnTo>
                      <a:pt x="784" y="140"/>
                    </a:lnTo>
                    <a:lnTo>
                      <a:pt x="780" y="145"/>
                    </a:lnTo>
                    <a:lnTo>
                      <a:pt x="775" y="153"/>
                    </a:lnTo>
                    <a:lnTo>
                      <a:pt x="779" y="157"/>
                    </a:lnTo>
                    <a:lnTo>
                      <a:pt x="782" y="165"/>
                    </a:lnTo>
                    <a:lnTo>
                      <a:pt x="782" y="172"/>
                    </a:lnTo>
                    <a:lnTo>
                      <a:pt x="785" y="180"/>
                    </a:lnTo>
                    <a:lnTo>
                      <a:pt x="784" y="182"/>
                    </a:lnTo>
                    <a:lnTo>
                      <a:pt x="784" y="185"/>
                    </a:lnTo>
                    <a:lnTo>
                      <a:pt x="791" y="197"/>
                    </a:lnTo>
                    <a:lnTo>
                      <a:pt x="791" y="199"/>
                    </a:lnTo>
                    <a:lnTo>
                      <a:pt x="791" y="262"/>
                    </a:lnTo>
                    <a:lnTo>
                      <a:pt x="791" y="281"/>
                    </a:lnTo>
                    <a:lnTo>
                      <a:pt x="791" y="316"/>
                    </a:lnTo>
                    <a:lnTo>
                      <a:pt x="791" y="349"/>
                    </a:lnTo>
                    <a:lnTo>
                      <a:pt x="791" y="412"/>
                    </a:lnTo>
                    <a:lnTo>
                      <a:pt x="791" y="492"/>
                    </a:lnTo>
                    <a:lnTo>
                      <a:pt x="791" y="567"/>
                    </a:lnTo>
                    <a:lnTo>
                      <a:pt x="791" y="612"/>
                    </a:lnTo>
                    <a:lnTo>
                      <a:pt x="791" y="667"/>
                    </a:lnTo>
                    <a:lnTo>
                      <a:pt x="740" y="667"/>
                    </a:lnTo>
                    <a:lnTo>
                      <a:pt x="740" y="692"/>
                    </a:lnTo>
                    <a:lnTo>
                      <a:pt x="648" y="645"/>
                    </a:lnTo>
                    <a:lnTo>
                      <a:pt x="588" y="614"/>
                    </a:lnTo>
                    <a:lnTo>
                      <a:pt x="580" y="609"/>
                    </a:lnTo>
                    <a:lnTo>
                      <a:pt x="530" y="585"/>
                    </a:lnTo>
                    <a:lnTo>
                      <a:pt x="491" y="567"/>
                    </a:lnTo>
                    <a:lnTo>
                      <a:pt x="490" y="565"/>
                    </a:lnTo>
                    <a:lnTo>
                      <a:pt x="435" y="539"/>
                    </a:lnTo>
                    <a:lnTo>
                      <a:pt x="381" y="514"/>
                    </a:lnTo>
                    <a:lnTo>
                      <a:pt x="335" y="492"/>
                    </a:lnTo>
                    <a:lnTo>
                      <a:pt x="291" y="512"/>
                    </a:lnTo>
                    <a:lnTo>
                      <a:pt x="284" y="515"/>
                    </a:lnTo>
                    <a:lnTo>
                      <a:pt x="243" y="532"/>
                    </a:lnTo>
                    <a:lnTo>
                      <a:pt x="218" y="512"/>
                    </a:lnTo>
                    <a:lnTo>
                      <a:pt x="211" y="507"/>
                    </a:lnTo>
                    <a:lnTo>
                      <a:pt x="204" y="504"/>
                    </a:lnTo>
                    <a:lnTo>
                      <a:pt x="184" y="500"/>
                    </a:lnTo>
                    <a:lnTo>
                      <a:pt x="133" y="488"/>
                    </a:lnTo>
                    <a:lnTo>
                      <a:pt x="112" y="451"/>
                    </a:lnTo>
                    <a:lnTo>
                      <a:pt x="104" y="454"/>
                    </a:lnTo>
                    <a:lnTo>
                      <a:pt x="88" y="444"/>
                    </a:lnTo>
                    <a:lnTo>
                      <a:pt x="85" y="442"/>
                    </a:lnTo>
                    <a:lnTo>
                      <a:pt x="80" y="437"/>
                    </a:lnTo>
                    <a:lnTo>
                      <a:pt x="77" y="436"/>
                    </a:lnTo>
                    <a:lnTo>
                      <a:pt x="73" y="436"/>
                    </a:lnTo>
                    <a:lnTo>
                      <a:pt x="71" y="437"/>
                    </a:lnTo>
                    <a:lnTo>
                      <a:pt x="70" y="439"/>
                    </a:lnTo>
                    <a:lnTo>
                      <a:pt x="66" y="436"/>
                    </a:lnTo>
                    <a:lnTo>
                      <a:pt x="63" y="436"/>
                    </a:lnTo>
                    <a:lnTo>
                      <a:pt x="61" y="437"/>
                    </a:lnTo>
                    <a:lnTo>
                      <a:pt x="60" y="437"/>
                    </a:lnTo>
                    <a:lnTo>
                      <a:pt x="49" y="437"/>
                    </a:lnTo>
                    <a:lnTo>
                      <a:pt x="46" y="434"/>
                    </a:lnTo>
                    <a:lnTo>
                      <a:pt x="43" y="432"/>
                    </a:lnTo>
                    <a:lnTo>
                      <a:pt x="37" y="424"/>
                    </a:lnTo>
                    <a:lnTo>
                      <a:pt x="32" y="415"/>
                    </a:lnTo>
                    <a:lnTo>
                      <a:pt x="32" y="395"/>
                    </a:lnTo>
                    <a:lnTo>
                      <a:pt x="15" y="373"/>
                    </a:lnTo>
                    <a:lnTo>
                      <a:pt x="7" y="362"/>
                    </a:lnTo>
                    <a:lnTo>
                      <a:pt x="0" y="354"/>
                    </a:lnTo>
                    <a:lnTo>
                      <a:pt x="4" y="350"/>
                    </a:lnTo>
                    <a:lnTo>
                      <a:pt x="7" y="344"/>
                    </a:lnTo>
                    <a:lnTo>
                      <a:pt x="24" y="337"/>
                    </a:lnTo>
                    <a:lnTo>
                      <a:pt x="27" y="330"/>
                    </a:lnTo>
                    <a:lnTo>
                      <a:pt x="26" y="325"/>
                    </a:lnTo>
                    <a:lnTo>
                      <a:pt x="27" y="320"/>
                    </a:lnTo>
                    <a:lnTo>
                      <a:pt x="24" y="315"/>
                    </a:lnTo>
                    <a:lnTo>
                      <a:pt x="22" y="306"/>
                    </a:lnTo>
                    <a:lnTo>
                      <a:pt x="20" y="305"/>
                    </a:lnTo>
                    <a:lnTo>
                      <a:pt x="20" y="299"/>
                    </a:lnTo>
                    <a:lnTo>
                      <a:pt x="20" y="294"/>
                    </a:lnTo>
                    <a:lnTo>
                      <a:pt x="22" y="289"/>
                    </a:lnTo>
                    <a:lnTo>
                      <a:pt x="22" y="288"/>
                    </a:lnTo>
                    <a:lnTo>
                      <a:pt x="24" y="288"/>
                    </a:lnTo>
                    <a:lnTo>
                      <a:pt x="26" y="284"/>
                    </a:lnTo>
                    <a:lnTo>
                      <a:pt x="22" y="284"/>
                    </a:lnTo>
                    <a:lnTo>
                      <a:pt x="24" y="282"/>
                    </a:lnTo>
                    <a:lnTo>
                      <a:pt x="26" y="282"/>
                    </a:lnTo>
                    <a:lnTo>
                      <a:pt x="27" y="277"/>
                    </a:lnTo>
                    <a:lnTo>
                      <a:pt x="29" y="276"/>
                    </a:lnTo>
                    <a:lnTo>
                      <a:pt x="29" y="271"/>
                    </a:lnTo>
                    <a:lnTo>
                      <a:pt x="29" y="269"/>
                    </a:lnTo>
                    <a:lnTo>
                      <a:pt x="22" y="247"/>
                    </a:lnTo>
                    <a:lnTo>
                      <a:pt x="26" y="230"/>
                    </a:lnTo>
                    <a:lnTo>
                      <a:pt x="26" y="223"/>
                    </a:lnTo>
                    <a:lnTo>
                      <a:pt x="24" y="209"/>
                    </a:lnTo>
                    <a:lnTo>
                      <a:pt x="20" y="189"/>
                    </a:lnTo>
                    <a:lnTo>
                      <a:pt x="9" y="165"/>
                    </a:lnTo>
                    <a:lnTo>
                      <a:pt x="2" y="158"/>
                    </a:lnTo>
                    <a:lnTo>
                      <a:pt x="0" y="155"/>
                    </a:lnTo>
                    <a:lnTo>
                      <a:pt x="0" y="151"/>
                    </a:lnTo>
                    <a:lnTo>
                      <a:pt x="9" y="148"/>
                    </a:lnTo>
                    <a:lnTo>
                      <a:pt x="22" y="143"/>
                    </a:lnTo>
                    <a:lnTo>
                      <a:pt x="26" y="143"/>
                    </a:lnTo>
                    <a:lnTo>
                      <a:pt x="27" y="141"/>
                    </a:lnTo>
                    <a:lnTo>
                      <a:pt x="32" y="136"/>
                    </a:lnTo>
                    <a:lnTo>
                      <a:pt x="32" y="134"/>
                    </a:lnTo>
                    <a:lnTo>
                      <a:pt x="39" y="126"/>
                    </a:lnTo>
                    <a:lnTo>
                      <a:pt x="43" y="124"/>
                    </a:lnTo>
                    <a:lnTo>
                      <a:pt x="44" y="119"/>
                    </a:lnTo>
                    <a:lnTo>
                      <a:pt x="46" y="114"/>
                    </a:lnTo>
                    <a:lnTo>
                      <a:pt x="44" y="107"/>
                    </a:lnTo>
                    <a:lnTo>
                      <a:pt x="46" y="106"/>
                    </a:lnTo>
                    <a:lnTo>
                      <a:pt x="37" y="85"/>
                    </a:lnTo>
                    <a:lnTo>
                      <a:pt x="46" y="75"/>
                    </a:lnTo>
                    <a:lnTo>
                      <a:pt x="51" y="71"/>
                    </a:lnTo>
                    <a:lnTo>
                      <a:pt x="54" y="73"/>
                    </a:lnTo>
                    <a:lnTo>
                      <a:pt x="58" y="71"/>
                    </a:lnTo>
                    <a:lnTo>
                      <a:pt x="60" y="70"/>
                    </a:lnTo>
                    <a:lnTo>
                      <a:pt x="63" y="65"/>
                    </a:lnTo>
                    <a:lnTo>
                      <a:pt x="63" y="63"/>
                    </a:lnTo>
                    <a:lnTo>
                      <a:pt x="63" y="61"/>
                    </a:lnTo>
                    <a:lnTo>
                      <a:pt x="65" y="60"/>
                    </a:lnTo>
                    <a:lnTo>
                      <a:pt x="68" y="61"/>
                    </a:lnTo>
                    <a:lnTo>
                      <a:pt x="71" y="60"/>
                    </a:lnTo>
                    <a:lnTo>
                      <a:pt x="75" y="54"/>
                    </a:lnTo>
                    <a:lnTo>
                      <a:pt x="80" y="49"/>
                    </a:lnTo>
                    <a:lnTo>
                      <a:pt x="90" y="46"/>
                    </a:lnTo>
                    <a:lnTo>
                      <a:pt x="100" y="43"/>
                    </a:lnTo>
                    <a:lnTo>
                      <a:pt x="111" y="39"/>
                    </a:lnTo>
                    <a:lnTo>
                      <a:pt x="112" y="36"/>
                    </a:lnTo>
                    <a:lnTo>
                      <a:pt x="112" y="31"/>
                    </a:lnTo>
                    <a:lnTo>
                      <a:pt x="107" y="27"/>
                    </a:lnTo>
                    <a:lnTo>
                      <a:pt x="107" y="26"/>
                    </a:lnTo>
                    <a:lnTo>
                      <a:pt x="107" y="15"/>
                    </a:lnTo>
                    <a:lnTo>
                      <a:pt x="107" y="14"/>
                    </a:lnTo>
                    <a:lnTo>
                      <a:pt x="109" y="9"/>
                    </a:lnTo>
                    <a:lnTo>
                      <a:pt x="109" y="5"/>
                    </a:lnTo>
                    <a:lnTo>
                      <a:pt x="111" y="0"/>
                    </a:lnTo>
                    <a:lnTo>
                      <a:pt x="114" y="3"/>
                    </a:lnTo>
                    <a:lnTo>
                      <a:pt x="122" y="5"/>
                    </a:lnTo>
                    <a:lnTo>
                      <a:pt x="121" y="3"/>
                    </a:lnTo>
                    <a:lnTo>
                      <a:pt x="117" y="3"/>
                    </a:lnTo>
                    <a:lnTo>
                      <a:pt x="117" y="2"/>
                    </a:lnTo>
                    <a:lnTo>
                      <a:pt x="121" y="3"/>
                    </a:lnTo>
                    <a:lnTo>
                      <a:pt x="122" y="5"/>
                    </a:lnTo>
                    <a:lnTo>
                      <a:pt x="124" y="3"/>
                    </a:lnTo>
                    <a:lnTo>
                      <a:pt x="143" y="15"/>
                    </a:lnTo>
                    <a:lnTo>
                      <a:pt x="150" y="17"/>
                    </a:lnTo>
                    <a:lnTo>
                      <a:pt x="162" y="19"/>
                    </a:lnTo>
                    <a:lnTo>
                      <a:pt x="170" y="19"/>
                    </a:lnTo>
                    <a:lnTo>
                      <a:pt x="182" y="17"/>
                    </a:lnTo>
                    <a:lnTo>
                      <a:pt x="190" y="14"/>
                    </a:lnTo>
                    <a:lnTo>
                      <a:pt x="192" y="14"/>
                    </a:lnTo>
                    <a:lnTo>
                      <a:pt x="194" y="12"/>
                    </a:lnTo>
                    <a:lnTo>
                      <a:pt x="192" y="14"/>
                    </a:lnTo>
                    <a:lnTo>
                      <a:pt x="194" y="14"/>
                    </a:lnTo>
                    <a:lnTo>
                      <a:pt x="194" y="12"/>
                    </a:lnTo>
                    <a:lnTo>
                      <a:pt x="202" y="14"/>
                    </a:lnTo>
                    <a:lnTo>
                      <a:pt x="204" y="15"/>
                    </a:lnTo>
                    <a:lnTo>
                      <a:pt x="214" y="19"/>
                    </a:lnTo>
                    <a:lnTo>
                      <a:pt x="224" y="19"/>
                    </a:lnTo>
                    <a:lnTo>
                      <a:pt x="231" y="20"/>
                    </a:lnTo>
                    <a:lnTo>
                      <a:pt x="235" y="22"/>
                    </a:lnTo>
                    <a:lnTo>
                      <a:pt x="243" y="22"/>
                    </a:lnTo>
                    <a:lnTo>
                      <a:pt x="247" y="24"/>
                    </a:lnTo>
                    <a:lnTo>
                      <a:pt x="247" y="26"/>
                    </a:lnTo>
                    <a:lnTo>
                      <a:pt x="250" y="27"/>
                    </a:lnTo>
                    <a:lnTo>
                      <a:pt x="258" y="32"/>
                    </a:lnTo>
                    <a:lnTo>
                      <a:pt x="264" y="34"/>
                    </a:lnTo>
                    <a:lnTo>
                      <a:pt x="272" y="37"/>
                    </a:lnTo>
                    <a:lnTo>
                      <a:pt x="279" y="37"/>
                    </a:lnTo>
                    <a:lnTo>
                      <a:pt x="282" y="37"/>
                    </a:lnTo>
                    <a:lnTo>
                      <a:pt x="289" y="37"/>
                    </a:lnTo>
                    <a:lnTo>
                      <a:pt x="296" y="41"/>
                    </a:lnTo>
                    <a:lnTo>
                      <a:pt x="298" y="41"/>
                    </a:lnTo>
                    <a:lnTo>
                      <a:pt x="296" y="41"/>
                    </a:lnTo>
                    <a:lnTo>
                      <a:pt x="298" y="43"/>
                    </a:lnTo>
                    <a:lnTo>
                      <a:pt x="301" y="48"/>
                    </a:lnTo>
                    <a:lnTo>
                      <a:pt x="303" y="51"/>
                    </a:lnTo>
                    <a:lnTo>
                      <a:pt x="303" y="56"/>
                    </a:lnTo>
                    <a:lnTo>
                      <a:pt x="303" y="61"/>
                    </a:lnTo>
                    <a:lnTo>
                      <a:pt x="309" y="75"/>
                    </a:lnTo>
                    <a:lnTo>
                      <a:pt x="316" y="85"/>
                    </a:lnTo>
                    <a:lnTo>
                      <a:pt x="321" y="90"/>
                    </a:lnTo>
                    <a:lnTo>
                      <a:pt x="333" y="95"/>
                    </a:lnTo>
                    <a:lnTo>
                      <a:pt x="342" y="97"/>
                    </a:lnTo>
                    <a:lnTo>
                      <a:pt x="355" y="99"/>
                    </a:lnTo>
                    <a:lnTo>
                      <a:pt x="374" y="99"/>
                    </a:lnTo>
                    <a:lnTo>
                      <a:pt x="386" y="102"/>
                    </a:lnTo>
                    <a:lnTo>
                      <a:pt x="401" y="106"/>
                    </a:lnTo>
                    <a:lnTo>
                      <a:pt x="406" y="106"/>
                    </a:lnTo>
                    <a:lnTo>
                      <a:pt x="411" y="109"/>
                    </a:lnTo>
                    <a:lnTo>
                      <a:pt x="420" y="112"/>
                    </a:lnTo>
                    <a:lnTo>
                      <a:pt x="428" y="114"/>
                    </a:lnTo>
                    <a:lnTo>
                      <a:pt x="432" y="117"/>
                    </a:lnTo>
                    <a:lnTo>
                      <a:pt x="445" y="121"/>
                    </a:lnTo>
                    <a:lnTo>
                      <a:pt x="447" y="121"/>
                    </a:lnTo>
                    <a:lnTo>
                      <a:pt x="452" y="126"/>
                    </a:lnTo>
                    <a:lnTo>
                      <a:pt x="457" y="129"/>
                    </a:lnTo>
                    <a:lnTo>
                      <a:pt x="462" y="134"/>
                    </a:lnTo>
                    <a:lnTo>
                      <a:pt x="466" y="134"/>
                    </a:lnTo>
                    <a:lnTo>
                      <a:pt x="466" y="136"/>
                    </a:lnTo>
                    <a:lnTo>
                      <a:pt x="466" y="134"/>
                    </a:lnTo>
                    <a:lnTo>
                      <a:pt x="466" y="136"/>
                    </a:lnTo>
                    <a:lnTo>
                      <a:pt x="469" y="140"/>
                    </a:lnTo>
                    <a:lnTo>
                      <a:pt x="476" y="141"/>
                    </a:lnTo>
                    <a:lnTo>
                      <a:pt x="476" y="143"/>
                    </a:lnTo>
                    <a:lnTo>
                      <a:pt x="481" y="143"/>
                    </a:lnTo>
                    <a:lnTo>
                      <a:pt x="485" y="146"/>
                    </a:lnTo>
                    <a:lnTo>
                      <a:pt x="488" y="146"/>
                    </a:lnTo>
                    <a:lnTo>
                      <a:pt x="496" y="146"/>
                    </a:lnTo>
                    <a:lnTo>
                      <a:pt x="500" y="146"/>
                    </a:lnTo>
                    <a:lnTo>
                      <a:pt x="507" y="145"/>
                    </a:lnTo>
                    <a:lnTo>
                      <a:pt x="515" y="140"/>
                    </a:lnTo>
                    <a:lnTo>
                      <a:pt x="519" y="140"/>
                    </a:lnTo>
                    <a:lnTo>
                      <a:pt x="527" y="133"/>
                    </a:lnTo>
                    <a:lnTo>
                      <a:pt x="534" y="126"/>
                    </a:lnTo>
                    <a:lnTo>
                      <a:pt x="541" y="117"/>
                    </a:lnTo>
                    <a:lnTo>
                      <a:pt x="546" y="107"/>
                    </a:lnTo>
                    <a:lnTo>
                      <a:pt x="546" y="102"/>
                    </a:lnTo>
                    <a:lnTo>
                      <a:pt x="546" y="97"/>
                    </a:lnTo>
                    <a:lnTo>
                      <a:pt x="542" y="92"/>
                    </a:lnTo>
                    <a:lnTo>
                      <a:pt x="539" y="90"/>
                    </a:lnTo>
                    <a:lnTo>
                      <a:pt x="539" y="87"/>
                    </a:lnTo>
                    <a:lnTo>
                      <a:pt x="537" y="85"/>
                    </a:lnTo>
                    <a:lnTo>
                      <a:pt x="536" y="75"/>
                    </a:lnTo>
                    <a:lnTo>
                      <a:pt x="534" y="71"/>
                    </a:lnTo>
                    <a:lnTo>
                      <a:pt x="536" y="63"/>
                    </a:lnTo>
                    <a:lnTo>
                      <a:pt x="536" y="61"/>
                    </a:lnTo>
                    <a:lnTo>
                      <a:pt x="539" y="56"/>
                    </a:lnTo>
                    <a:lnTo>
                      <a:pt x="541" y="54"/>
                    </a:lnTo>
                    <a:lnTo>
                      <a:pt x="539" y="54"/>
                    </a:lnTo>
                    <a:lnTo>
                      <a:pt x="539" y="53"/>
                    </a:lnTo>
                    <a:lnTo>
                      <a:pt x="539" y="54"/>
                    </a:lnTo>
                    <a:lnTo>
                      <a:pt x="541" y="53"/>
                    </a:lnTo>
                    <a:lnTo>
                      <a:pt x="541" y="54"/>
                    </a:lnTo>
                    <a:lnTo>
                      <a:pt x="541" y="53"/>
                    </a:lnTo>
                    <a:lnTo>
                      <a:pt x="539" y="53"/>
                    </a:lnTo>
                    <a:lnTo>
                      <a:pt x="541" y="53"/>
                    </a:lnTo>
                    <a:lnTo>
                      <a:pt x="542" y="49"/>
                    </a:lnTo>
                    <a:lnTo>
                      <a:pt x="544" y="49"/>
                    </a:lnTo>
                    <a:lnTo>
                      <a:pt x="547" y="44"/>
                    </a:lnTo>
                    <a:lnTo>
                      <a:pt x="558" y="37"/>
                    </a:lnTo>
                    <a:lnTo>
                      <a:pt x="571" y="29"/>
                    </a:lnTo>
                    <a:lnTo>
                      <a:pt x="592" y="20"/>
                    </a:lnTo>
                    <a:lnTo>
                      <a:pt x="609" y="19"/>
                    </a:lnTo>
                    <a:lnTo>
                      <a:pt x="612" y="17"/>
                    </a:lnTo>
                    <a:lnTo>
                      <a:pt x="621" y="12"/>
                    </a:lnTo>
                    <a:lnTo>
                      <a:pt x="624" y="12"/>
                    </a:lnTo>
                    <a:lnTo>
                      <a:pt x="634" y="14"/>
                    </a:lnTo>
                    <a:lnTo>
                      <a:pt x="641" y="14"/>
                    </a:lnTo>
                    <a:lnTo>
                      <a:pt x="646" y="12"/>
                    </a:lnTo>
                    <a:lnTo>
                      <a:pt x="648" y="12"/>
                    </a:lnTo>
                    <a:lnTo>
                      <a:pt x="648" y="14"/>
                    </a:lnTo>
                    <a:lnTo>
                      <a:pt x="649" y="14"/>
                    </a:lnTo>
                    <a:lnTo>
                      <a:pt x="658" y="15"/>
                    </a:lnTo>
                    <a:lnTo>
                      <a:pt x="663" y="17"/>
                    </a:lnTo>
                    <a:lnTo>
                      <a:pt x="666" y="19"/>
                    </a:lnTo>
                    <a:lnTo>
                      <a:pt x="670" y="20"/>
                    </a:lnTo>
                    <a:lnTo>
                      <a:pt x="672" y="20"/>
                    </a:lnTo>
                    <a:lnTo>
                      <a:pt x="680" y="22"/>
                    </a:lnTo>
                    <a:lnTo>
                      <a:pt x="685" y="26"/>
                    </a:lnTo>
                    <a:lnTo>
                      <a:pt x="695" y="27"/>
                    </a:lnTo>
                    <a:lnTo>
                      <a:pt x="695" y="29"/>
                    </a:lnTo>
                    <a:lnTo>
                      <a:pt x="695" y="31"/>
                    </a:lnTo>
                    <a:lnTo>
                      <a:pt x="695" y="32"/>
                    </a:lnTo>
                    <a:lnTo>
                      <a:pt x="697" y="36"/>
                    </a:lnTo>
                    <a:lnTo>
                      <a:pt x="697" y="37"/>
                    </a:lnTo>
                    <a:lnTo>
                      <a:pt x="697" y="39"/>
                    </a:lnTo>
                    <a:lnTo>
                      <a:pt x="695" y="39"/>
                    </a:lnTo>
                    <a:lnTo>
                      <a:pt x="697" y="39"/>
                    </a:lnTo>
                    <a:lnTo>
                      <a:pt x="694" y="37"/>
                    </a:lnTo>
                    <a:lnTo>
                      <a:pt x="694" y="43"/>
                    </a:lnTo>
                    <a:lnTo>
                      <a:pt x="700" y="44"/>
                    </a:lnTo>
                    <a:lnTo>
                      <a:pt x="702" y="49"/>
                    </a:lnTo>
                    <a:lnTo>
                      <a:pt x="704" y="49"/>
                    </a:lnTo>
                    <a:lnTo>
                      <a:pt x="706" y="51"/>
                    </a:lnTo>
                    <a:lnTo>
                      <a:pt x="706" y="49"/>
                    </a:lnTo>
                    <a:lnTo>
                      <a:pt x="706" y="48"/>
                    </a:lnTo>
                    <a:lnTo>
                      <a:pt x="711" y="49"/>
                    </a:lnTo>
                    <a:lnTo>
                      <a:pt x="726" y="49"/>
                    </a:lnTo>
                    <a:lnTo>
                      <a:pt x="734" y="53"/>
                    </a:lnTo>
                    <a:lnTo>
                      <a:pt x="740" y="54"/>
                    </a:lnTo>
                    <a:lnTo>
                      <a:pt x="741" y="54"/>
                    </a:lnTo>
                    <a:lnTo>
                      <a:pt x="741" y="56"/>
                    </a:lnTo>
                    <a:lnTo>
                      <a:pt x="738" y="54"/>
                    </a:lnTo>
                    <a:lnTo>
                      <a:pt x="738" y="56"/>
                    </a:lnTo>
                    <a:lnTo>
                      <a:pt x="745" y="58"/>
                    </a:lnTo>
                    <a:lnTo>
                      <a:pt x="750" y="60"/>
                    </a:lnTo>
                    <a:lnTo>
                      <a:pt x="753" y="58"/>
                    </a:lnTo>
                    <a:lnTo>
                      <a:pt x="760" y="60"/>
                    </a:lnTo>
                    <a:lnTo>
                      <a:pt x="765" y="60"/>
                    </a:lnTo>
                    <a:lnTo>
                      <a:pt x="768" y="60"/>
                    </a:lnTo>
                    <a:lnTo>
                      <a:pt x="774" y="58"/>
                    </a:lnTo>
                    <a:lnTo>
                      <a:pt x="775" y="58"/>
                    </a:lnTo>
                    <a:lnTo>
                      <a:pt x="779" y="58"/>
                    </a:lnTo>
                    <a:lnTo>
                      <a:pt x="784" y="60"/>
                    </a:lnTo>
                    <a:lnTo>
                      <a:pt x="791" y="61"/>
                    </a:lnTo>
                    <a:lnTo>
                      <a:pt x="792" y="63"/>
                    </a:lnTo>
                    <a:lnTo>
                      <a:pt x="792" y="66"/>
                    </a:lnTo>
                    <a:lnTo>
                      <a:pt x="796" y="71"/>
                    </a:lnTo>
                    <a:lnTo>
                      <a:pt x="797" y="71"/>
                    </a:lnTo>
                    <a:lnTo>
                      <a:pt x="797" y="75"/>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42" name="Freeform 38">
                <a:extLst>
                  <a:ext uri="{FF2B5EF4-FFF2-40B4-BE49-F238E27FC236}">
                    <a16:creationId xmlns:a16="http://schemas.microsoft.com/office/drawing/2014/main" id="{90E0C84D-8040-4FC2-A4EA-876368E843EF}"/>
                  </a:ext>
                </a:extLst>
              </p:cNvPr>
              <p:cNvSpPr>
                <a:spLocks noEditPoints="1"/>
              </p:cNvSpPr>
              <p:nvPr/>
            </p:nvSpPr>
            <p:spPr bwMode="gray">
              <a:xfrm>
                <a:off x="8051800" y="4414838"/>
                <a:ext cx="582612" cy="1100138"/>
              </a:xfrm>
              <a:custGeom>
                <a:avLst/>
                <a:gdLst>
                  <a:gd name="T0" fmla="*/ 302 w 367"/>
                  <a:gd name="T1" fmla="*/ 17 h 693"/>
                  <a:gd name="T2" fmla="*/ 317 w 367"/>
                  <a:gd name="T3" fmla="*/ 22 h 693"/>
                  <a:gd name="T4" fmla="*/ 326 w 367"/>
                  <a:gd name="T5" fmla="*/ 45 h 693"/>
                  <a:gd name="T6" fmla="*/ 340 w 367"/>
                  <a:gd name="T7" fmla="*/ 67 h 693"/>
                  <a:gd name="T8" fmla="*/ 355 w 367"/>
                  <a:gd name="T9" fmla="*/ 143 h 693"/>
                  <a:gd name="T10" fmla="*/ 355 w 367"/>
                  <a:gd name="T11" fmla="*/ 201 h 693"/>
                  <a:gd name="T12" fmla="*/ 329 w 367"/>
                  <a:gd name="T13" fmla="*/ 177 h 693"/>
                  <a:gd name="T14" fmla="*/ 336 w 367"/>
                  <a:gd name="T15" fmla="*/ 227 h 693"/>
                  <a:gd name="T16" fmla="*/ 316 w 367"/>
                  <a:gd name="T17" fmla="*/ 281 h 693"/>
                  <a:gd name="T18" fmla="*/ 273 w 367"/>
                  <a:gd name="T19" fmla="*/ 424 h 693"/>
                  <a:gd name="T20" fmla="*/ 253 w 367"/>
                  <a:gd name="T21" fmla="*/ 492 h 693"/>
                  <a:gd name="T22" fmla="*/ 222 w 367"/>
                  <a:gd name="T23" fmla="*/ 591 h 693"/>
                  <a:gd name="T24" fmla="*/ 197 w 367"/>
                  <a:gd name="T25" fmla="*/ 659 h 693"/>
                  <a:gd name="T26" fmla="*/ 176 w 367"/>
                  <a:gd name="T27" fmla="*/ 667 h 693"/>
                  <a:gd name="T28" fmla="*/ 61 w 367"/>
                  <a:gd name="T29" fmla="*/ 676 h 693"/>
                  <a:gd name="T30" fmla="*/ 35 w 367"/>
                  <a:gd name="T31" fmla="*/ 647 h 693"/>
                  <a:gd name="T32" fmla="*/ 27 w 367"/>
                  <a:gd name="T33" fmla="*/ 587 h 693"/>
                  <a:gd name="T34" fmla="*/ 0 w 367"/>
                  <a:gd name="T35" fmla="*/ 521 h 693"/>
                  <a:gd name="T36" fmla="*/ 12 w 367"/>
                  <a:gd name="T37" fmla="*/ 492 h 693"/>
                  <a:gd name="T38" fmla="*/ 40 w 367"/>
                  <a:gd name="T39" fmla="*/ 446 h 693"/>
                  <a:gd name="T40" fmla="*/ 64 w 367"/>
                  <a:gd name="T41" fmla="*/ 407 h 693"/>
                  <a:gd name="T42" fmla="*/ 63 w 367"/>
                  <a:gd name="T43" fmla="*/ 385 h 693"/>
                  <a:gd name="T44" fmla="*/ 51 w 367"/>
                  <a:gd name="T45" fmla="*/ 351 h 693"/>
                  <a:gd name="T46" fmla="*/ 35 w 367"/>
                  <a:gd name="T47" fmla="*/ 281 h 693"/>
                  <a:gd name="T48" fmla="*/ 59 w 367"/>
                  <a:gd name="T49" fmla="*/ 244 h 693"/>
                  <a:gd name="T50" fmla="*/ 78 w 367"/>
                  <a:gd name="T51" fmla="*/ 216 h 693"/>
                  <a:gd name="T52" fmla="*/ 103 w 367"/>
                  <a:gd name="T53" fmla="*/ 203 h 693"/>
                  <a:gd name="T54" fmla="*/ 119 w 367"/>
                  <a:gd name="T55" fmla="*/ 208 h 693"/>
                  <a:gd name="T56" fmla="*/ 129 w 367"/>
                  <a:gd name="T57" fmla="*/ 196 h 693"/>
                  <a:gd name="T58" fmla="*/ 153 w 367"/>
                  <a:gd name="T59" fmla="*/ 193 h 693"/>
                  <a:gd name="T60" fmla="*/ 161 w 367"/>
                  <a:gd name="T61" fmla="*/ 184 h 693"/>
                  <a:gd name="T62" fmla="*/ 193 w 367"/>
                  <a:gd name="T63" fmla="*/ 184 h 693"/>
                  <a:gd name="T64" fmla="*/ 193 w 367"/>
                  <a:gd name="T65" fmla="*/ 167 h 693"/>
                  <a:gd name="T66" fmla="*/ 216 w 367"/>
                  <a:gd name="T67" fmla="*/ 141 h 693"/>
                  <a:gd name="T68" fmla="*/ 229 w 367"/>
                  <a:gd name="T69" fmla="*/ 135 h 693"/>
                  <a:gd name="T70" fmla="*/ 227 w 367"/>
                  <a:gd name="T71" fmla="*/ 130 h 693"/>
                  <a:gd name="T72" fmla="*/ 241 w 367"/>
                  <a:gd name="T73" fmla="*/ 114 h 693"/>
                  <a:gd name="T74" fmla="*/ 241 w 367"/>
                  <a:gd name="T75" fmla="*/ 104 h 693"/>
                  <a:gd name="T76" fmla="*/ 241 w 367"/>
                  <a:gd name="T77" fmla="*/ 82 h 693"/>
                  <a:gd name="T78" fmla="*/ 255 w 367"/>
                  <a:gd name="T79" fmla="*/ 96 h 693"/>
                  <a:gd name="T80" fmla="*/ 265 w 367"/>
                  <a:gd name="T81" fmla="*/ 82 h 693"/>
                  <a:gd name="T82" fmla="*/ 284 w 367"/>
                  <a:gd name="T83" fmla="*/ 67 h 693"/>
                  <a:gd name="T84" fmla="*/ 289 w 367"/>
                  <a:gd name="T85" fmla="*/ 45 h 693"/>
                  <a:gd name="T86" fmla="*/ 294 w 367"/>
                  <a:gd name="T87" fmla="*/ 19 h 693"/>
                  <a:gd name="T88" fmla="*/ 302 w 367"/>
                  <a:gd name="T89" fmla="*/ 7 h 693"/>
                  <a:gd name="T90" fmla="*/ 258 w 367"/>
                  <a:gd name="T91" fmla="*/ 72 h 693"/>
                  <a:gd name="T92" fmla="*/ 333 w 367"/>
                  <a:gd name="T93" fmla="*/ 261 h 693"/>
                  <a:gd name="T94" fmla="*/ 171 w 367"/>
                  <a:gd name="T95" fmla="*/ 211 h 693"/>
                  <a:gd name="T96" fmla="*/ 273 w 367"/>
                  <a:gd name="T97" fmla="*/ 50 h 693"/>
                  <a:gd name="T98" fmla="*/ 260 w 367"/>
                  <a:gd name="T99" fmla="*/ 75 h 693"/>
                  <a:gd name="T100" fmla="*/ 161 w 367"/>
                  <a:gd name="T101" fmla="*/ 199 h 693"/>
                  <a:gd name="T102" fmla="*/ 200 w 367"/>
                  <a:gd name="T103" fmla="*/ 175 h 693"/>
                  <a:gd name="T104" fmla="*/ 323 w 367"/>
                  <a:gd name="T105" fmla="*/ 33 h 693"/>
                  <a:gd name="T106" fmla="*/ 193 w 367"/>
                  <a:gd name="T107" fmla="*/ 179 h 693"/>
                  <a:gd name="T108" fmla="*/ 159 w 367"/>
                  <a:gd name="T109" fmla="*/ 201 h 693"/>
                  <a:gd name="T110" fmla="*/ 326 w 367"/>
                  <a:gd name="T111" fmla="*/ 38 h 693"/>
                  <a:gd name="T112" fmla="*/ 229 w 367"/>
                  <a:gd name="T113" fmla="*/ 111 h 693"/>
                  <a:gd name="T114" fmla="*/ 333 w 367"/>
                  <a:gd name="T115" fmla="*/ 261 h 693"/>
                  <a:gd name="T116" fmla="*/ 144 w 367"/>
                  <a:gd name="T117" fmla="*/ 198 h 693"/>
                  <a:gd name="T118" fmla="*/ 231 w 367"/>
                  <a:gd name="T119" fmla="*/ 84 h 693"/>
                  <a:gd name="T120" fmla="*/ 334 w 367"/>
                  <a:gd name="T121" fmla="*/ 235 h 693"/>
                  <a:gd name="T122" fmla="*/ 168 w 367"/>
                  <a:gd name="T123" fmla="*/ 20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7" h="693">
                    <a:moveTo>
                      <a:pt x="306" y="0"/>
                    </a:moveTo>
                    <a:lnTo>
                      <a:pt x="307" y="2"/>
                    </a:lnTo>
                    <a:lnTo>
                      <a:pt x="307" y="4"/>
                    </a:lnTo>
                    <a:lnTo>
                      <a:pt x="309" y="5"/>
                    </a:lnTo>
                    <a:lnTo>
                      <a:pt x="307" y="5"/>
                    </a:lnTo>
                    <a:lnTo>
                      <a:pt x="309" y="5"/>
                    </a:lnTo>
                    <a:lnTo>
                      <a:pt x="311" y="9"/>
                    </a:lnTo>
                    <a:lnTo>
                      <a:pt x="309" y="9"/>
                    </a:lnTo>
                    <a:lnTo>
                      <a:pt x="311" y="14"/>
                    </a:lnTo>
                    <a:lnTo>
                      <a:pt x="307" y="10"/>
                    </a:lnTo>
                    <a:lnTo>
                      <a:pt x="307" y="12"/>
                    </a:lnTo>
                    <a:lnTo>
                      <a:pt x="307" y="14"/>
                    </a:lnTo>
                    <a:lnTo>
                      <a:pt x="307" y="12"/>
                    </a:lnTo>
                    <a:lnTo>
                      <a:pt x="306" y="12"/>
                    </a:lnTo>
                    <a:lnTo>
                      <a:pt x="304" y="10"/>
                    </a:lnTo>
                    <a:lnTo>
                      <a:pt x="304" y="12"/>
                    </a:lnTo>
                    <a:lnTo>
                      <a:pt x="304" y="14"/>
                    </a:lnTo>
                    <a:lnTo>
                      <a:pt x="306" y="16"/>
                    </a:lnTo>
                    <a:lnTo>
                      <a:pt x="306" y="17"/>
                    </a:lnTo>
                    <a:lnTo>
                      <a:pt x="302" y="16"/>
                    </a:lnTo>
                    <a:lnTo>
                      <a:pt x="302" y="17"/>
                    </a:lnTo>
                    <a:lnTo>
                      <a:pt x="304" y="19"/>
                    </a:lnTo>
                    <a:lnTo>
                      <a:pt x="304" y="17"/>
                    </a:lnTo>
                    <a:lnTo>
                      <a:pt x="306" y="17"/>
                    </a:lnTo>
                    <a:lnTo>
                      <a:pt x="307" y="16"/>
                    </a:lnTo>
                    <a:lnTo>
                      <a:pt x="307" y="17"/>
                    </a:lnTo>
                    <a:lnTo>
                      <a:pt x="307" y="19"/>
                    </a:lnTo>
                    <a:lnTo>
                      <a:pt x="309" y="19"/>
                    </a:lnTo>
                    <a:lnTo>
                      <a:pt x="311" y="17"/>
                    </a:lnTo>
                    <a:lnTo>
                      <a:pt x="309" y="16"/>
                    </a:lnTo>
                    <a:lnTo>
                      <a:pt x="311" y="14"/>
                    </a:lnTo>
                    <a:lnTo>
                      <a:pt x="312" y="16"/>
                    </a:lnTo>
                    <a:lnTo>
                      <a:pt x="312" y="17"/>
                    </a:lnTo>
                    <a:lnTo>
                      <a:pt x="312" y="21"/>
                    </a:lnTo>
                    <a:lnTo>
                      <a:pt x="314" y="19"/>
                    </a:lnTo>
                    <a:lnTo>
                      <a:pt x="314" y="21"/>
                    </a:lnTo>
                    <a:lnTo>
                      <a:pt x="314" y="22"/>
                    </a:lnTo>
                    <a:lnTo>
                      <a:pt x="316" y="21"/>
                    </a:lnTo>
                    <a:lnTo>
                      <a:pt x="317" y="21"/>
                    </a:lnTo>
                    <a:lnTo>
                      <a:pt x="319" y="22"/>
                    </a:lnTo>
                    <a:lnTo>
                      <a:pt x="319" y="24"/>
                    </a:lnTo>
                    <a:lnTo>
                      <a:pt x="317" y="22"/>
                    </a:lnTo>
                    <a:lnTo>
                      <a:pt x="316" y="24"/>
                    </a:lnTo>
                    <a:lnTo>
                      <a:pt x="317" y="24"/>
                    </a:lnTo>
                    <a:lnTo>
                      <a:pt x="317" y="26"/>
                    </a:lnTo>
                    <a:lnTo>
                      <a:pt x="319" y="26"/>
                    </a:lnTo>
                    <a:lnTo>
                      <a:pt x="321" y="26"/>
                    </a:lnTo>
                    <a:lnTo>
                      <a:pt x="319" y="26"/>
                    </a:lnTo>
                    <a:lnTo>
                      <a:pt x="321" y="24"/>
                    </a:lnTo>
                    <a:lnTo>
                      <a:pt x="323" y="29"/>
                    </a:lnTo>
                    <a:lnTo>
                      <a:pt x="323" y="31"/>
                    </a:lnTo>
                    <a:lnTo>
                      <a:pt x="321" y="31"/>
                    </a:lnTo>
                    <a:lnTo>
                      <a:pt x="321" y="28"/>
                    </a:lnTo>
                    <a:lnTo>
                      <a:pt x="319" y="28"/>
                    </a:lnTo>
                    <a:lnTo>
                      <a:pt x="321" y="33"/>
                    </a:lnTo>
                    <a:lnTo>
                      <a:pt x="319" y="36"/>
                    </a:lnTo>
                    <a:lnTo>
                      <a:pt x="321" y="36"/>
                    </a:lnTo>
                    <a:lnTo>
                      <a:pt x="323" y="36"/>
                    </a:lnTo>
                    <a:lnTo>
                      <a:pt x="324" y="38"/>
                    </a:lnTo>
                    <a:lnTo>
                      <a:pt x="326" y="43"/>
                    </a:lnTo>
                    <a:lnTo>
                      <a:pt x="324" y="45"/>
                    </a:lnTo>
                    <a:lnTo>
                      <a:pt x="326" y="43"/>
                    </a:lnTo>
                    <a:lnTo>
                      <a:pt x="326" y="45"/>
                    </a:lnTo>
                    <a:lnTo>
                      <a:pt x="326" y="43"/>
                    </a:lnTo>
                    <a:lnTo>
                      <a:pt x="328" y="43"/>
                    </a:lnTo>
                    <a:lnTo>
                      <a:pt x="328" y="39"/>
                    </a:lnTo>
                    <a:lnTo>
                      <a:pt x="329" y="41"/>
                    </a:lnTo>
                    <a:lnTo>
                      <a:pt x="328" y="41"/>
                    </a:lnTo>
                    <a:lnTo>
                      <a:pt x="329" y="43"/>
                    </a:lnTo>
                    <a:lnTo>
                      <a:pt x="329" y="41"/>
                    </a:lnTo>
                    <a:lnTo>
                      <a:pt x="331" y="43"/>
                    </a:lnTo>
                    <a:lnTo>
                      <a:pt x="333" y="45"/>
                    </a:lnTo>
                    <a:lnTo>
                      <a:pt x="331" y="45"/>
                    </a:lnTo>
                    <a:lnTo>
                      <a:pt x="333" y="48"/>
                    </a:lnTo>
                    <a:lnTo>
                      <a:pt x="334" y="48"/>
                    </a:lnTo>
                    <a:lnTo>
                      <a:pt x="336" y="48"/>
                    </a:lnTo>
                    <a:lnTo>
                      <a:pt x="334" y="50"/>
                    </a:lnTo>
                    <a:lnTo>
                      <a:pt x="336" y="51"/>
                    </a:lnTo>
                    <a:lnTo>
                      <a:pt x="336" y="50"/>
                    </a:lnTo>
                    <a:lnTo>
                      <a:pt x="338" y="53"/>
                    </a:lnTo>
                    <a:lnTo>
                      <a:pt x="340" y="56"/>
                    </a:lnTo>
                    <a:lnTo>
                      <a:pt x="338" y="63"/>
                    </a:lnTo>
                    <a:lnTo>
                      <a:pt x="340" y="63"/>
                    </a:lnTo>
                    <a:lnTo>
                      <a:pt x="340" y="67"/>
                    </a:lnTo>
                    <a:lnTo>
                      <a:pt x="341" y="68"/>
                    </a:lnTo>
                    <a:lnTo>
                      <a:pt x="341" y="70"/>
                    </a:lnTo>
                    <a:lnTo>
                      <a:pt x="341" y="72"/>
                    </a:lnTo>
                    <a:lnTo>
                      <a:pt x="343" y="72"/>
                    </a:lnTo>
                    <a:lnTo>
                      <a:pt x="345" y="73"/>
                    </a:lnTo>
                    <a:lnTo>
                      <a:pt x="343" y="75"/>
                    </a:lnTo>
                    <a:lnTo>
                      <a:pt x="345" y="80"/>
                    </a:lnTo>
                    <a:lnTo>
                      <a:pt x="346" y="82"/>
                    </a:lnTo>
                    <a:lnTo>
                      <a:pt x="346" y="84"/>
                    </a:lnTo>
                    <a:lnTo>
                      <a:pt x="346" y="85"/>
                    </a:lnTo>
                    <a:lnTo>
                      <a:pt x="346" y="87"/>
                    </a:lnTo>
                    <a:lnTo>
                      <a:pt x="350" y="94"/>
                    </a:lnTo>
                    <a:lnTo>
                      <a:pt x="350" y="104"/>
                    </a:lnTo>
                    <a:lnTo>
                      <a:pt x="351" y="107"/>
                    </a:lnTo>
                    <a:lnTo>
                      <a:pt x="350" y="116"/>
                    </a:lnTo>
                    <a:lnTo>
                      <a:pt x="351" y="118"/>
                    </a:lnTo>
                    <a:lnTo>
                      <a:pt x="353" y="119"/>
                    </a:lnTo>
                    <a:lnTo>
                      <a:pt x="351" y="126"/>
                    </a:lnTo>
                    <a:lnTo>
                      <a:pt x="351" y="133"/>
                    </a:lnTo>
                    <a:lnTo>
                      <a:pt x="353" y="138"/>
                    </a:lnTo>
                    <a:lnTo>
                      <a:pt x="355" y="143"/>
                    </a:lnTo>
                    <a:lnTo>
                      <a:pt x="355" y="145"/>
                    </a:lnTo>
                    <a:lnTo>
                      <a:pt x="358" y="152"/>
                    </a:lnTo>
                    <a:lnTo>
                      <a:pt x="360" y="157"/>
                    </a:lnTo>
                    <a:lnTo>
                      <a:pt x="365" y="162"/>
                    </a:lnTo>
                    <a:lnTo>
                      <a:pt x="365" y="164"/>
                    </a:lnTo>
                    <a:lnTo>
                      <a:pt x="367" y="165"/>
                    </a:lnTo>
                    <a:lnTo>
                      <a:pt x="367" y="167"/>
                    </a:lnTo>
                    <a:lnTo>
                      <a:pt x="367" y="169"/>
                    </a:lnTo>
                    <a:lnTo>
                      <a:pt x="367" y="172"/>
                    </a:lnTo>
                    <a:lnTo>
                      <a:pt x="367" y="174"/>
                    </a:lnTo>
                    <a:lnTo>
                      <a:pt x="367" y="175"/>
                    </a:lnTo>
                    <a:lnTo>
                      <a:pt x="365" y="177"/>
                    </a:lnTo>
                    <a:lnTo>
                      <a:pt x="367" y="177"/>
                    </a:lnTo>
                    <a:lnTo>
                      <a:pt x="365" y="179"/>
                    </a:lnTo>
                    <a:lnTo>
                      <a:pt x="363" y="184"/>
                    </a:lnTo>
                    <a:lnTo>
                      <a:pt x="360" y="189"/>
                    </a:lnTo>
                    <a:lnTo>
                      <a:pt x="358" y="196"/>
                    </a:lnTo>
                    <a:lnTo>
                      <a:pt x="360" y="196"/>
                    </a:lnTo>
                    <a:lnTo>
                      <a:pt x="358" y="196"/>
                    </a:lnTo>
                    <a:lnTo>
                      <a:pt x="358" y="199"/>
                    </a:lnTo>
                    <a:lnTo>
                      <a:pt x="355" y="201"/>
                    </a:lnTo>
                    <a:lnTo>
                      <a:pt x="353" y="203"/>
                    </a:lnTo>
                    <a:lnTo>
                      <a:pt x="355" y="203"/>
                    </a:lnTo>
                    <a:lnTo>
                      <a:pt x="355" y="204"/>
                    </a:lnTo>
                    <a:lnTo>
                      <a:pt x="351" y="204"/>
                    </a:lnTo>
                    <a:lnTo>
                      <a:pt x="350" y="203"/>
                    </a:lnTo>
                    <a:lnTo>
                      <a:pt x="346" y="201"/>
                    </a:lnTo>
                    <a:lnTo>
                      <a:pt x="343" y="199"/>
                    </a:lnTo>
                    <a:lnTo>
                      <a:pt x="343" y="194"/>
                    </a:lnTo>
                    <a:lnTo>
                      <a:pt x="341" y="193"/>
                    </a:lnTo>
                    <a:lnTo>
                      <a:pt x="341" y="187"/>
                    </a:lnTo>
                    <a:lnTo>
                      <a:pt x="341" y="186"/>
                    </a:lnTo>
                    <a:lnTo>
                      <a:pt x="340" y="186"/>
                    </a:lnTo>
                    <a:lnTo>
                      <a:pt x="338" y="182"/>
                    </a:lnTo>
                    <a:lnTo>
                      <a:pt x="338" y="181"/>
                    </a:lnTo>
                    <a:lnTo>
                      <a:pt x="338" y="179"/>
                    </a:lnTo>
                    <a:lnTo>
                      <a:pt x="338" y="177"/>
                    </a:lnTo>
                    <a:lnTo>
                      <a:pt x="336" y="175"/>
                    </a:lnTo>
                    <a:lnTo>
                      <a:pt x="334" y="177"/>
                    </a:lnTo>
                    <a:lnTo>
                      <a:pt x="333" y="177"/>
                    </a:lnTo>
                    <a:lnTo>
                      <a:pt x="331" y="177"/>
                    </a:lnTo>
                    <a:lnTo>
                      <a:pt x="329" y="177"/>
                    </a:lnTo>
                    <a:lnTo>
                      <a:pt x="328" y="177"/>
                    </a:lnTo>
                    <a:lnTo>
                      <a:pt x="323" y="182"/>
                    </a:lnTo>
                    <a:lnTo>
                      <a:pt x="324" y="186"/>
                    </a:lnTo>
                    <a:lnTo>
                      <a:pt x="324" y="187"/>
                    </a:lnTo>
                    <a:lnTo>
                      <a:pt x="324" y="189"/>
                    </a:lnTo>
                    <a:lnTo>
                      <a:pt x="326" y="191"/>
                    </a:lnTo>
                    <a:lnTo>
                      <a:pt x="328" y="198"/>
                    </a:lnTo>
                    <a:lnTo>
                      <a:pt x="328" y="199"/>
                    </a:lnTo>
                    <a:lnTo>
                      <a:pt x="329" y="201"/>
                    </a:lnTo>
                    <a:lnTo>
                      <a:pt x="326" y="204"/>
                    </a:lnTo>
                    <a:lnTo>
                      <a:pt x="326" y="208"/>
                    </a:lnTo>
                    <a:lnTo>
                      <a:pt x="329" y="213"/>
                    </a:lnTo>
                    <a:lnTo>
                      <a:pt x="334" y="215"/>
                    </a:lnTo>
                    <a:lnTo>
                      <a:pt x="336" y="216"/>
                    </a:lnTo>
                    <a:lnTo>
                      <a:pt x="336" y="215"/>
                    </a:lnTo>
                    <a:lnTo>
                      <a:pt x="336" y="218"/>
                    </a:lnTo>
                    <a:lnTo>
                      <a:pt x="334" y="218"/>
                    </a:lnTo>
                    <a:lnTo>
                      <a:pt x="333" y="223"/>
                    </a:lnTo>
                    <a:lnTo>
                      <a:pt x="334" y="225"/>
                    </a:lnTo>
                    <a:lnTo>
                      <a:pt x="334" y="227"/>
                    </a:lnTo>
                    <a:lnTo>
                      <a:pt x="336" y="227"/>
                    </a:lnTo>
                    <a:lnTo>
                      <a:pt x="336" y="228"/>
                    </a:lnTo>
                    <a:lnTo>
                      <a:pt x="334" y="232"/>
                    </a:lnTo>
                    <a:lnTo>
                      <a:pt x="334" y="233"/>
                    </a:lnTo>
                    <a:lnTo>
                      <a:pt x="333" y="235"/>
                    </a:lnTo>
                    <a:lnTo>
                      <a:pt x="333" y="237"/>
                    </a:lnTo>
                    <a:lnTo>
                      <a:pt x="331" y="240"/>
                    </a:lnTo>
                    <a:lnTo>
                      <a:pt x="329" y="242"/>
                    </a:lnTo>
                    <a:lnTo>
                      <a:pt x="331" y="240"/>
                    </a:lnTo>
                    <a:lnTo>
                      <a:pt x="329" y="240"/>
                    </a:lnTo>
                    <a:lnTo>
                      <a:pt x="329" y="242"/>
                    </a:lnTo>
                    <a:lnTo>
                      <a:pt x="329" y="244"/>
                    </a:lnTo>
                    <a:lnTo>
                      <a:pt x="331" y="247"/>
                    </a:lnTo>
                    <a:lnTo>
                      <a:pt x="333" y="247"/>
                    </a:lnTo>
                    <a:lnTo>
                      <a:pt x="334" y="249"/>
                    </a:lnTo>
                    <a:lnTo>
                      <a:pt x="326" y="250"/>
                    </a:lnTo>
                    <a:lnTo>
                      <a:pt x="323" y="252"/>
                    </a:lnTo>
                    <a:lnTo>
                      <a:pt x="314" y="272"/>
                    </a:lnTo>
                    <a:lnTo>
                      <a:pt x="312" y="274"/>
                    </a:lnTo>
                    <a:lnTo>
                      <a:pt x="316" y="278"/>
                    </a:lnTo>
                    <a:lnTo>
                      <a:pt x="314" y="279"/>
                    </a:lnTo>
                    <a:lnTo>
                      <a:pt x="316" y="281"/>
                    </a:lnTo>
                    <a:lnTo>
                      <a:pt x="316" y="283"/>
                    </a:lnTo>
                    <a:lnTo>
                      <a:pt x="316" y="286"/>
                    </a:lnTo>
                    <a:lnTo>
                      <a:pt x="317" y="289"/>
                    </a:lnTo>
                    <a:lnTo>
                      <a:pt x="319" y="289"/>
                    </a:lnTo>
                    <a:lnTo>
                      <a:pt x="319" y="291"/>
                    </a:lnTo>
                    <a:lnTo>
                      <a:pt x="312" y="308"/>
                    </a:lnTo>
                    <a:lnTo>
                      <a:pt x="312" y="310"/>
                    </a:lnTo>
                    <a:lnTo>
                      <a:pt x="314" y="315"/>
                    </a:lnTo>
                    <a:lnTo>
                      <a:pt x="312" y="315"/>
                    </a:lnTo>
                    <a:lnTo>
                      <a:pt x="311" y="317"/>
                    </a:lnTo>
                    <a:lnTo>
                      <a:pt x="309" y="327"/>
                    </a:lnTo>
                    <a:lnTo>
                      <a:pt x="304" y="339"/>
                    </a:lnTo>
                    <a:lnTo>
                      <a:pt x="297" y="356"/>
                    </a:lnTo>
                    <a:lnTo>
                      <a:pt x="292" y="368"/>
                    </a:lnTo>
                    <a:lnTo>
                      <a:pt x="292" y="375"/>
                    </a:lnTo>
                    <a:lnTo>
                      <a:pt x="285" y="390"/>
                    </a:lnTo>
                    <a:lnTo>
                      <a:pt x="284" y="400"/>
                    </a:lnTo>
                    <a:lnTo>
                      <a:pt x="284" y="403"/>
                    </a:lnTo>
                    <a:lnTo>
                      <a:pt x="282" y="405"/>
                    </a:lnTo>
                    <a:lnTo>
                      <a:pt x="284" y="403"/>
                    </a:lnTo>
                    <a:lnTo>
                      <a:pt x="273" y="424"/>
                    </a:lnTo>
                    <a:lnTo>
                      <a:pt x="272" y="429"/>
                    </a:lnTo>
                    <a:lnTo>
                      <a:pt x="267" y="443"/>
                    </a:lnTo>
                    <a:lnTo>
                      <a:pt x="267" y="449"/>
                    </a:lnTo>
                    <a:lnTo>
                      <a:pt x="265" y="451"/>
                    </a:lnTo>
                    <a:lnTo>
                      <a:pt x="265" y="458"/>
                    </a:lnTo>
                    <a:lnTo>
                      <a:pt x="263" y="456"/>
                    </a:lnTo>
                    <a:lnTo>
                      <a:pt x="263" y="458"/>
                    </a:lnTo>
                    <a:lnTo>
                      <a:pt x="263" y="460"/>
                    </a:lnTo>
                    <a:lnTo>
                      <a:pt x="265" y="458"/>
                    </a:lnTo>
                    <a:lnTo>
                      <a:pt x="263" y="458"/>
                    </a:lnTo>
                    <a:lnTo>
                      <a:pt x="260" y="471"/>
                    </a:lnTo>
                    <a:lnTo>
                      <a:pt x="258" y="471"/>
                    </a:lnTo>
                    <a:lnTo>
                      <a:pt x="260" y="473"/>
                    </a:lnTo>
                    <a:lnTo>
                      <a:pt x="258" y="475"/>
                    </a:lnTo>
                    <a:lnTo>
                      <a:pt x="256" y="482"/>
                    </a:lnTo>
                    <a:lnTo>
                      <a:pt x="253" y="492"/>
                    </a:lnTo>
                    <a:lnTo>
                      <a:pt x="255" y="487"/>
                    </a:lnTo>
                    <a:lnTo>
                      <a:pt x="253" y="487"/>
                    </a:lnTo>
                    <a:lnTo>
                      <a:pt x="253" y="488"/>
                    </a:lnTo>
                    <a:lnTo>
                      <a:pt x="255" y="488"/>
                    </a:lnTo>
                    <a:lnTo>
                      <a:pt x="253" y="492"/>
                    </a:lnTo>
                    <a:lnTo>
                      <a:pt x="251" y="495"/>
                    </a:lnTo>
                    <a:lnTo>
                      <a:pt x="246" y="509"/>
                    </a:lnTo>
                    <a:lnTo>
                      <a:pt x="239" y="526"/>
                    </a:lnTo>
                    <a:lnTo>
                      <a:pt x="236" y="534"/>
                    </a:lnTo>
                    <a:lnTo>
                      <a:pt x="234" y="548"/>
                    </a:lnTo>
                    <a:lnTo>
                      <a:pt x="233" y="558"/>
                    </a:lnTo>
                    <a:lnTo>
                      <a:pt x="229" y="567"/>
                    </a:lnTo>
                    <a:lnTo>
                      <a:pt x="227" y="574"/>
                    </a:lnTo>
                    <a:lnTo>
                      <a:pt x="226" y="577"/>
                    </a:lnTo>
                    <a:lnTo>
                      <a:pt x="226" y="579"/>
                    </a:lnTo>
                    <a:lnTo>
                      <a:pt x="226" y="577"/>
                    </a:lnTo>
                    <a:lnTo>
                      <a:pt x="224" y="584"/>
                    </a:lnTo>
                    <a:lnTo>
                      <a:pt x="222" y="591"/>
                    </a:lnTo>
                    <a:lnTo>
                      <a:pt x="222" y="589"/>
                    </a:lnTo>
                    <a:lnTo>
                      <a:pt x="221" y="589"/>
                    </a:lnTo>
                    <a:lnTo>
                      <a:pt x="221" y="587"/>
                    </a:lnTo>
                    <a:lnTo>
                      <a:pt x="221" y="589"/>
                    </a:lnTo>
                    <a:lnTo>
                      <a:pt x="221" y="591"/>
                    </a:lnTo>
                    <a:lnTo>
                      <a:pt x="219" y="591"/>
                    </a:lnTo>
                    <a:lnTo>
                      <a:pt x="221" y="591"/>
                    </a:lnTo>
                    <a:lnTo>
                      <a:pt x="222" y="591"/>
                    </a:lnTo>
                    <a:lnTo>
                      <a:pt x="221" y="601"/>
                    </a:lnTo>
                    <a:lnTo>
                      <a:pt x="219" y="601"/>
                    </a:lnTo>
                    <a:lnTo>
                      <a:pt x="221" y="601"/>
                    </a:lnTo>
                    <a:lnTo>
                      <a:pt x="221" y="602"/>
                    </a:lnTo>
                    <a:lnTo>
                      <a:pt x="216" y="613"/>
                    </a:lnTo>
                    <a:lnTo>
                      <a:pt x="214" y="613"/>
                    </a:lnTo>
                    <a:lnTo>
                      <a:pt x="214" y="614"/>
                    </a:lnTo>
                    <a:lnTo>
                      <a:pt x="209" y="626"/>
                    </a:lnTo>
                    <a:lnTo>
                      <a:pt x="205" y="638"/>
                    </a:lnTo>
                    <a:lnTo>
                      <a:pt x="200" y="647"/>
                    </a:lnTo>
                    <a:lnTo>
                      <a:pt x="200" y="650"/>
                    </a:lnTo>
                    <a:lnTo>
                      <a:pt x="199" y="650"/>
                    </a:lnTo>
                    <a:lnTo>
                      <a:pt x="200" y="650"/>
                    </a:lnTo>
                    <a:lnTo>
                      <a:pt x="199" y="652"/>
                    </a:lnTo>
                    <a:lnTo>
                      <a:pt x="197" y="654"/>
                    </a:lnTo>
                    <a:lnTo>
                      <a:pt x="197" y="655"/>
                    </a:lnTo>
                    <a:lnTo>
                      <a:pt x="199" y="657"/>
                    </a:lnTo>
                    <a:lnTo>
                      <a:pt x="197" y="659"/>
                    </a:lnTo>
                    <a:lnTo>
                      <a:pt x="197" y="657"/>
                    </a:lnTo>
                    <a:lnTo>
                      <a:pt x="195" y="657"/>
                    </a:lnTo>
                    <a:lnTo>
                      <a:pt x="197" y="659"/>
                    </a:lnTo>
                    <a:lnTo>
                      <a:pt x="195" y="660"/>
                    </a:lnTo>
                    <a:lnTo>
                      <a:pt x="193" y="659"/>
                    </a:lnTo>
                    <a:lnTo>
                      <a:pt x="193" y="660"/>
                    </a:lnTo>
                    <a:lnTo>
                      <a:pt x="195" y="660"/>
                    </a:lnTo>
                    <a:lnTo>
                      <a:pt x="192" y="660"/>
                    </a:lnTo>
                    <a:lnTo>
                      <a:pt x="190" y="662"/>
                    </a:lnTo>
                    <a:lnTo>
                      <a:pt x="190" y="664"/>
                    </a:lnTo>
                    <a:lnTo>
                      <a:pt x="188" y="665"/>
                    </a:lnTo>
                    <a:lnTo>
                      <a:pt x="188" y="664"/>
                    </a:lnTo>
                    <a:lnTo>
                      <a:pt x="187" y="664"/>
                    </a:lnTo>
                    <a:lnTo>
                      <a:pt x="187" y="662"/>
                    </a:lnTo>
                    <a:lnTo>
                      <a:pt x="187" y="664"/>
                    </a:lnTo>
                    <a:lnTo>
                      <a:pt x="185" y="664"/>
                    </a:lnTo>
                    <a:lnTo>
                      <a:pt x="187" y="664"/>
                    </a:lnTo>
                    <a:lnTo>
                      <a:pt x="185" y="664"/>
                    </a:lnTo>
                    <a:lnTo>
                      <a:pt x="187" y="665"/>
                    </a:lnTo>
                    <a:lnTo>
                      <a:pt x="183" y="665"/>
                    </a:lnTo>
                    <a:lnTo>
                      <a:pt x="182" y="667"/>
                    </a:lnTo>
                    <a:lnTo>
                      <a:pt x="180" y="669"/>
                    </a:lnTo>
                    <a:lnTo>
                      <a:pt x="176" y="669"/>
                    </a:lnTo>
                    <a:lnTo>
                      <a:pt x="176" y="667"/>
                    </a:lnTo>
                    <a:lnTo>
                      <a:pt x="176" y="669"/>
                    </a:lnTo>
                    <a:lnTo>
                      <a:pt x="178" y="669"/>
                    </a:lnTo>
                    <a:lnTo>
                      <a:pt x="176" y="671"/>
                    </a:lnTo>
                    <a:lnTo>
                      <a:pt x="173" y="672"/>
                    </a:lnTo>
                    <a:lnTo>
                      <a:pt x="171" y="671"/>
                    </a:lnTo>
                    <a:lnTo>
                      <a:pt x="165" y="671"/>
                    </a:lnTo>
                    <a:lnTo>
                      <a:pt x="158" y="671"/>
                    </a:lnTo>
                    <a:lnTo>
                      <a:pt x="151" y="672"/>
                    </a:lnTo>
                    <a:lnTo>
                      <a:pt x="134" y="679"/>
                    </a:lnTo>
                    <a:lnTo>
                      <a:pt x="125" y="684"/>
                    </a:lnTo>
                    <a:lnTo>
                      <a:pt x="122" y="688"/>
                    </a:lnTo>
                    <a:lnTo>
                      <a:pt x="117" y="691"/>
                    </a:lnTo>
                    <a:lnTo>
                      <a:pt x="105" y="691"/>
                    </a:lnTo>
                    <a:lnTo>
                      <a:pt x="98" y="693"/>
                    </a:lnTo>
                    <a:lnTo>
                      <a:pt x="97" y="691"/>
                    </a:lnTo>
                    <a:lnTo>
                      <a:pt x="95" y="689"/>
                    </a:lnTo>
                    <a:lnTo>
                      <a:pt x="88" y="686"/>
                    </a:lnTo>
                    <a:lnTo>
                      <a:pt x="86" y="682"/>
                    </a:lnTo>
                    <a:lnTo>
                      <a:pt x="80" y="679"/>
                    </a:lnTo>
                    <a:lnTo>
                      <a:pt x="71" y="677"/>
                    </a:lnTo>
                    <a:lnTo>
                      <a:pt x="61" y="676"/>
                    </a:lnTo>
                    <a:lnTo>
                      <a:pt x="56" y="676"/>
                    </a:lnTo>
                    <a:lnTo>
                      <a:pt x="57" y="674"/>
                    </a:lnTo>
                    <a:lnTo>
                      <a:pt x="57" y="672"/>
                    </a:lnTo>
                    <a:lnTo>
                      <a:pt x="54" y="669"/>
                    </a:lnTo>
                    <a:lnTo>
                      <a:pt x="57" y="672"/>
                    </a:lnTo>
                    <a:lnTo>
                      <a:pt x="57" y="674"/>
                    </a:lnTo>
                    <a:lnTo>
                      <a:pt x="61" y="674"/>
                    </a:lnTo>
                    <a:lnTo>
                      <a:pt x="61" y="672"/>
                    </a:lnTo>
                    <a:lnTo>
                      <a:pt x="59" y="672"/>
                    </a:lnTo>
                    <a:lnTo>
                      <a:pt x="56" y="671"/>
                    </a:lnTo>
                    <a:lnTo>
                      <a:pt x="49" y="665"/>
                    </a:lnTo>
                    <a:lnTo>
                      <a:pt x="47" y="665"/>
                    </a:lnTo>
                    <a:lnTo>
                      <a:pt x="44" y="665"/>
                    </a:lnTo>
                    <a:lnTo>
                      <a:pt x="42" y="664"/>
                    </a:lnTo>
                    <a:lnTo>
                      <a:pt x="42" y="662"/>
                    </a:lnTo>
                    <a:lnTo>
                      <a:pt x="40" y="662"/>
                    </a:lnTo>
                    <a:lnTo>
                      <a:pt x="40" y="660"/>
                    </a:lnTo>
                    <a:lnTo>
                      <a:pt x="40" y="655"/>
                    </a:lnTo>
                    <a:lnTo>
                      <a:pt x="37" y="652"/>
                    </a:lnTo>
                    <a:lnTo>
                      <a:pt x="35" y="648"/>
                    </a:lnTo>
                    <a:lnTo>
                      <a:pt x="35" y="647"/>
                    </a:lnTo>
                    <a:lnTo>
                      <a:pt x="35" y="645"/>
                    </a:lnTo>
                    <a:lnTo>
                      <a:pt x="35" y="643"/>
                    </a:lnTo>
                    <a:lnTo>
                      <a:pt x="30" y="636"/>
                    </a:lnTo>
                    <a:lnTo>
                      <a:pt x="25" y="631"/>
                    </a:lnTo>
                    <a:lnTo>
                      <a:pt x="23" y="630"/>
                    </a:lnTo>
                    <a:lnTo>
                      <a:pt x="22" y="626"/>
                    </a:lnTo>
                    <a:lnTo>
                      <a:pt x="23" y="613"/>
                    </a:lnTo>
                    <a:lnTo>
                      <a:pt x="22" y="606"/>
                    </a:lnTo>
                    <a:lnTo>
                      <a:pt x="22" y="602"/>
                    </a:lnTo>
                    <a:lnTo>
                      <a:pt x="22" y="601"/>
                    </a:lnTo>
                    <a:lnTo>
                      <a:pt x="20" y="597"/>
                    </a:lnTo>
                    <a:lnTo>
                      <a:pt x="22" y="597"/>
                    </a:lnTo>
                    <a:lnTo>
                      <a:pt x="20" y="597"/>
                    </a:lnTo>
                    <a:lnTo>
                      <a:pt x="22" y="594"/>
                    </a:lnTo>
                    <a:lnTo>
                      <a:pt x="20" y="594"/>
                    </a:lnTo>
                    <a:lnTo>
                      <a:pt x="22" y="591"/>
                    </a:lnTo>
                    <a:lnTo>
                      <a:pt x="27" y="589"/>
                    </a:lnTo>
                    <a:lnTo>
                      <a:pt x="27" y="587"/>
                    </a:lnTo>
                    <a:lnTo>
                      <a:pt x="25" y="589"/>
                    </a:lnTo>
                    <a:lnTo>
                      <a:pt x="25" y="587"/>
                    </a:lnTo>
                    <a:lnTo>
                      <a:pt x="27" y="587"/>
                    </a:lnTo>
                    <a:lnTo>
                      <a:pt x="27" y="585"/>
                    </a:lnTo>
                    <a:lnTo>
                      <a:pt x="27" y="584"/>
                    </a:lnTo>
                    <a:lnTo>
                      <a:pt x="22" y="579"/>
                    </a:lnTo>
                    <a:lnTo>
                      <a:pt x="20" y="579"/>
                    </a:lnTo>
                    <a:lnTo>
                      <a:pt x="20" y="577"/>
                    </a:lnTo>
                    <a:lnTo>
                      <a:pt x="20" y="570"/>
                    </a:lnTo>
                    <a:lnTo>
                      <a:pt x="20" y="565"/>
                    </a:lnTo>
                    <a:lnTo>
                      <a:pt x="18" y="563"/>
                    </a:lnTo>
                    <a:lnTo>
                      <a:pt x="15" y="560"/>
                    </a:lnTo>
                    <a:lnTo>
                      <a:pt x="13" y="560"/>
                    </a:lnTo>
                    <a:lnTo>
                      <a:pt x="13" y="558"/>
                    </a:lnTo>
                    <a:lnTo>
                      <a:pt x="6" y="551"/>
                    </a:lnTo>
                    <a:lnTo>
                      <a:pt x="5" y="545"/>
                    </a:lnTo>
                    <a:lnTo>
                      <a:pt x="3" y="540"/>
                    </a:lnTo>
                    <a:lnTo>
                      <a:pt x="3" y="534"/>
                    </a:lnTo>
                    <a:lnTo>
                      <a:pt x="3" y="533"/>
                    </a:lnTo>
                    <a:lnTo>
                      <a:pt x="1" y="528"/>
                    </a:lnTo>
                    <a:lnTo>
                      <a:pt x="0" y="526"/>
                    </a:lnTo>
                    <a:lnTo>
                      <a:pt x="0" y="524"/>
                    </a:lnTo>
                    <a:lnTo>
                      <a:pt x="0" y="523"/>
                    </a:lnTo>
                    <a:lnTo>
                      <a:pt x="0" y="521"/>
                    </a:lnTo>
                    <a:lnTo>
                      <a:pt x="3" y="521"/>
                    </a:lnTo>
                    <a:lnTo>
                      <a:pt x="3" y="523"/>
                    </a:lnTo>
                    <a:lnTo>
                      <a:pt x="5" y="521"/>
                    </a:lnTo>
                    <a:lnTo>
                      <a:pt x="3" y="517"/>
                    </a:lnTo>
                    <a:lnTo>
                      <a:pt x="1" y="519"/>
                    </a:lnTo>
                    <a:lnTo>
                      <a:pt x="1" y="517"/>
                    </a:lnTo>
                    <a:lnTo>
                      <a:pt x="0" y="517"/>
                    </a:lnTo>
                    <a:lnTo>
                      <a:pt x="1" y="514"/>
                    </a:lnTo>
                    <a:lnTo>
                      <a:pt x="0" y="514"/>
                    </a:lnTo>
                    <a:lnTo>
                      <a:pt x="1" y="509"/>
                    </a:lnTo>
                    <a:lnTo>
                      <a:pt x="1" y="507"/>
                    </a:lnTo>
                    <a:lnTo>
                      <a:pt x="3" y="507"/>
                    </a:lnTo>
                    <a:lnTo>
                      <a:pt x="3" y="504"/>
                    </a:lnTo>
                    <a:lnTo>
                      <a:pt x="3" y="502"/>
                    </a:lnTo>
                    <a:lnTo>
                      <a:pt x="5" y="506"/>
                    </a:lnTo>
                    <a:lnTo>
                      <a:pt x="6" y="504"/>
                    </a:lnTo>
                    <a:lnTo>
                      <a:pt x="5" y="502"/>
                    </a:lnTo>
                    <a:lnTo>
                      <a:pt x="6" y="497"/>
                    </a:lnTo>
                    <a:lnTo>
                      <a:pt x="8" y="495"/>
                    </a:lnTo>
                    <a:lnTo>
                      <a:pt x="10" y="492"/>
                    </a:lnTo>
                    <a:lnTo>
                      <a:pt x="12" y="492"/>
                    </a:lnTo>
                    <a:lnTo>
                      <a:pt x="12" y="488"/>
                    </a:lnTo>
                    <a:lnTo>
                      <a:pt x="12" y="482"/>
                    </a:lnTo>
                    <a:lnTo>
                      <a:pt x="12" y="480"/>
                    </a:lnTo>
                    <a:lnTo>
                      <a:pt x="13" y="475"/>
                    </a:lnTo>
                    <a:lnTo>
                      <a:pt x="15" y="475"/>
                    </a:lnTo>
                    <a:lnTo>
                      <a:pt x="18" y="473"/>
                    </a:lnTo>
                    <a:lnTo>
                      <a:pt x="20" y="473"/>
                    </a:lnTo>
                    <a:lnTo>
                      <a:pt x="23" y="471"/>
                    </a:lnTo>
                    <a:lnTo>
                      <a:pt x="25" y="473"/>
                    </a:lnTo>
                    <a:lnTo>
                      <a:pt x="27" y="471"/>
                    </a:lnTo>
                    <a:lnTo>
                      <a:pt x="29" y="470"/>
                    </a:lnTo>
                    <a:lnTo>
                      <a:pt x="30" y="466"/>
                    </a:lnTo>
                    <a:lnTo>
                      <a:pt x="34" y="454"/>
                    </a:lnTo>
                    <a:lnTo>
                      <a:pt x="35" y="448"/>
                    </a:lnTo>
                    <a:lnTo>
                      <a:pt x="37" y="448"/>
                    </a:lnTo>
                    <a:lnTo>
                      <a:pt x="35" y="449"/>
                    </a:lnTo>
                    <a:lnTo>
                      <a:pt x="37" y="448"/>
                    </a:lnTo>
                    <a:lnTo>
                      <a:pt x="37" y="446"/>
                    </a:lnTo>
                    <a:lnTo>
                      <a:pt x="39" y="446"/>
                    </a:lnTo>
                    <a:lnTo>
                      <a:pt x="39" y="448"/>
                    </a:lnTo>
                    <a:lnTo>
                      <a:pt x="40" y="446"/>
                    </a:lnTo>
                    <a:lnTo>
                      <a:pt x="39" y="446"/>
                    </a:lnTo>
                    <a:lnTo>
                      <a:pt x="42" y="444"/>
                    </a:lnTo>
                    <a:lnTo>
                      <a:pt x="40" y="444"/>
                    </a:lnTo>
                    <a:lnTo>
                      <a:pt x="46" y="432"/>
                    </a:lnTo>
                    <a:lnTo>
                      <a:pt x="46" y="434"/>
                    </a:lnTo>
                    <a:lnTo>
                      <a:pt x="47" y="431"/>
                    </a:lnTo>
                    <a:lnTo>
                      <a:pt x="52" y="427"/>
                    </a:lnTo>
                    <a:lnTo>
                      <a:pt x="52" y="424"/>
                    </a:lnTo>
                    <a:lnTo>
                      <a:pt x="54" y="422"/>
                    </a:lnTo>
                    <a:lnTo>
                      <a:pt x="57" y="417"/>
                    </a:lnTo>
                    <a:lnTo>
                      <a:pt x="57" y="415"/>
                    </a:lnTo>
                    <a:lnTo>
                      <a:pt x="59" y="415"/>
                    </a:lnTo>
                    <a:lnTo>
                      <a:pt x="59" y="414"/>
                    </a:lnTo>
                    <a:lnTo>
                      <a:pt x="61" y="410"/>
                    </a:lnTo>
                    <a:lnTo>
                      <a:pt x="63" y="410"/>
                    </a:lnTo>
                    <a:lnTo>
                      <a:pt x="61" y="410"/>
                    </a:lnTo>
                    <a:lnTo>
                      <a:pt x="63" y="407"/>
                    </a:lnTo>
                    <a:lnTo>
                      <a:pt x="63" y="409"/>
                    </a:lnTo>
                    <a:lnTo>
                      <a:pt x="64" y="409"/>
                    </a:lnTo>
                    <a:lnTo>
                      <a:pt x="63" y="409"/>
                    </a:lnTo>
                    <a:lnTo>
                      <a:pt x="64" y="407"/>
                    </a:lnTo>
                    <a:lnTo>
                      <a:pt x="63" y="402"/>
                    </a:lnTo>
                    <a:lnTo>
                      <a:pt x="63" y="400"/>
                    </a:lnTo>
                    <a:lnTo>
                      <a:pt x="61" y="400"/>
                    </a:lnTo>
                    <a:lnTo>
                      <a:pt x="59" y="400"/>
                    </a:lnTo>
                    <a:lnTo>
                      <a:pt x="61" y="398"/>
                    </a:lnTo>
                    <a:lnTo>
                      <a:pt x="59" y="398"/>
                    </a:lnTo>
                    <a:lnTo>
                      <a:pt x="59" y="397"/>
                    </a:lnTo>
                    <a:lnTo>
                      <a:pt x="59" y="395"/>
                    </a:lnTo>
                    <a:lnTo>
                      <a:pt x="59" y="397"/>
                    </a:lnTo>
                    <a:lnTo>
                      <a:pt x="61" y="397"/>
                    </a:lnTo>
                    <a:lnTo>
                      <a:pt x="59" y="397"/>
                    </a:lnTo>
                    <a:lnTo>
                      <a:pt x="61" y="395"/>
                    </a:lnTo>
                    <a:lnTo>
                      <a:pt x="59" y="392"/>
                    </a:lnTo>
                    <a:lnTo>
                      <a:pt x="61" y="392"/>
                    </a:lnTo>
                    <a:lnTo>
                      <a:pt x="61" y="393"/>
                    </a:lnTo>
                    <a:lnTo>
                      <a:pt x="61" y="392"/>
                    </a:lnTo>
                    <a:lnTo>
                      <a:pt x="61" y="390"/>
                    </a:lnTo>
                    <a:lnTo>
                      <a:pt x="59" y="390"/>
                    </a:lnTo>
                    <a:lnTo>
                      <a:pt x="59" y="388"/>
                    </a:lnTo>
                    <a:lnTo>
                      <a:pt x="61" y="388"/>
                    </a:lnTo>
                    <a:lnTo>
                      <a:pt x="63" y="385"/>
                    </a:lnTo>
                    <a:lnTo>
                      <a:pt x="63" y="386"/>
                    </a:lnTo>
                    <a:lnTo>
                      <a:pt x="63" y="383"/>
                    </a:lnTo>
                    <a:lnTo>
                      <a:pt x="63" y="381"/>
                    </a:lnTo>
                    <a:lnTo>
                      <a:pt x="59" y="375"/>
                    </a:lnTo>
                    <a:lnTo>
                      <a:pt x="61" y="376"/>
                    </a:lnTo>
                    <a:lnTo>
                      <a:pt x="57" y="373"/>
                    </a:lnTo>
                    <a:lnTo>
                      <a:pt x="56" y="371"/>
                    </a:lnTo>
                    <a:lnTo>
                      <a:pt x="56" y="369"/>
                    </a:lnTo>
                    <a:lnTo>
                      <a:pt x="54" y="366"/>
                    </a:lnTo>
                    <a:lnTo>
                      <a:pt x="52" y="366"/>
                    </a:lnTo>
                    <a:lnTo>
                      <a:pt x="52" y="364"/>
                    </a:lnTo>
                    <a:lnTo>
                      <a:pt x="51" y="363"/>
                    </a:lnTo>
                    <a:lnTo>
                      <a:pt x="52" y="363"/>
                    </a:lnTo>
                    <a:lnTo>
                      <a:pt x="51" y="361"/>
                    </a:lnTo>
                    <a:lnTo>
                      <a:pt x="51" y="356"/>
                    </a:lnTo>
                    <a:lnTo>
                      <a:pt x="51" y="354"/>
                    </a:lnTo>
                    <a:lnTo>
                      <a:pt x="51" y="356"/>
                    </a:lnTo>
                    <a:lnTo>
                      <a:pt x="52" y="356"/>
                    </a:lnTo>
                    <a:lnTo>
                      <a:pt x="51" y="354"/>
                    </a:lnTo>
                    <a:lnTo>
                      <a:pt x="52" y="352"/>
                    </a:lnTo>
                    <a:lnTo>
                      <a:pt x="51" y="351"/>
                    </a:lnTo>
                    <a:lnTo>
                      <a:pt x="52" y="351"/>
                    </a:lnTo>
                    <a:lnTo>
                      <a:pt x="49" y="342"/>
                    </a:lnTo>
                    <a:lnTo>
                      <a:pt x="51" y="342"/>
                    </a:lnTo>
                    <a:lnTo>
                      <a:pt x="47" y="337"/>
                    </a:lnTo>
                    <a:lnTo>
                      <a:pt x="46" y="334"/>
                    </a:lnTo>
                    <a:lnTo>
                      <a:pt x="40" y="327"/>
                    </a:lnTo>
                    <a:lnTo>
                      <a:pt x="42" y="323"/>
                    </a:lnTo>
                    <a:lnTo>
                      <a:pt x="42" y="317"/>
                    </a:lnTo>
                    <a:lnTo>
                      <a:pt x="40" y="312"/>
                    </a:lnTo>
                    <a:lnTo>
                      <a:pt x="39" y="305"/>
                    </a:lnTo>
                    <a:lnTo>
                      <a:pt x="40" y="295"/>
                    </a:lnTo>
                    <a:lnTo>
                      <a:pt x="39" y="293"/>
                    </a:lnTo>
                    <a:lnTo>
                      <a:pt x="37" y="293"/>
                    </a:lnTo>
                    <a:lnTo>
                      <a:pt x="37" y="291"/>
                    </a:lnTo>
                    <a:lnTo>
                      <a:pt x="39" y="291"/>
                    </a:lnTo>
                    <a:lnTo>
                      <a:pt x="37" y="291"/>
                    </a:lnTo>
                    <a:lnTo>
                      <a:pt x="37" y="289"/>
                    </a:lnTo>
                    <a:lnTo>
                      <a:pt x="37" y="288"/>
                    </a:lnTo>
                    <a:lnTo>
                      <a:pt x="35" y="283"/>
                    </a:lnTo>
                    <a:lnTo>
                      <a:pt x="37" y="283"/>
                    </a:lnTo>
                    <a:lnTo>
                      <a:pt x="35" y="281"/>
                    </a:lnTo>
                    <a:lnTo>
                      <a:pt x="37" y="276"/>
                    </a:lnTo>
                    <a:lnTo>
                      <a:pt x="39" y="276"/>
                    </a:lnTo>
                    <a:lnTo>
                      <a:pt x="39" y="274"/>
                    </a:lnTo>
                    <a:lnTo>
                      <a:pt x="40" y="274"/>
                    </a:lnTo>
                    <a:lnTo>
                      <a:pt x="40" y="272"/>
                    </a:lnTo>
                    <a:lnTo>
                      <a:pt x="42" y="269"/>
                    </a:lnTo>
                    <a:lnTo>
                      <a:pt x="44" y="269"/>
                    </a:lnTo>
                    <a:lnTo>
                      <a:pt x="44" y="266"/>
                    </a:lnTo>
                    <a:lnTo>
                      <a:pt x="46" y="266"/>
                    </a:lnTo>
                    <a:lnTo>
                      <a:pt x="44" y="264"/>
                    </a:lnTo>
                    <a:lnTo>
                      <a:pt x="46" y="261"/>
                    </a:lnTo>
                    <a:lnTo>
                      <a:pt x="47" y="262"/>
                    </a:lnTo>
                    <a:lnTo>
                      <a:pt x="47" y="261"/>
                    </a:lnTo>
                    <a:lnTo>
                      <a:pt x="51" y="257"/>
                    </a:lnTo>
                    <a:lnTo>
                      <a:pt x="52" y="254"/>
                    </a:lnTo>
                    <a:lnTo>
                      <a:pt x="52" y="252"/>
                    </a:lnTo>
                    <a:lnTo>
                      <a:pt x="56" y="247"/>
                    </a:lnTo>
                    <a:lnTo>
                      <a:pt x="56" y="249"/>
                    </a:lnTo>
                    <a:lnTo>
                      <a:pt x="56" y="245"/>
                    </a:lnTo>
                    <a:lnTo>
                      <a:pt x="57" y="245"/>
                    </a:lnTo>
                    <a:lnTo>
                      <a:pt x="59" y="244"/>
                    </a:lnTo>
                    <a:lnTo>
                      <a:pt x="61" y="242"/>
                    </a:lnTo>
                    <a:lnTo>
                      <a:pt x="61" y="240"/>
                    </a:lnTo>
                    <a:lnTo>
                      <a:pt x="61" y="237"/>
                    </a:lnTo>
                    <a:lnTo>
                      <a:pt x="63" y="237"/>
                    </a:lnTo>
                    <a:lnTo>
                      <a:pt x="63" y="238"/>
                    </a:lnTo>
                    <a:lnTo>
                      <a:pt x="64" y="238"/>
                    </a:lnTo>
                    <a:lnTo>
                      <a:pt x="63" y="238"/>
                    </a:lnTo>
                    <a:lnTo>
                      <a:pt x="63" y="237"/>
                    </a:lnTo>
                    <a:lnTo>
                      <a:pt x="61" y="235"/>
                    </a:lnTo>
                    <a:lnTo>
                      <a:pt x="63" y="233"/>
                    </a:lnTo>
                    <a:lnTo>
                      <a:pt x="63" y="232"/>
                    </a:lnTo>
                    <a:lnTo>
                      <a:pt x="59" y="223"/>
                    </a:lnTo>
                    <a:lnTo>
                      <a:pt x="61" y="218"/>
                    </a:lnTo>
                    <a:lnTo>
                      <a:pt x="61" y="216"/>
                    </a:lnTo>
                    <a:lnTo>
                      <a:pt x="63" y="215"/>
                    </a:lnTo>
                    <a:lnTo>
                      <a:pt x="64" y="215"/>
                    </a:lnTo>
                    <a:lnTo>
                      <a:pt x="66" y="216"/>
                    </a:lnTo>
                    <a:lnTo>
                      <a:pt x="66" y="215"/>
                    </a:lnTo>
                    <a:lnTo>
                      <a:pt x="64" y="215"/>
                    </a:lnTo>
                    <a:lnTo>
                      <a:pt x="73" y="216"/>
                    </a:lnTo>
                    <a:lnTo>
                      <a:pt x="78" y="216"/>
                    </a:lnTo>
                    <a:lnTo>
                      <a:pt x="76" y="216"/>
                    </a:lnTo>
                    <a:lnTo>
                      <a:pt x="78" y="216"/>
                    </a:lnTo>
                    <a:lnTo>
                      <a:pt x="76" y="218"/>
                    </a:lnTo>
                    <a:lnTo>
                      <a:pt x="78" y="216"/>
                    </a:lnTo>
                    <a:lnTo>
                      <a:pt x="80" y="218"/>
                    </a:lnTo>
                    <a:lnTo>
                      <a:pt x="81" y="218"/>
                    </a:lnTo>
                    <a:lnTo>
                      <a:pt x="83" y="218"/>
                    </a:lnTo>
                    <a:lnTo>
                      <a:pt x="81" y="218"/>
                    </a:lnTo>
                    <a:lnTo>
                      <a:pt x="83" y="218"/>
                    </a:lnTo>
                    <a:lnTo>
                      <a:pt x="81" y="216"/>
                    </a:lnTo>
                    <a:lnTo>
                      <a:pt x="83" y="216"/>
                    </a:lnTo>
                    <a:lnTo>
                      <a:pt x="83" y="215"/>
                    </a:lnTo>
                    <a:lnTo>
                      <a:pt x="85" y="215"/>
                    </a:lnTo>
                    <a:lnTo>
                      <a:pt x="90" y="215"/>
                    </a:lnTo>
                    <a:lnTo>
                      <a:pt x="90" y="216"/>
                    </a:lnTo>
                    <a:lnTo>
                      <a:pt x="90" y="215"/>
                    </a:lnTo>
                    <a:lnTo>
                      <a:pt x="86" y="213"/>
                    </a:lnTo>
                    <a:lnTo>
                      <a:pt x="90" y="211"/>
                    </a:lnTo>
                    <a:lnTo>
                      <a:pt x="97" y="206"/>
                    </a:lnTo>
                    <a:lnTo>
                      <a:pt x="102" y="203"/>
                    </a:lnTo>
                    <a:lnTo>
                      <a:pt x="103" y="203"/>
                    </a:lnTo>
                    <a:lnTo>
                      <a:pt x="103" y="206"/>
                    </a:lnTo>
                    <a:lnTo>
                      <a:pt x="105" y="208"/>
                    </a:lnTo>
                    <a:lnTo>
                      <a:pt x="103" y="211"/>
                    </a:lnTo>
                    <a:lnTo>
                      <a:pt x="105" y="213"/>
                    </a:lnTo>
                    <a:lnTo>
                      <a:pt x="105" y="211"/>
                    </a:lnTo>
                    <a:lnTo>
                      <a:pt x="107" y="211"/>
                    </a:lnTo>
                    <a:lnTo>
                      <a:pt x="108" y="211"/>
                    </a:lnTo>
                    <a:lnTo>
                      <a:pt x="107" y="211"/>
                    </a:lnTo>
                    <a:lnTo>
                      <a:pt x="107" y="210"/>
                    </a:lnTo>
                    <a:lnTo>
                      <a:pt x="108" y="210"/>
                    </a:lnTo>
                    <a:lnTo>
                      <a:pt x="110" y="208"/>
                    </a:lnTo>
                    <a:lnTo>
                      <a:pt x="110" y="206"/>
                    </a:lnTo>
                    <a:lnTo>
                      <a:pt x="108" y="206"/>
                    </a:lnTo>
                    <a:lnTo>
                      <a:pt x="108" y="208"/>
                    </a:lnTo>
                    <a:lnTo>
                      <a:pt x="107" y="204"/>
                    </a:lnTo>
                    <a:lnTo>
                      <a:pt x="110" y="204"/>
                    </a:lnTo>
                    <a:lnTo>
                      <a:pt x="119" y="203"/>
                    </a:lnTo>
                    <a:lnTo>
                      <a:pt x="119" y="204"/>
                    </a:lnTo>
                    <a:lnTo>
                      <a:pt x="117" y="210"/>
                    </a:lnTo>
                    <a:lnTo>
                      <a:pt x="117" y="208"/>
                    </a:lnTo>
                    <a:lnTo>
                      <a:pt x="119" y="208"/>
                    </a:lnTo>
                    <a:lnTo>
                      <a:pt x="119" y="206"/>
                    </a:lnTo>
                    <a:lnTo>
                      <a:pt x="120" y="208"/>
                    </a:lnTo>
                    <a:lnTo>
                      <a:pt x="119" y="208"/>
                    </a:lnTo>
                    <a:lnTo>
                      <a:pt x="120" y="208"/>
                    </a:lnTo>
                    <a:lnTo>
                      <a:pt x="120" y="210"/>
                    </a:lnTo>
                    <a:lnTo>
                      <a:pt x="120" y="206"/>
                    </a:lnTo>
                    <a:lnTo>
                      <a:pt x="120" y="208"/>
                    </a:lnTo>
                    <a:lnTo>
                      <a:pt x="120" y="206"/>
                    </a:lnTo>
                    <a:lnTo>
                      <a:pt x="120" y="203"/>
                    </a:lnTo>
                    <a:lnTo>
                      <a:pt x="122" y="204"/>
                    </a:lnTo>
                    <a:lnTo>
                      <a:pt x="120" y="203"/>
                    </a:lnTo>
                    <a:lnTo>
                      <a:pt x="120" y="201"/>
                    </a:lnTo>
                    <a:lnTo>
                      <a:pt x="122" y="201"/>
                    </a:lnTo>
                    <a:lnTo>
                      <a:pt x="120" y="198"/>
                    </a:lnTo>
                    <a:lnTo>
                      <a:pt x="122" y="196"/>
                    </a:lnTo>
                    <a:lnTo>
                      <a:pt x="120" y="198"/>
                    </a:lnTo>
                    <a:lnTo>
                      <a:pt x="124" y="194"/>
                    </a:lnTo>
                    <a:lnTo>
                      <a:pt x="125" y="194"/>
                    </a:lnTo>
                    <a:lnTo>
                      <a:pt x="129" y="196"/>
                    </a:lnTo>
                    <a:lnTo>
                      <a:pt x="127" y="196"/>
                    </a:lnTo>
                    <a:lnTo>
                      <a:pt x="129" y="196"/>
                    </a:lnTo>
                    <a:lnTo>
                      <a:pt x="129" y="198"/>
                    </a:lnTo>
                    <a:lnTo>
                      <a:pt x="131" y="198"/>
                    </a:lnTo>
                    <a:lnTo>
                      <a:pt x="132" y="194"/>
                    </a:lnTo>
                    <a:lnTo>
                      <a:pt x="132" y="196"/>
                    </a:lnTo>
                    <a:lnTo>
                      <a:pt x="132" y="194"/>
                    </a:lnTo>
                    <a:lnTo>
                      <a:pt x="136" y="194"/>
                    </a:lnTo>
                    <a:lnTo>
                      <a:pt x="139" y="194"/>
                    </a:lnTo>
                    <a:lnTo>
                      <a:pt x="137" y="196"/>
                    </a:lnTo>
                    <a:lnTo>
                      <a:pt x="139" y="198"/>
                    </a:lnTo>
                    <a:lnTo>
                      <a:pt x="141" y="198"/>
                    </a:lnTo>
                    <a:lnTo>
                      <a:pt x="142" y="199"/>
                    </a:lnTo>
                    <a:lnTo>
                      <a:pt x="144" y="198"/>
                    </a:lnTo>
                    <a:lnTo>
                      <a:pt x="142" y="198"/>
                    </a:lnTo>
                    <a:lnTo>
                      <a:pt x="144" y="196"/>
                    </a:lnTo>
                    <a:lnTo>
                      <a:pt x="146" y="194"/>
                    </a:lnTo>
                    <a:lnTo>
                      <a:pt x="142" y="196"/>
                    </a:lnTo>
                    <a:lnTo>
                      <a:pt x="141" y="196"/>
                    </a:lnTo>
                    <a:lnTo>
                      <a:pt x="144" y="191"/>
                    </a:lnTo>
                    <a:lnTo>
                      <a:pt x="149" y="191"/>
                    </a:lnTo>
                    <a:lnTo>
                      <a:pt x="153" y="191"/>
                    </a:lnTo>
                    <a:lnTo>
                      <a:pt x="153" y="193"/>
                    </a:lnTo>
                    <a:lnTo>
                      <a:pt x="151" y="196"/>
                    </a:lnTo>
                    <a:lnTo>
                      <a:pt x="153" y="198"/>
                    </a:lnTo>
                    <a:lnTo>
                      <a:pt x="158" y="206"/>
                    </a:lnTo>
                    <a:lnTo>
                      <a:pt x="161" y="208"/>
                    </a:lnTo>
                    <a:lnTo>
                      <a:pt x="168" y="208"/>
                    </a:lnTo>
                    <a:lnTo>
                      <a:pt x="170" y="208"/>
                    </a:lnTo>
                    <a:lnTo>
                      <a:pt x="171" y="211"/>
                    </a:lnTo>
                    <a:lnTo>
                      <a:pt x="171" y="210"/>
                    </a:lnTo>
                    <a:lnTo>
                      <a:pt x="173" y="208"/>
                    </a:lnTo>
                    <a:lnTo>
                      <a:pt x="171" y="206"/>
                    </a:lnTo>
                    <a:lnTo>
                      <a:pt x="166" y="204"/>
                    </a:lnTo>
                    <a:lnTo>
                      <a:pt x="165" y="203"/>
                    </a:lnTo>
                    <a:lnTo>
                      <a:pt x="159" y="198"/>
                    </a:lnTo>
                    <a:lnTo>
                      <a:pt x="156" y="198"/>
                    </a:lnTo>
                    <a:lnTo>
                      <a:pt x="156" y="196"/>
                    </a:lnTo>
                    <a:lnTo>
                      <a:pt x="159" y="193"/>
                    </a:lnTo>
                    <a:lnTo>
                      <a:pt x="159" y="191"/>
                    </a:lnTo>
                    <a:lnTo>
                      <a:pt x="158" y="191"/>
                    </a:lnTo>
                    <a:lnTo>
                      <a:pt x="156" y="191"/>
                    </a:lnTo>
                    <a:lnTo>
                      <a:pt x="159" y="186"/>
                    </a:lnTo>
                    <a:lnTo>
                      <a:pt x="161" y="184"/>
                    </a:lnTo>
                    <a:lnTo>
                      <a:pt x="165" y="181"/>
                    </a:lnTo>
                    <a:lnTo>
                      <a:pt x="165" y="182"/>
                    </a:lnTo>
                    <a:lnTo>
                      <a:pt x="165" y="181"/>
                    </a:lnTo>
                    <a:lnTo>
                      <a:pt x="171" y="175"/>
                    </a:lnTo>
                    <a:lnTo>
                      <a:pt x="175" y="175"/>
                    </a:lnTo>
                    <a:lnTo>
                      <a:pt x="173" y="177"/>
                    </a:lnTo>
                    <a:lnTo>
                      <a:pt x="175" y="177"/>
                    </a:lnTo>
                    <a:lnTo>
                      <a:pt x="175" y="175"/>
                    </a:lnTo>
                    <a:lnTo>
                      <a:pt x="173" y="175"/>
                    </a:lnTo>
                    <a:lnTo>
                      <a:pt x="185" y="167"/>
                    </a:lnTo>
                    <a:lnTo>
                      <a:pt x="188" y="165"/>
                    </a:lnTo>
                    <a:lnTo>
                      <a:pt x="188" y="169"/>
                    </a:lnTo>
                    <a:lnTo>
                      <a:pt x="195" y="172"/>
                    </a:lnTo>
                    <a:lnTo>
                      <a:pt x="190" y="177"/>
                    </a:lnTo>
                    <a:lnTo>
                      <a:pt x="188" y="182"/>
                    </a:lnTo>
                    <a:lnTo>
                      <a:pt x="185" y="186"/>
                    </a:lnTo>
                    <a:lnTo>
                      <a:pt x="187" y="184"/>
                    </a:lnTo>
                    <a:lnTo>
                      <a:pt x="187" y="186"/>
                    </a:lnTo>
                    <a:lnTo>
                      <a:pt x="188" y="184"/>
                    </a:lnTo>
                    <a:lnTo>
                      <a:pt x="190" y="179"/>
                    </a:lnTo>
                    <a:lnTo>
                      <a:pt x="193" y="184"/>
                    </a:lnTo>
                    <a:lnTo>
                      <a:pt x="193" y="182"/>
                    </a:lnTo>
                    <a:lnTo>
                      <a:pt x="193" y="179"/>
                    </a:lnTo>
                    <a:lnTo>
                      <a:pt x="195" y="181"/>
                    </a:lnTo>
                    <a:lnTo>
                      <a:pt x="195" y="182"/>
                    </a:lnTo>
                    <a:lnTo>
                      <a:pt x="195" y="179"/>
                    </a:lnTo>
                    <a:lnTo>
                      <a:pt x="197" y="181"/>
                    </a:lnTo>
                    <a:lnTo>
                      <a:pt x="195" y="177"/>
                    </a:lnTo>
                    <a:lnTo>
                      <a:pt x="197" y="177"/>
                    </a:lnTo>
                    <a:lnTo>
                      <a:pt x="199" y="179"/>
                    </a:lnTo>
                    <a:lnTo>
                      <a:pt x="199" y="177"/>
                    </a:lnTo>
                    <a:lnTo>
                      <a:pt x="200" y="179"/>
                    </a:lnTo>
                    <a:lnTo>
                      <a:pt x="200" y="177"/>
                    </a:lnTo>
                    <a:lnTo>
                      <a:pt x="202" y="177"/>
                    </a:lnTo>
                    <a:lnTo>
                      <a:pt x="202" y="175"/>
                    </a:lnTo>
                    <a:lnTo>
                      <a:pt x="200" y="175"/>
                    </a:lnTo>
                    <a:lnTo>
                      <a:pt x="199" y="174"/>
                    </a:lnTo>
                    <a:lnTo>
                      <a:pt x="199" y="169"/>
                    </a:lnTo>
                    <a:lnTo>
                      <a:pt x="197" y="170"/>
                    </a:lnTo>
                    <a:lnTo>
                      <a:pt x="195" y="170"/>
                    </a:lnTo>
                    <a:lnTo>
                      <a:pt x="195" y="169"/>
                    </a:lnTo>
                    <a:lnTo>
                      <a:pt x="193" y="167"/>
                    </a:lnTo>
                    <a:lnTo>
                      <a:pt x="193" y="164"/>
                    </a:lnTo>
                    <a:lnTo>
                      <a:pt x="197" y="160"/>
                    </a:lnTo>
                    <a:lnTo>
                      <a:pt x="199" y="160"/>
                    </a:lnTo>
                    <a:lnTo>
                      <a:pt x="200" y="158"/>
                    </a:lnTo>
                    <a:lnTo>
                      <a:pt x="202" y="155"/>
                    </a:lnTo>
                    <a:lnTo>
                      <a:pt x="202" y="153"/>
                    </a:lnTo>
                    <a:lnTo>
                      <a:pt x="204" y="155"/>
                    </a:lnTo>
                    <a:lnTo>
                      <a:pt x="204" y="153"/>
                    </a:lnTo>
                    <a:lnTo>
                      <a:pt x="205" y="152"/>
                    </a:lnTo>
                    <a:lnTo>
                      <a:pt x="207" y="150"/>
                    </a:lnTo>
                    <a:lnTo>
                      <a:pt x="207" y="152"/>
                    </a:lnTo>
                    <a:lnTo>
                      <a:pt x="209" y="150"/>
                    </a:lnTo>
                    <a:lnTo>
                      <a:pt x="210" y="148"/>
                    </a:lnTo>
                    <a:lnTo>
                      <a:pt x="209" y="147"/>
                    </a:lnTo>
                    <a:lnTo>
                      <a:pt x="209" y="148"/>
                    </a:lnTo>
                    <a:lnTo>
                      <a:pt x="209" y="150"/>
                    </a:lnTo>
                    <a:lnTo>
                      <a:pt x="205" y="148"/>
                    </a:lnTo>
                    <a:lnTo>
                      <a:pt x="212" y="140"/>
                    </a:lnTo>
                    <a:lnTo>
                      <a:pt x="214" y="138"/>
                    </a:lnTo>
                    <a:lnTo>
                      <a:pt x="216" y="140"/>
                    </a:lnTo>
                    <a:lnTo>
                      <a:pt x="216" y="141"/>
                    </a:lnTo>
                    <a:lnTo>
                      <a:pt x="216" y="145"/>
                    </a:lnTo>
                    <a:lnTo>
                      <a:pt x="217" y="145"/>
                    </a:lnTo>
                    <a:lnTo>
                      <a:pt x="210" y="153"/>
                    </a:lnTo>
                    <a:lnTo>
                      <a:pt x="212" y="157"/>
                    </a:lnTo>
                    <a:lnTo>
                      <a:pt x="210" y="160"/>
                    </a:lnTo>
                    <a:lnTo>
                      <a:pt x="212" y="160"/>
                    </a:lnTo>
                    <a:lnTo>
                      <a:pt x="216" y="158"/>
                    </a:lnTo>
                    <a:lnTo>
                      <a:pt x="216" y="157"/>
                    </a:lnTo>
                    <a:lnTo>
                      <a:pt x="217" y="155"/>
                    </a:lnTo>
                    <a:lnTo>
                      <a:pt x="219" y="153"/>
                    </a:lnTo>
                    <a:lnTo>
                      <a:pt x="219" y="155"/>
                    </a:lnTo>
                    <a:lnTo>
                      <a:pt x="219" y="153"/>
                    </a:lnTo>
                    <a:lnTo>
                      <a:pt x="219" y="152"/>
                    </a:lnTo>
                    <a:lnTo>
                      <a:pt x="221" y="152"/>
                    </a:lnTo>
                    <a:lnTo>
                      <a:pt x="222" y="147"/>
                    </a:lnTo>
                    <a:lnTo>
                      <a:pt x="224" y="145"/>
                    </a:lnTo>
                    <a:lnTo>
                      <a:pt x="222" y="145"/>
                    </a:lnTo>
                    <a:lnTo>
                      <a:pt x="226" y="141"/>
                    </a:lnTo>
                    <a:lnTo>
                      <a:pt x="226" y="140"/>
                    </a:lnTo>
                    <a:lnTo>
                      <a:pt x="227" y="138"/>
                    </a:lnTo>
                    <a:lnTo>
                      <a:pt x="229" y="135"/>
                    </a:lnTo>
                    <a:lnTo>
                      <a:pt x="231" y="135"/>
                    </a:lnTo>
                    <a:lnTo>
                      <a:pt x="231" y="133"/>
                    </a:lnTo>
                    <a:lnTo>
                      <a:pt x="233" y="136"/>
                    </a:lnTo>
                    <a:lnTo>
                      <a:pt x="238" y="138"/>
                    </a:lnTo>
                    <a:lnTo>
                      <a:pt x="238" y="140"/>
                    </a:lnTo>
                    <a:lnTo>
                      <a:pt x="238" y="138"/>
                    </a:lnTo>
                    <a:lnTo>
                      <a:pt x="238" y="136"/>
                    </a:lnTo>
                    <a:lnTo>
                      <a:pt x="239" y="135"/>
                    </a:lnTo>
                    <a:lnTo>
                      <a:pt x="241" y="136"/>
                    </a:lnTo>
                    <a:lnTo>
                      <a:pt x="241" y="138"/>
                    </a:lnTo>
                    <a:lnTo>
                      <a:pt x="241" y="136"/>
                    </a:lnTo>
                    <a:lnTo>
                      <a:pt x="241" y="135"/>
                    </a:lnTo>
                    <a:lnTo>
                      <a:pt x="236" y="133"/>
                    </a:lnTo>
                    <a:lnTo>
                      <a:pt x="234" y="135"/>
                    </a:lnTo>
                    <a:lnTo>
                      <a:pt x="233" y="135"/>
                    </a:lnTo>
                    <a:lnTo>
                      <a:pt x="231" y="133"/>
                    </a:lnTo>
                    <a:lnTo>
                      <a:pt x="231" y="135"/>
                    </a:lnTo>
                    <a:lnTo>
                      <a:pt x="227" y="135"/>
                    </a:lnTo>
                    <a:lnTo>
                      <a:pt x="227" y="133"/>
                    </a:lnTo>
                    <a:lnTo>
                      <a:pt x="227" y="131"/>
                    </a:lnTo>
                    <a:lnTo>
                      <a:pt x="227" y="130"/>
                    </a:lnTo>
                    <a:lnTo>
                      <a:pt x="226" y="126"/>
                    </a:lnTo>
                    <a:lnTo>
                      <a:pt x="227" y="121"/>
                    </a:lnTo>
                    <a:lnTo>
                      <a:pt x="231" y="119"/>
                    </a:lnTo>
                    <a:lnTo>
                      <a:pt x="229" y="116"/>
                    </a:lnTo>
                    <a:lnTo>
                      <a:pt x="231" y="116"/>
                    </a:lnTo>
                    <a:lnTo>
                      <a:pt x="231" y="114"/>
                    </a:lnTo>
                    <a:lnTo>
                      <a:pt x="234" y="118"/>
                    </a:lnTo>
                    <a:lnTo>
                      <a:pt x="236" y="118"/>
                    </a:lnTo>
                    <a:lnTo>
                      <a:pt x="236" y="116"/>
                    </a:lnTo>
                    <a:lnTo>
                      <a:pt x="238" y="118"/>
                    </a:lnTo>
                    <a:lnTo>
                      <a:pt x="238" y="116"/>
                    </a:lnTo>
                    <a:lnTo>
                      <a:pt x="239" y="113"/>
                    </a:lnTo>
                    <a:lnTo>
                      <a:pt x="236" y="109"/>
                    </a:lnTo>
                    <a:lnTo>
                      <a:pt x="238" y="109"/>
                    </a:lnTo>
                    <a:lnTo>
                      <a:pt x="236" y="109"/>
                    </a:lnTo>
                    <a:lnTo>
                      <a:pt x="238" y="109"/>
                    </a:lnTo>
                    <a:lnTo>
                      <a:pt x="239" y="109"/>
                    </a:lnTo>
                    <a:lnTo>
                      <a:pt x="239" y="111"/>
                    </a:lnTo>
                    <a:lnTo>
                      <a:pt x="241" y="111"/>
                    </a:lnTo>
                    <a:lnTo>
                      <a:pt x="241" y="113"/>
                    </a:lnTo>
                    <a:lnTo>
                      <a:pt x="241" y="114"/>
                    </a:lnTo>
                    <a:lnTo>
                      <a:pt x="239" y="119"/>
                    </a:lnTo>
                    <a:lnTo>
                      <a:pt x="241" y="121"/>
                    </a:lnTo>
                    <a:lnTo>
                      <a:pt x="241" y="123"/>
                    </a:lnTo>
                    <a:lnTo>
                      <a:pt x="241" y="121"/>
                    </a:lnTo>
                    <a:lnTo>
                      <a:pt x="241" y="118"/>
                    </a:lnTo>
                    <a:lnTo>
                      <a:pt x="243" y="118"/>
                    </a:lnTo>
                    <a:lnTo>
                      <a:pt x="243" y="116"/>
                    </a:lnTo>
                    <a:lnTo>
                      <a:pt x="241" y="114"/>
                    </a:lnTo>
                    <a:lnTo>
                      <a:pt x="243" y="113"/>
                    </a:lnTo>
                    <a:lnTo>
                      <a:pt x="244" y="113"/>
                    </a:lnTo>
                    <a:lnTo>
                      <a:pt x="243" y="111"/>
                    </a:lnTo>
                    <a:lnTo>
                      <a:pt x="244" y="109"/>
                    </a:lnTo>
                    <a:lnTo>
                      <a:pt x="243" y="107"/>
                    </a:lnTo>
                    <a:lnTo>
                      <a:pt x="244" y="107"/>
                    </a:lnTo>
                    <a:lnTo>
                      <a:pt x="243" y="106"/>
                    </a:lnTo>
                    <a:lnTo>
                      <a:pt x="243" y="107"/>
                    </a:lnTo>
                    <a:lnTo>
                      <a:pt x="241" y="107"/>
                    </a:lnTo>
                    <a:lnTo>
                      <a:pt x="238" y="104"/>
                    </a:lnTo>
                    <a:lnTo>
                      <a:pt x="241" y="104"/>
                    </a:lnTo>
                    <a:lnTo>
                      <a:pt x="241" y="102"/>
                    </a:lnTo>
                    <a:lnTo>
                      <a:pt x="241" y="104"/>
                    </a:lnTo>
                    <a:lnTo>
                      <a:pt x="243" y="102"/>
                    </a:lnTo>
                    <a:lnTo>
                      <a:pt x="241" y="102"/>
                    </a:lnTo>
                    <a:lnTo>
                      <a:pt x="243" y="101"/>
                    </a:lnTo>
                    <a:lnTo>
                      <a:pt x="241" y="102"/>
                    </a:lnTo>
                    <a:lnTo>
                      <a:pt x="241" y="101"/>
                    </a:lnTo>
                    <a:lnTo>
                      <a:pt x="239" y="101"/>
                    </a:lnTo>
                    <a:lnTo>
                      <a:pt x="236" y="99"/>
                    </a:lnTo>
                    <a:lnTo>
                      <a:pt x="236" y="96"/>
                    </a:lnTo>
                    <a:lnTo>
                      <a:pt x="236" y="94"/>
                    </a:lnTo>
                    <a:lnTo>
                      <a:pt x="234" y="92"/>
                    </a:lnTo>
                    <a:lnTo>
                      <a:pt x="236" y="90"/>
                    </a:lnTo>
                    <a:lnTo>
                      <a:pt x="238" y="89"/>
                    </a:lnTo>
                    <a:lnTo>
                      <a:pt x="236" y="89"/>
                    </a:lnTo>
                    <a:lnTo>
                      <a:pt x="236" y="84"/>
                    </a:lnTo>
                    <a:lnTo>
                      <a:pt x="239" y="84"/>
                    </a:lnTo>
                    <a:lnTo>
                      <a:pt x="239" y="82"/>
                    </a:lnTo>
                    <a:lnTo>
                      <a:pt x="238" y="82"/>
                    </a:lnTo>
                    <a:lnTo>
                      <a:pt x="239" y="79"/>
                    </a:lnTo>
                    <a:lnTo>
                      <a:pt x="241" y="80"/>
                    </a:lnTo>
                    <a:lnTo>
                      <a:pt x="239" y="82"/>
                    </a:lnTo>
                    <a:lnTo>
                      <a:pt x="241" y="82"/>
                    </a:lnTo>
                    <a:lnTo>
                      <a:pt x="241" y="84"/>
                    </a:lnTo>
                    <a:lnTo>
                      <a:pt x="241" y="82"/>
                    </a:lnTo>
                    <a:lnTo>
                      <a:pt x="243" y="84"/>
                    </a:lnTo>
                    <a:lnTo>
                      <a:pt x="243" y="82"/>
                    </a:lnTo>
                    <a:lnTo>
                      <a:pt x="244" y="82"/>
                    </a:lnTo>
                    <a:lnTo>
                      <a:pt x="243" y="80"/>
                    </a:lnTo>
                    <a:lnTo>
                      <a:pt x="244" y="80"/>
                    </a:lnTo>
                    <a:lnTo>
                      <a:pt x="246" y="82"/>
                    </a:lnTo>
                    <a:lnTo>
                      <a:pt x="244" y="84"/>
                    </a:lnTo>
                    <a:lnTo>
                      <a:pt x="246" y="84"/>
                    </a:lnTo>
                    <a:lnTo>
                      <a:pt x="248" y="84"/>
                    </a:lnTo>
                    <a:lnTo>
                      <a:pt x="250" y="84"/>
                    </a:lnTo>
                    <a:lnTo>
                      <a:pt x="248" y="85"/>
                    </a:lnTo>
                    <a:lnTo>
                      <a:pt x="250" y="85"/>
                    </a:lnTo>
                    <a:lnTo>
                      <a:pt x="250" y="87"/>
                    </a:lnTo>
                    <a:lnTo>
                      <a:pt x="250" y="90"/>
                    </a:lnTo>
                    <a:lnTo>
                      <a:pt x="251" y="90"/>
                    </a:lnTo>
                    <a:lnTo>
                      <a:pt x="250" y="90"/>
                    </a:lnTo>
                    <a:lnTo>
                      <a:pt x="250" y="92"/>
                    </a:lnTo>
                    <a:lnTo>
                      <a:pt x="253" y="94"/>
                    </a:lnTo>
                    <a:lnTo>
                      <a:pt x="255" y="96"/>
                    </a:lnTo>
                    <a:lnTo>
                      <a:pt x="258" y="92"/>
                    </a:lnTo>
                    <a:lnTo>
                      <a:pt x="258" y="94"/>
                    </a:lnTo>
                    <a:lnTo>
                      <a:pt x="258" y="90"/>
                    </a:lnTo>
                    <a:lnTo>
                      <a:pt x="258" y="89"/>
                    </a:lnTo>
                    <a:lnTo>
                      <a:pt x="258" y="87"/>
                    </a:lnTo>
                    <a:lnTo>
                      <a:pt x="258" y="85"/>
                    </a:lnTo>
                    <a:lnTo>
                      <a:pt x="260" y="85"/>
                    </a:lnTo>
                    <a:lnTo>
                      <a:pt x="258" y="84"/>
                    </a:lnTo>
                    <a:lnTo>
                      <a:pt x="260" y="84"/>
                    </a:lnTo>
                    <a:lnTo>
                      <a:pt x="258" y="82"/>
                    </a:lnTo>
                    <a:lnTo>
                      <a:pt x="260" y="80"/>
                    </a:lnTo>
                    <a:lnTo>
                      <a:pt x="260" y="82"/>
                    </a:lnTo>
                    <a:lnTo>
                      <a:pt x="260" y="84"/>
                    </a:lnTo>
                    <a:lnTo>
                      <a:pt x="261" y="84"/>
                    </a:lnTo>
                    <a:lnTo>
                      <a:pt x="261" y="82"/>
                    </a:lnTo>
                    <a:lnTo>
                      <a:pt x="261" y="84"/>
                    </a:lnTo>
                    <a:lnTo>
                      <a:pt x="261" y="82"/>
                    </a:lnTo>
                    <a:lnTo>
                      <a:pt x="261" y="80"/>
                    </a:lnTo>
                    <a:lnTo>
                      <a:pt x="263" y="80"/>
                    </a:lnTo>
                    <a:lnTo>
                      <a:pt x="263" y="82"/>
                    </a:lnTo>
                    <a:lnTo>
                      <a:pt x="265" y="82"/>
                    </a:lnTo>
                    <a:lnTo>
                      <a:pt x="263" y="82"/>
                    </a:lnTo>
                    <a:lnTo>
                      <a:pt x="265" y="80"/>
                    </a:lnTo>
                    <a:lnTo>
                      <a:pt x="267" y="80"/>
                    </a:lnTo>
                    <a:lnTo>
                      <a:pt x="267" y="82"/>
                    </a:lnTo>
                    <a:lnTo>
                      <a:pt x="267" y="80"/>
                    </a:lnTo>
                    <a:lnTo>
                      <a:pt x="268" y="82"/>
                    </a:lnTo>
                    <a:lnTo>
                      <a:pt x="268" y="80"/>
                    </a:lnTo>
                    <a:lnTo>
                      <a:pt x="270" y="80"/>
                    </a:lnTo>
                    <a:lnTo>
                      <a:pt x="268" y="80"/>
                    </a:lnTo>
                    <a:lnTo>
                      <a:pt x="267" y="75"/>
                    </a:lnTo>
                    <a:lnTo>
                      <a:pt x="265" y="72"/>
                    </a:lnTo>
                    <a:lnTo>
                      <a:pt x="272" y="77"/>
                    </a:lnTo>
                    <a:lnTo>
                      <a:pt x="275" y="77"/>
                    </a:lnTo>
                    <a:lnTo>
                      <a:pt x="275" y="75"/>
                    </a:lnTo>
                    <a:lnTo>
                      <a:pt x="275" y="77"/>
                    </a:lnTo>
                    <a:lnTo>
                      <a:pt x="278" y="75"/>
                    </a:lnTo>
                    <a:lnTo>
                      <a:pt x="282" y="72"/>
                    </a:lnTo>
                    <a:lnTo>
                      <a:pt x="282" y="70"/>
                    </a:lnTo>
                    <a:lnTo>
                      <a:pt x="280" y="70"/>
                    </a:lnTo>
                    <a:lnTo>
                      <a:pt x="282" y="67"/>
                    </a:lnTo>
                    <a:lnTo>
                      <a:pt x="284" y="67"/>
                    </a:lnTo>
                    <a:lnTo>
                      <a:pt x="282" y="67"/>
                    </a:lnTo>
                    <a:lnTo>
                      <a:pt x="284" y="65"/>
                    </a:lnTo>
                    <a:lnTo>
                      <a:pt x="282" y="63"/>
                    </a:lnTo>
                    <a:lnTo>
                      <a:pt x="284" y="63"/>
                    </a:lnTo>
                    <a:lnTo>
                      <a:pt x="282" y="62"/>
                    </a:lnTo>
                    <a:lnTo>
                      <a:pt x="284" y="62"/>
                    </a:lnTo>
                    <a:lnTo>
                      <a:pt x="282" y="62"/>
                    </a:lnTo>
                    <a:lnTo>
                      <a:pt x="284" y="62"/>
                    </a:lnTo>
                    <a:lnTo>
                      <a:pt x="282" y="60"/>
                    </a:lnTo>
                    <a:lnTo>
                      <a:pt x="284" y="60"/>
                    </a:lnTo>
                    <a:lnTo>
                      <a:pt x="284" y="58"/>
                    </a:lnTo>
                    <a:lnTo>
                      <a:pt x="284" y="56"/>
                    </a:lnTo>
                    <a:lnTo>
                      <a:pt x="285" y="55"/>
                    </a:lnTo>
                    <a:lnTo>
                      <a:pt x="285" y="53"/>
                    </a:lnTo>
                    <a:lnTo>
                      <a:pt x="287" y="53"/>
                    </a:lnTo>
                    <a:lnTo>
                      <a:pt x="289" y="51"/>
                    </a:lnTo>
                    <a:lnTo>
                      <a:pt x="287" y="51"/>
                    </a:lnTo>
                    <a:lnTo>
                      <a:pt x="289" y="50"/>
                    </a:lnTo>
                    <a:lnTo>
                      <a:pt x="289" y="48"/>
                    </a:lnTo>
                    <a:lnTo>
                      <a:pt x="290" y="48"/>
                    </a:lnTo>
                    <a:lnTo>
                      <a:pt x="289" y="45"/>
                    </a:lnTo>
                    <a:lnTo>
                      <a:pt x="289" y="43"/>
                    </a:lnTo>
                    <a:lnTo>
                      <a:pt x="287" y="41"/>
                    </a:lnTo>
                    <a:lnTo>
                      <a:pt x="287" y="36"/>
                    </a:lnTo>
                    <a:lnTo>
                      <a:pt x="285" y="36"/>
                    </a:lnTo>
                    <a:lnTo>
                      <a:pt x="285" y="34"/>
                    </a:lnTo>
                    <a:lnTo>
                      <a:pt x="287" y="31"/>
                    </a:lnTo>
                    <a:lnTo>
                      <a:pt x="285" y="31"/>
                    </a:lnTo>
                    <a:lnTo>
                      <a:pt x="284" y="31"/>
                    </a:lnTo>
                    <a:lnTo>
                      <a:pt x="284" y="29"/>
                    </a:lnTo>
                    <a:lnTo>
                      <a:pt x="280" y="28"/>
                    </a:lnTo>
                    <a:lnTo>
                      <a:pt x="280" y="26"/>
                    </a:lnTo>
                    <a:lnTo>
                      <a:pt x="278" y="26"/>
                    </a:lnTo>
                    <a:lnTo>
                      <a:pt x="280" y="22"/>
                    </a:lnTo>
                    <a:lnTo>
                      <a:pt x="282" y="24"/>
                    </a:lnTo>
                    <a:lnTo>
                      <a:pt x="285" y="24"/>
                    </a:lnTo>
                    <a:lnTo>
                      <a:pt x="287" y="29"/>
                    </a:lnTo>
                    <a:lnTo>
                      <a:pt x="289" y="28"/>
                    </a:lnTo>
                    <a:lnTo>
                      <a:pt x="290" y="22"/>
                    </a:lnTo>
                    <a:lnTo>
                      <a:pt x="290" y="21"/>
                    </a:lnTo>
                    <a:lnTo>
                      <a:pt x="292" y="19"/>
                    </a:lnTo>
                    <a:lnTo>
                      <a:pt x="294" y="19"/>
                    </a:lnTo>
                    <a:lnTo>
                      <a:pt x="295" y="17"/>
                    </a:lnTo>
                    <a:lnTo>
                      <a:pt x="295" y="19"/>
                    </a:lnTo>
                    <a:lnTo>
                      <a:pt x="297" y="19"/>
                    </a:lnTo>
                    <a:lnTo>
                      <a:pt x="297" y="16"/>
                    </a:lnTo>
                    <a:lnTo>
                      <a:pt x="299" y="16"/>
                    </a:lnTo>
                    <a:lnTo>
                      <a:pt x="300" y="14"/>
                    </a:lnTo>
                    <a:lnTo>
                      <a:pt x="299" y="14"/>
                    </a:lnTo>
                    <a:lnTo>
                      <a:pt x="300" y="12"/>
                    </a:lnTo>
                    <a:lnTo>
                      <a:pt x="300" y="10"/>
                    </a:lnTo>
                    <a:lnTo>
                      <a:pt x="300" y="12"/>
                    </a:lnTo>
                    <a:lnTo>
                      <a:pt x="302" y="10"/>
                    </a:lnTo>
                    <a:lnTo>
                      <a:pt x="300" y="9"/>
                    </a:lnTo>
                    <a:lnTo>
                      <a:pt x="300" y="10"/>
                    </a:lnTo>
                    <a:lnTo>
                      <a:pt x="300" y="9"/>
                    </a:lnTo>
                    <a:lnTo>
                      <a:pt x="299" y="7"/>
                    </a:lnTo>
                    <a:lnTo>
                      <a:pt x="299" y="9"/>
                    </a:lnTo>
                    <a:lnTo>
                      <a:pt x="297" y="7"/>
                    </a:lnTo>
                    <a:lnTo>
                      <a:pt x="299" y="7"/>
                    </a:lnTo>
                    <a:lnTo>
                      <a:pt x="299" y="5"/>
                    </a:lnTo>
                    <a:lnTo>
                      <a:pt x="302" y="9"/>
                    </a:lnTo>
                    <a:lnTo>
                      <a:pt x="302" y="7"/>
                    </a:lnTo>
                    <a:lnTo>
                      <a:pt x="304" y="9"/>
                    </a:lnTo>
                    <a:lnTo>
                      <a:pt x="302" y="7"/>
                    </a:lnTo>
                    <a:lnTo>
                      <a:pt x="302" y="5"/>
                    </a:lnTo>
                    <a:lnTo>
                      <a:pt x="300" y="5"/>
                    </a:lnTo>
                    <a:lnTo>
                      <a:pt x="300" y="4"/>
                    </a:lnTo>
                    <a:lnTo>
                      <a:pt x="302" y="4"/>
                    </a:lnTo>
                    <a:lnTo>
                      <a:pt x="302" y="2"/>
                    </a:lnTo>
                    <a:lnTo>
                      <a:pt x="304" y="4"/>
                    </a:lnTo>
                    <a:lnTo>
                      <a:pt x="304" y="2"/>
                    </a:lnTo>
                    <a:lnTo>
                      <a:pt x="302" y="2"/>
                    </a:lnTo>
                    <a:lnTo>
                      <a:pt x="304" y="0"/>
                    </a:lnTo>
                    <a:lnTo>
                      <a:pt x="306" y="0"/>
                    </a:lnTo>
                    <a:close/>
                    <a:moveTo>
                      <a:pt x="256" y="63"/>
                    </a:moveTo>
                    <a:lnTo>
                      <a:pt x="258" y="65"/>
                    </a:lnTo>
                    <a:lnTo>
                      <a:pt x="256" y="67"/>
                    </a:lnTo>
                    <a:lnTo>
                      <a:pt x="258" y="67"/>
                    </a:lnTo>
                    <a:lnTo>
                      <a:pt x="258" y="68"/>
                    </a:lnTo>
                    <a:lnTo>
                      <a:pt x="260" y="70"/>
                    </a:lnTo>
                    <a:lnTo>
                      <a:pt x="260" y="72"/>
                    </a:lnTo>
                    <a:lnTo>
                      <a:pt x="258" y="70"/>
                    </a:lnTo>
                    <a:lnTo>
                      <a:pt x="258" y="72"/>
                    </a:lnTo>
                    <a:lnTo>
                      <a:pt x="258" y="73"/>
                    </a:lnTo>
                    <a:lnTo>
                      <a:pt x="260" y="73"/>
                    </a:lnTo>
                    <a:lnTo>
                      <a:pt x="258" y="75"/>
                    </a:lnTo>
                    <a:lnTo>
                      <a:pt x="256" y="73"/>
                    </a:lnTo>
                    <a:lnTo>
                      <a:pt x="255" y="75"/>
                    </a:lnTo>
                    <a:lnTo>
                      <a:pt x="253" y="73"/>
                    </a:lnTo>
                    <a:lnTo>
                      <a:pt x="251" y="72"/>
                    </a:lnTo>
                    <a:lnTo>
                      <a:pt x="251" y="70"/>
                    </a:lnTo>
                    <a:lnTo>
                      <a:pt x="251" y="68"/>
                    </a:lnTo>
                    <a:lnTo>
                      <a:pt x="250" y="67"/>
                    </a:lnTo>
                    <a:lnTo>
                      <a:pt x="251" y="67"/>
                    </a:lnTo>
                    <a:lnTo>
                      <a:pt x="253" y="67"/>
                    </a:lnTo>
                    <a:lnTo>
                      <a:pt x="255" y="67"/>
                    </a:lnTo>
                    <a:lnTo>
                      <a:pt x="255" y="65"/>
                    </a:lnTo>
                    <a:lnTo>
                      <a:pt x="255" y="63"/>
                    </a:lnTo>
                    <a:lnTo>
                      <a:pt x="256" y="63"/>
                    </a:lnTo>
                    <a:close/>
                    <a:moveTo>
                      <a:pt x="345" y="242"/>
                    </a:moveTo>
                    <a:lnTo>
                      <a:pt x="340" y="250"/>
                    </a:lnTo>
                    <a:lnTo>
                      <a:pt x="338" y="254"/>
                    </a:lnTo>
                    <a:lnTo>
                      <a:pt x="340" y="250"/>
                    </a:lnTo>
                    <a:lnTo>
                      <a:pt x="333" y="261"/>
                    </a:lnTo>
                    <a:lnTo>
                      <a:pt x="334" y="257"/>
                    </a:lnTo>
                    <a:lnTo>
                      <a:pt x="336" y="257"/>
                    </a:lnTo>
                    <a:lnTo>
                      <a:pt x="336" y="252"/>
                    </a:lnTo>
                    <a:lnTo>
                      <a:pt x="338" y="249"/>
                    </a:lnTo>
                    <a:lnTo>
                      <a:pt x="340" y="247"/>
                    </a:lnTo>
                    <a:lnTo>
                      <a:pt x="341" y="245"/>
                    </a:lnTo>
                    <a:lnTo>
                      <a:pt x="341" y="244"/>
                    </a:lnTo>
                    <a:lnTo>
                      <a:pt x="343" y="240"/>
                    </a:lnTo>
                    <a:lnTo>
                      <a:pt x="345" y="242"/>
                    </a:lnTo>
                    <a:close/>
                    <a:moveTo>
                      <a:pt x="170" y="208"/>
                    </a:moveTo>
                    <a:lnTo>
                      <a:pt x="166" y="206"/>
                    </a:lnTo>
                    <a:lnTo>
                      <a:pt x="163" y="203"/>
                    </a:lnTo>
                    <a:lnTo>
                      <a:pt x="161" y="199"/>
                    </a:lnTo>
                    <a:lnTo>
                      <a:pt x="166" y="203"/>
                    </a:lnTo>
                    <a:lnTo>
                      <a:pt x="166" y="204"/>
                    </a:lnTo>
                    <a:lnTo>
                      <a:pt x="168" y="204"/>
                    </a:lnTo>
                    <a:lnTo>
                      <a:pt x="170" y="206"/>
                    </a:lnTo>
                    <a:lnTo>
                      <a:pt x="171" y="206"/>
                    </a:lnTo>
                    <a:lnTo>
                      <a:pt x="173" y="208"/>
                    </a:lnTo>
                    <a:lnTo>
                      <a:pt x="171" y="210"/>
                    </a:lnTo>
                    <a:lnTo>
                      <a:pt x="171" y="211"/>
                    </a:lnTo>
                    <a:lnTo>
                      <a:pt x="170" y="208"/>
                    </a:lnTo>
                    <a:close/>
                    <a:moveTo>
                      <a:pt x="166" y="208"/>
                    </a:moveTo>
                    <a:lnTo>
                      <a:pt x="168" y="206"/>
                    </a:lnTo>
                    <a:lnTo>
                      <a:pt x="170" y="208"/>
                    </a:lnTo>
                    <a:lnTo>
                      <a:pt x="168" y="208"/>
                    </a:lnTo>
                    <a:lnTo>
                      <a:pt x="161" y="206"/>
                    </a:lnTo>
                    <a:lnTo>
                      <a:pt x="158" y="204"/>
                    </a:lnTo>
                    <a:lnTo>
                      <a:pt x="156" y="203"/>
                    </a:lnTo>
                    <a:lnTo>
                      <a:pt x="166" y="208"/>
                    </a:lnTo>
                    <a:close/>
                    <a:moveTo>
                      <a:pt x="222" y="131"/>
                    </a:moveTo>
                    <a:lnTo>
                      <a:pt x="222" y="133"/>
                    </a:lnTo>
                    <a:lnTo>
                      <a:pt x="221" y="133"/>
                    </a:lnTo>
                    <a:lnTo>
                      <a:pt x="219" y="131"/>
                    </a:lnTo>
                    <a:lnTo>
                      <a:pt x="221" y="131"/>
                    </a:lnTo>
                    <a:lnTo>
                      <a:pt x="221" y="130"/>
                    </a:lnTo>
                    <a:lnTo>
                      <a:pt x="222" y="130"/>
                    </a:lnTo>
                    <a:lnTo>
                      <a:pt x="221" y="131"/>
                    </a:lnTo>
                    <a:lnTo>
                      <a:pt x="222" y="131"/>
                    </a:lnTo>
                    <a:close/>
                    <a:moveTo>
                      <a:pt x="273" y="46"/>
                    </a:moveTo>
                    <a:lnTo>
                      <a:pt x="272" y="46"/>
                    </a:lnTo>
                    <a:lnTo>
                      <a:pt x="273" y="50"/>
                    </a:lnTo>
                    <a:lnTo>
                      <a:pt x="272" y="50"/>
                    </a:lnTo>
                    <a:lnTo>
                      <a:pt x="268" y="48"/>
                    </a:lnTo>
                    <a:lnTo>
                      <a:pt x="270" y="48"/>
                    </a:lnTo>
                    <a:lnTo>
                      <a:pt x="272" y="50"/>
                    </a:lnTo>
                    <a:lnTo>
                      <a:pt x="272" y="48"/>
                    </a:lnTo>
                    <a:lnTo>
                      <a:pt x="272" y="46"/>
                    </a:lnTo>
                    <a:lnTo>
                      <a:pt x="273" y="45"/>
                    </a:lnTo>
                    <a:lnTo>
                      <a:pt x="273" y="46"/>
                    </a:lnTo>
                    <a:close/>
                    <a:moveTo>
                      <a:pt x="166" y="208"/>
                    </a:moveTo>
                    <a:lnTo>
                      <a:pt x="161" y="204"/>
                    </a:lnTo>
                    <a:lnTo>
                      <a:pt x="163" y="204"/>
                    </a:lnTo>
                    <a:lnTo>
                      <a:pt x="166" y="206"/>
                    </a:lnTo>
                    <a:lnTo>
                      <a:pt x="168" y="206"/>
                    </a:lnTo>
                    <a:lnTo>
                      <a:pt x="166" y="208"/>
                    </a:lnTo>
                    <a:close/>
                    <a:moveTo>
                      <a:pt x="158" y="206"/>
                    </a:moveTo>
                    <a:lnTo>
                      <a:pt x="156" y="203"/>
                    </a:lnTo>
                    <a:lnTo>
                      <a:pt x="158" y="204"/>
                    </a:lnTo>
                    <a:lnTo>
                      <a:pt x="161" y="206"/>
                    </a:lnTo>
                    <a:lnTo>
                      <a:pt x="158" y="206"/>
                    </a:lnTo>
                    <a:close/>
                    <a:moveTo>
                      <a:pt x="258" y="75"/>
                    </a:moveTo>
                    <a:lnTo>
                      <a:pt x="260" y="75"/>
                    </a:lnTo>
                    <a:lnTo>
                      <a:pt x="260" y="79"/>
                    </a:lnTo>
                    <a:lnTo>
                      <a:pt x="258" y="79"/>
                    </a:lnTo>
                    <a:lnTo>
                      <a:pt x="258" y="75"/>
                    </a:lnTo>
                    <a:close/>
                    <a:moveTo>
                      <a:pt x="233" y="107"/>
                    </a:moveTo>
                    <a:lnTo>
                      <a:pt x="231" y="106"/>
                    </a:lnTo>
                    <a:lnTo>
                      <a:pt x="231" y="104"/>
                    </a:lnTo>
                    <a:lnTo>
                      <a:pt x="231" y="102"/>
                    </a:lnTo>
                    <a:lnTo>
                      <a:pt x="233" y="107"/>
                    </a:lnTo>
                    <a:close/>
                    <a:moveTo>
                      <a:pt x="267" y="70"/>
                    </a:moveTo>
                    <a:lnTo>
                      <a:pt x="268" y="72"/>
                    </a:lnTo>
                    <a:lnTo>
                      <a:pt x="267" y="72"/>
                    </a:lnTo>
                    <a:lnTo>
                      <a:pt x="265" y="72"/>
                    </a:lnTo>
                    <a:lnTo>
                      <a:pt x="265" y="68"/>
                    </a:lnTo>
                    <a:lnTo>
                      <a:pt x="267" y="70"/>
                    </a:lnTo>
                    <a:close/>
                    <a:moveTo>
                      <a:pt x="129" y="194"/>
                    </a:moveTo>
                    <a:lnTo>
                      <a:pt x="131" y="194"/>
                    </a:lnTo>
                    <a:lnTo>
                      <a:pt x="131" y="198"/>
                    </a:lnTo>
                    <a:lnTo>
                      <a:pt x="129" y="198"/>
                    </a:lnTo>
                    <a:lnTo>
                      <a:pt x="129" y="194"/>
                    </a:lnTo>
                    <a:close/>
                    <a:moveTo>
                      <a:pt x="159" y="199"/>
                    </a:moveTo>
                    <a:lnTo>
                      <a:pt x="161" y="199"/>
                    </a:lnTo>
                    <a:lnTo>
                      <a:pt x="161" y="201"/>
                    </a:lnTo>
                    <a:lnTo>
                      <a:pt x="159" y="201"/>
                    </a:lnTo>
                    <a:lnTo>
                      <a:pt x="159" y="199"/>
                    </a:lnTo>
                    <a:close/>
                    <a:moveTo>
                      <a:pt x="159" y="201"/>
                    </a:moveTo>
                    <a:lnTo>
                      <a:pt x="163" y="201"/>
                    </a:lnTo>
                    <a:lnTo>
                      <a:pt x="163" y="204"/>
                    </a:lnTo>
                    <a:lnTo>
                      <a:pt x="159" y="204"/>
                    </a:lnTo>
                    <a:lnTo>
                      <a:pt x="159" y="201"/>
                    </a:lnTo>
                    <a:close/>
                    <a:moveTo>
                      <a:pt x="236" y="136"/>
                    </a:moveTo>
                    <a:lnTo>
                      <a:pt x="239" y="136"/>
                    </a:lnTo>
                    <a:lnTo>
                      <a:pt x="236" y="136"/>
                    </a:lnTo>
                    <a:close/>
                    <a:moveTo>
                      <a:pt x="231" y="111"/>
                    </a:moveTo>
                    <a:lnTo>
                      <a:pt x="233" y="111"/>
                    </a:lnTo>
                    <a:lnTo>
                      <a:pt x="233" y="113"/>
                    </a:lnTo>
                    <a:lnTo>
                      <a:pt x="231" y="113"/>
                    </a:lnTo>
                    <a:lnTo>
                      <a:pt x="231" y="111"/>
                    </a:lnTo>
                    <a:close/>
                    <a:moveTo>
                      <a:pt x="200" y="175"/>
                    </a:moveTo>
                    <a:lnTo>
                      <a:pt x="202" y="175"/>
                    </a:lnTo>
                    <a:lnTo>
                      <a:pt x="202" y="177"/>
                    </a:lnTo>
                    <a:lnTo>
                      <a:pt x="200" y="177"/>
                    </a:lnTo>
                    <a:lnTo>
                      <a:pt x="200" y="175"/>
                    </a:lnTo>
                    <a:close/>
                    <a:moveTo>
                      <a:pt x="129" y="194"/>
                    </a:moveTo>
                    <a:lnTo>
                      <a:pt x="131" y="194"/>
                    </a:lnTo>
                    <a:lnTo>
                      <a:pt x="131" y="196"/>
                    </a:lnTo>
                    <a:lnTo>
                      <a:pt x="129" y="196"/>
                    </a:lnTo>
                    <a:lnTo>
                      <a:pt x="129" y="194"/>
                    </a:lnTo>
                    <a:close/>
                    <a:moveTo>
                      <a:pt x="158" y="199"/>
                    </a:moveTo>
                    <a:lnTo>
                      <a:pt x="161" y="199"/>
                    </a:lnTo>
                    <a:lnTo>
                      <a:pt x="158" y="199"/>
                    </a:lnTo>
                    <a:close/>
                    <a:moveTo>
                      <a:pt x="331" y="179"/>
                    </a:moveTo>
                    <a:lnTo>
                      <a:pt x="331" y="181"/>
                    </a:lnTo>
                    <a:lnTo>
                      <a:pt x="331" y="179"/>
                    </a:lnTo>
                    <a:close/>
                    <a:moveTo>
                      <a:pt x="250" y="68"/>
                    </a:moveTo>
                    <a:lnTo>
                      <a:pt x="250" y="70"/>
                    </a:lnTo>
                    <a:lnTo>
                      <a:pt x="250" y="68"/>
                    </a:lnTo>
                    <a:close/>
                    <a:moveTo>
                      <a:pt x="154" y="201"/>
                    </a:moveTo>
                    <a:lnTo>
                      <a:pt x="156" y="201"/>
                    </a:lnTo>
                    <a:lnTo>
                      <a:pt x="156" y="203"/>
                    </a:lnTo>
                    <a:lnTo>
                      <a:pt x="154" y="203"/>
                    </a:lnTo>
                    <a:lnTo>
                      <a:pt x="154" y="201"/>
                    </a:lnTo>
                    <a:close/>
                    <a:moveTo>
                      <a:pt x="321" y="33"/>
                    </a:moveTo>
                    <a:lnTo>
                      <a:pt x="323" y="33"/>
                    </a:lnTo>
                    <a:lnTo>
                      <a:pt x="323" y="34"/>
                    </a:lnTo>
                    <a:lnTo>
                      <a:pt x="321" y="34"/>
                    </a:lnTo>
                    <a:lnTo>
                      <a:pt x="321" y="33"/>
                    </a:lnTo>
                    <a:close/>
                    <a:moveTo>
                      <a:pt x="192" y="181"/>
                    </a:moveTo>
                    <a:lnTo>
                      <a:pt x="193" y="181"/>
                    </a:lnTo>
                    <a:lnTo>
                      <a:pt x="193" y="182"/>
                    </a:lnTo>
                    <a:lnTo>
                      <a:pt x="192" y="182"/>
                    </a:lnTo>
                    <a:lnTo>
                      <a:pt x="192" y="181"/>
                    </a:lnTo>
                    <a:close/>
                    <a:moveTo>
                      <a:pt x="192" y="181"/>
                    </a:moveTo>
                    <a:lnTo>
                      <a:pt x="193" y="181"/>
                    </a:lnTo>
                    <a:lnTo>
                      <a:pt x="193" y="182"/>
                    </a:lnTo>
                    <a:lnTo>
                      <a:pt x="192" y="182"/>
                    </a:lnTo>
                    <a:lnTo>
                      <a:pt x="192" y="181"/>
                    </a:lnTo>
                    <a:close/>
                    <a:moveTo>
                      <a:pt x="187" y="184"/>
                    </a:moveTo>
                    <a:lnTo>
                      <a:pt x="188" y="184"/>
                    </a:lnTo>
                    <a:lnTo>
                      <a:pt x="187" y="184"/>
                    </a:lnTo>
                    <a:close/>
                    <a:moveTo>
                      <a:pt x="0" y="519"/>
                    </a:moveTo>
                    <a:lnTo>
                      <a:pt x="1" y="519"/>
                    </a:lnTo>
                    <a:lnTo>
                      <a:pt x="0" y="519"/>
                    </a:lnTo>
                    <a:close/>
                    <a:moveTo>
                      <a:pt x="192" y="179"/>
                    </a:moveTo>
                    <a:lnTo>
                      <a:pt x="193" y="179"/>
                    </a:lnTo>
                    <a:lnTo>
                      <a:pt x="193" y="181"/>
                    </a:lnTo>
                    <a:lnTo>
                      <a:pt x="192" y="181"/>
                    </a:lnTo>
                    <a:lnTo>
                      <a:pt x="192" y="179"/>
                    </a:lnTo>
                    <a:close/>
                    <a:moveTo>
                      <a:pt x="158" y="199"/>
                    </a:moveTo>
                    <a:lnTo>
                      <a:pt x="159" y="199"/>
                    </a:lnTo>
                    <a:lnTo>
                      <a:pt x="159" y="203"/>
                    </a:lnTo>
                    <a:lnTo>
                      <a:pt x="158" y="203"/>
                    </a:lnTo>
                    <a:lnTo>
                      <a:pt x="158" y="199"/>
                    </a:lnTo>
                    <a:close/>
                    <a:moveTo>
                      <a:pt x="275" y="39"/>
                    </a:moveTo>
                    <a:lnTo>
                      <a:pt x="277" y="39"/>
                    </a:lnTo>
                    <a:lnTo>
                      <a:pt x="277" y="41"/>
                    </a:lnTo>
                    <a:lnTo>
                      <a:pt x="275" y="41"/>
                    </a:lnTo>
                    <a:lnTo>
                      <a:pt x="275" y="39"/>
                    </a:lnTo>
                    <a:close/>
                    <a:moveTo>
                      <a:pt x="59" y="398"/>
                    </a:moveTo>
                    <a:lnTo>
                      <a:pt x="61" y="398"/>
                    </a:lnTo>
                    <a:lnTo>
                      <a:pt x="59" y="398"/>
                    </a:lnTo>
                    <a:close/>
                    <a:moveTo>
                      <a:pt x="159" y="203"/>
                    </a:moveTo>
                    <a:lnTo>
                      <a:pt x="161" y="203"/>
                    </a:lnTo>
                    <a:lnTo>
                      <a:pt x="159" y="203"/>
                    </a:lnTo>
                    <a:close/>
                    <a:moveTo>
                      <a:pt x="158" y="201"/>
                    </a:moveTo>
                    <a:lnTo>
                      <a:pt x="159" y="201"/>
                    </a:lnTo>
                    <a:lnTo>
                      <a:pt x="159" y="203"/>
                    </a:lnTo>
                    <a:lnTo>
                      <a:pt x="158" y="203"/>
                    </a:lnTo>
                    <a:lnTo>
                      <a:pt x="158" y="201"/>
                    </a:lnTo>
                    <a:close/>
                    <a:moveTo>
                      <a:pt x="229" y="101"/>
                    </a:moveTo>
                    <a:lnTo>
                      <a:pt x="231" y="101"/>
                    </a:lnTo>
                    <a:lnTo>
                      <a:pt x="231" y="102"/>
                    </a:lnTo>
                    <a:lnTo>
                      <a:pt x="229" y="102"/>
                    </a:lnTo>
                    <a:lnTo>
                      <a:pt x="229" y="101"/>
                    </a:lnTo>
                    <a:close/>
                    <a:moveTo>
                      <a:pt x="333" y="43"/>
                    </a:moveTo>
                    <a:lnTo>
                      <a:pt x="334" y="43"/>
                    </a:lnTo>
                    <a:lnTo>
                      <a:pt x="334" y="45"/>
                    </a:lnTo>
                    <a:lnTo>
                      <a:pt x="333" y="45"/>
                    </a:lnTo>
                    <a:lnTo>
                      <a:pt x="333" y="43"/>
                    </a:lnTo>
                    <a:close/>
                    <a:moveTo>
                      <a:pt x="158" y="201"/>
                    </a:moveTo>
                    <a:lnTo>
                      <a:pt x="159" y="201"/>
                    </a:lnTo>
                    <a:lnTo>
                      <a:pt x="159" y="203"/>
                    </a:lnTo>
                    <a:lnTo>
                      <a:pt x="158" y="203"/>
                    </a:lnTo>
                    <a:lnTo>
                      <a:pt x="158" y="201"/>
                    </a:lnTo>
                    <a:close/>
                    <a:moveTo>
                      <a:pt x="324" y="36"/>
                    </a:moveTo>
                    <a:lnTo>
                      <a:pt x="326" y="36"/>
                    </a:lnTo>
                    <a:lnTo>
                      <a:pt x="326" y="38"/>
                    </a:lnTo>
                    <a:lnTo>
                      <a:pt x="324" y="38"/>
                    </a:lnTo>
                    <a:lnTo>
                      <a:pt x="324" y="36"/>
                    </a:lnTo>
                    <a:close/>
                    <a:moveTo>
                      <a:pt x="156" y="199"/>
                    </a:moveTo>
                    <a:lnTo>
                      <a:pt x="159" y="199"/>
                    </a:lnTo>
                    <a:lnTo>
                      <a:pt x="159" y="201"/>
                    </a:lnTo>
                    <a:lnTo>
                      <a:pt x="156" y="201"/>
                    </a:lnTo>
                    <a:lnTo>
                      <a:pt x="156" y="199"/>
                    </a:lnTo>
                    <a:close/>
                    <a:moveTo>
                      <a:pt x="193" y="179"/>
                    </a:moveTo>
                    <a:lnTo>
                      <a:pt x="195" y="179"/>
                    </a:lnTo>
                    <a:lnTo>
                      <a:pt x="193" y="179"/>
                    </a:lnTo>
                    <a:close/>
                    <a:moveTo>
                      <a:pt x="321" y="34"/>
                    </a:moveTo>
                    <a:lnTo>
                      <a:pt x="323" y="34"/>
                    </a:lnTo>
                    <a:lnTo>
                      <a:pt x="321" y="34"/>
                    </a:lnTo>
                    <a:close/>
                    <a:moveTo>
                      <a:pt x="161" y="199"/>
                    </a:moveTo>
                    <a:lnTo>
                      <a:pt x="163" y="199"/>
                    </a:lnTo>
                    <a:lnTo>
                      <a:pt x="163" y="201"/>
                    </a:lnTo>
                    <a:lnTo>
                      <a:pt x="161" y="201"/>
                    </a:lnTo>
                    <a:lnTo>
                      <a:pt x="161" y="199"/>
                    </a:lnTo>
                    <a:close/>
                    <a:moveTo>
                      <a:pt x="227" y="109"/>
                    </a:moveTo>
                    <a:lnTo>
                      <a:pt x="229" y="109"/>
                    </a:lnTo>
                    <a:lnTo>
                      <a:pt x="229" y="111"/>
                    </a:lnTo>
                    <a:lnTo>
                      <a:pt x="227" y="111"/>
                    </a:lnTo>
                    <a:lnTo>
                      <a:pt x="227" y="109"/>
                    </a:lnTo>
                    <a:close/>
                    <a:moveTo>
                      <a:pt x="193" y="179"/>
                    </a:moveTo>
                    <a:lnTo>
                      <a:pt x="193" y="181"/>
                    </a:lnTo>
                    <a:lnTo>
                      <a:pt x="193" y="179"/>
                    </a:lnTo>
                    <a:close/>
                    <a:moveTo>
                      <a:pt x="292" y="14"/>
                    </a:moveTo>
                    <a:lnTo>
                      <a:pt x="294" y="14"/>
                    </a:lnTo>
                    <a:lnTo>
                      <a:pt x="294" y="16"/>
                    </a:lnTo>
                    <a:lnTo>
                      <a:pt x="292" y="16"/>
                    </a:lnTo>
                    <a:lnTo>
                      <a:pt x="292" y="14"/>
                    </a:lnTo>
                    <a:close/>
                    <a:moveTo>
                      <a:pt x="319" y="22"/>
                    </a:moveTo>
                    <a:lnTo>
                      <a:pt x="321" y="22"/>
                    </a:lnTo>
                    <a:lnTo>
                      <a:pt x="321" y="24"/>
                    </a:lnTo>
                    <a:lnTo>
                      <a:pt x="319" y="24"/>
                    </a:lnTo>
                    <a:lnTo>
                      <a:pt x="319" y="22"/>
                    </a:lnTo>
                    <a:close/>
                    <a:moveTo>
                      <a:pt x="199" y="179"/>
                    </a:moveTo>
                    <a:lnTo>
                      <a:pt x="200" y="179"/>
                    </a:lnTo>
                    <a:lnTo>
                      <a:pt x="199" y="179"/>
                    </a:lnTo>
                    <a:close/>
                    <a:moveTo>
                      <a:pt x="333" y="261"/>
                    </a:moveTo>
                    <a:lnTo>
                      <a:pt x="333" y="262"/>
                    </a:lnTo>
                    <a:lnTo>
                      <a:pt x="333" y="261"/>
                    </a:lnTo>
                    <a:close/>
                    <a:moveTo>
                      <a:pt x="331" y="41"/>
                    </a:moveTo>
                    <a:lnTo>
                      <a:pt x="331" y="43"/>
                    </a:lnTo>
                    <a:lnTo>
                      <a:pt x="331" y="41"/>
                    </a:lnTo>
                    <a:close/>
                    <a:moveTo>
                      <a:pt x="156" y="201"/>
                    </a:moveTo>
                    <a:lnTo>
                      <a:pt x="158" y="201"/>
                    </a:lnTo>
                    <a:lnTo>
                      <a:pt x="158" y="203"/>
                    </a:lnTo>
                    <a:lnTo>
                      <a:pt x="156" y="203"/>
                    </a:lnTo>
                    <a:lnTo>
                      <a:pt x="156" y="201"/>
                    </a:lnTo>
                    <a:close/>
                    <a:moveTo>
                      <a:pt x="61" y="400"/>
                    </a:moveTo>
                    <a:lnTo>
                      <a:pt x="63" y="400"/>
                    </a:lnTo>
                    <a:lnTo>
                      <a:pt x="61" y="400"/>
                    </a:lnTo>
                    <a:close/>
                    <a:moveTo>
                      <a:pt x="107" y="211"/>
                    </a:moveTo>
                    <a:lnTo>
                      <a:pt x="108" y="211"/>
                    </a:lnTo>
                    <a:lnTo>
                      <a:pt x="107" y="211"/>
                    </a:lnTo>
                    <a:close/>
                    <a:moveTo>
                      <a:pt x="61" y="400"/>
                    </a:moveTo>
                    <a:lnTo>
                      <a:pt x="63" y="400"/>
                    </a:lnTo>
                    <a:lnTo>
                      <a:pt x="63" y="402"/>
                    </a:lnTo>
                    <a:lnTo>
                      <a:pt x="61" y="402"/>
                    </a:lnTo>
                    <a:lnTo>
                      <a:pt x="61" y="400"/>
                    </a:lnTo>
                    <a:close/>
                    <a:moveTo>
                      <a:pt x="142" y="198"/>
                    </a:moveTo>
                    <a:lnTo>
                      <a:pt x="144" y="198"/>
                    </a:lnTo>
                    <a:lnTo>
                      <a:pt x="142" y="198"/>
                    </a:lnTo>
                    <a:close/>
                    <a:moveTo>
                      <a:pt x="241" y="116"/>
                    </a:moveTo>
                    <a:lnTo>
                      <a:pt x="243" y="116"/>
                    </a:lnTo>
                    <a:lnTo>
                      <a:pt x="241" y="116"/>
                    </a:lnTo>
                    <a:close/>
                    <a:moveTo>
                      <a:pt x="161" y="201"/>
                    </a:moveTo>
                    <a:lnTo>
                      <a:pt x="163" y="201"/>
                    </a:lnTo>
                    <a:lnTo>
                      <a:pt x="163" y="203"/>
                    </a:lnTo>
                    <a:lnTo>
                      <a:pt x="161" y="203"/>
                    </a:lnTo>
                    <a:lnTo>
                      <a:pt x="161" y="201"/>
                    </a:lnTo>
                    <a:close/>
                    <a:moveTo>
                      <a:pt x="193" y="179"/>
                    </a:moveTo>
                    <a:lnTo>
                      <a:pt x="195" y="179"/>
                    </a:lnTo>
                    <a:lnTo>
                      <a:pt x="193" y="179"/>
                    </a:lnTo>
                    <a:close/>
                    <a:moveTo>
                      <a:pt x="51" y="352"/>
                    </a:moveTo>
                    <a:lnTo>
                      <a:pt x="51" y="354"/>
                    </a:lnTo>
                    <a:lnTo>
                      <a:pt x="51" y="352"/>
                    </a:lnTo>
                    <a:close/>
                    <a:moveTo>
                      <a:pt x="35" y="279"/>
                    </a:moveTo>
                    <a:lnTo>
                      <a:pt x="37" y="279"/>
                    </a:lnTo>
                    <a:lnTo>
                      <a:pt x="37" y="281"/>
                    </a:lnTo>
                    <a:lnTo>
                      <a:pt x="35" y="281"/>
                    </a:lnTo>
                    <a:lnTo>
                      <a:pt x="35" y="279"/>
                    </a:lnTo>
                    <a:close/>
                    <a:moveTo>
                      <a:pt x="231" y="84"/>
                    </a:moveTo>
                    <a:lnTo>
                      <a:pt x="233" y="84"/>
                    </a:lnTo>
                    <a:lnTo>
                      <a:pt x="231" y="84"/>
                    </a:lnTo>
                    <a:close/>
                    <a:moveTo>
                      <a:pt x="158" y="206"/>
                    </a:moveTo>
                    <a:lnTo>
                      <a:pt x="159" y="206"/>
                    </a:lnTo>
                    <a:lnTo>
                      <a:pt x="158" y="206"/>
                    </a:lnTo>
                    <a:close/>
                    <a:moveTo>
                      <a:pt x="311" y="9"/>
                    </a:moveTo>
                    <a:lnTo>
                      <a:pt x="311" y="10"/>
                    </a:lnTo>
                    <a:lnTo>
                      <a:pt x="311" y="9"/>
                    </a:lnTo>
                    <a:close/>
                    <a:moveTo>
                      <a:pt x="59" y="395"/>
                    </a:moveTo>
                    <a:lnTo>
                      <a:pt x="59" y="397"/>
                    </a:lnTo>
                    <a:lnTo>
                      <a:pt x="59" y="395"/>
                    </a:lnTo>
                    <a:close/>
                    <a:moveTo>
                      <a:pt x="200" y="177"/>
                    </a:moveTo>
                    <a:lnTo>
                      <a:pt x="202" y="177"/>
                    </a:lnTo>
                    <a:lnTo>
                      <a:pt x="200" y="177"/>
                    </a:lnTo>
                    <a:close/>
                    <a:moveTo>
                      <a:pt x="199" y="177"/>
                    </a:moveTo>
                    <a:lnTo>
                      <a:pt x="200" y="177"/>
                    </a:lnTo>
                    <a:lnTo>
                      <a:pt x="200" y="179"/>
                    </a:lnTo>
                    <a:lnTo>
                      <a:pt x="199" y="179"/>
                    </a:lnTo>
                    <a:lnTo>
                      <a:pt x="199" y="177"/>
                    </a:lnTo>
                    <a:close/>
                    <a:moveTo>
                      <a:pt x="334" y="233"/>
                    </a:moveTo>
                    <a:lnTo>
                      <a:pt x="334" y="235"/>
                    </a:lnTo>
                    <a:lnTo>
                      <a:pt x="334" y="233"/>
                    </a:lnTo>
                    <a:close/>
                    <a:moveTo>
                      <a:pt x="158" y="193"/>
                    </a:moveTo>
                    <a:lnTo>
                      <a:pt x="159" y="193"/>
                    </a:lnTo>
                    <a:lnTo>
                      <a:pt x="158" y="193"/>
                    </a:lnTo>
                    <a:close/>
                    <a:moveTo>
                      <a:pt x="139" y="194"/>
                    </a:moveTo>
                    <a:lnTo>
                      <a:pt x="139" y="196"/>
                    </a:lnTo>
                    <a:lnTo>
                      <a:pt x="139" y="194"/>
                    </a:lnTo>
                    <a:close/>
                    <a:moveTo>
                      <a:pt x="54" y="676"/>
                    </a:moveTo>
                    <a:lnTo>
                      <a:pt x="56" y="676"/>
                    </a:lnTo>
                    <a:lnTo>
                      <a:pt x="54" y="676"/>
                    </a:lnTo>
                    <a:close/>
                    <a:moveTo>
                      <a:pt x="139" y="198"/>
                    </a:moveTo>
                    <a:lnTo>
                      <a:pt x="141" y="198"/>
                    </a:lnTo>
                    <a:lnTo>
                      <a:pt x="139" y="198"/>
                    </a:lnTo>
                    <a:close/>
                    <a:moveTo>
                      <a:pt x="334" y="221"/>
                    </a:moveTo>
                    <a:lnTo>
                      <a:pt x="336" y="221"/>
                    </a:lnTo>
                    <a:lnTo>
                      <a:pt x="334" y="221"/>
                    </a:lnTo>
                    <a:close/>
                    <a:moveTo>
                      <a:pt x="63" y="407"/>
                    </a:moveTo>
                    <a:lnTo>
                      <a:pt x="63" y="409"/>
                    </a:lnTo>
                    <a:lnTo>
                      <a:pt x="63" y="407"/>
                    </a:lnTo>
                    <a:close/>
                    <a:moveTo>
                      <a:pt x="166" y="204"/>
                    </a:moveTo>
                    <a:lnTo>
                      <a:pt x="168" y="204"/>
                    </a:lnTo>
                    <a:lnTo>
                      <a:pt x="166" y="204"/>
                    </a:lnTo>
                    <a:close/>
                    <a:moveTo>
                      <a:pt x="334" y="230"/>
                    </a:moveTo>
                    <a:lnTo>
                      <a:pt x="334" y="232"/>
                    </a:lnTo>
                    <a:lnTo>
                      <a:pt x="334" y="230"/>
                    </a:lnTo>
                    <a:close/>
                    <a:moveTo>
                      <a:pt x="336" y="227"/>
                    </a:moveTo>
                    <a:lnTo>
                      <a:pt x="338" y="227"/>
                    </a:lnTo>
                    <a:lnTo>
                      <a:pt x="338" y="228"/>
                    </a:lnTo>
                    <a:lnTo>
                      <a:pt x="336" y="228"/>
                    </a:lnTo>
                    <a:lnTo>
                      <a:pt x="336" y="227"/>
                    </a:lnTo>
                    <a:close/>
                    <a:moveTo>
                      <a:pt x="336" y="228"/>
                    </a:moveTo>
                    <a:lnTo>
                      <a:pt x="338" y="228"/>
                    </a:lnTo>
                    <a:lnTo>
                      <a:pt x="336" y="228"/>
                    </a:lnTo>
                    <a:close/>
                    <a:moveTo>
                      <a:pt x="334" y="218"/>
                    </a:moveTo>
                    <a:lnTo>
                      <a:pt x="334" y="220"/>
                    </a:lnTo>
                    <a:lnTo>
                      <a:pt x="334" y="218"/>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43" name="Freeform 39">
                <a:extLst>
                  <a:ext uri="{FF2B5EF4-FFF2-40B4-BE49-F238E27FC236}">
                    <a16:creationId xmlns:a16="http://schemas.microsoft.com/office/drawing/2014/main" id="{0F80686B-AE83-41C1-AA02-1956E56A9BC3}"/>
                  </a:ext>
                </a:extLst>
              </p:cNvPr>
              <p:cNvSpPr>
                <a:spLocks noEditPoints="1"/>
              </p:cNvSpPr>
              <p:nvPr/>
            </p:nvSpPr>
            <p:spPr bwMode="gray">
              <a:xfrm>
                <a:off x="6849740" y="4206873"/>
                <a:ext cx="947037" cy="690164"/>
              </a:xfrm>
              <a:custGeom>
                <a:avLst/>
                <a:gdLst>
                  <a:gd name="T0" fmla="*/ 88 w 163"/>
                  <a:gd name="T1" fmla="*/ 152 h 393"/>
                  <a:gd name="T2" fmla="*/ 93 w 163"/>
                  <a:gd name="T3" fmla="*/ 203 h 393"/>
                  <a:gd name="T4" fmla="*/ 144 w 163"/>
                  <a:gd name="T5" fmla="*/ 249 h 393"/>
                  <a:gd name="T6" fmla="*/ 160 w 163"/>
                  <a:gd name="T7" fmla="*/ 306 h 393"/>
                  <a:gd name="T8" fmla="*/ 151 w 163"/>
                  <a:gd name="T9" fmla="*/ 341 h 393"/>
                  <a:gd name="T10" fmla="*/ 139 w 163"/>
                  <a:gd name="T11" fmla="*/ 342 h 393"/>
                  <a:gd name="T12" fmla="*/ 131 w 163"/>
                  <a:gd name="T13" fmla="*/ 356 h 393"/>
                  <a:gd name="T14" fmla="*/ 132 w 163"/>
                  <a:gd name="T15" fmla="*/ 373 h 393"/>
                  <a:gd name="T16" fmla="*/ 132 w 163"/>
                  <a:gd name="T17" fmla="*/ 385 h 393"/>
                  <a:gd name="T18" fmla="*/ 122 w 163"/>
                  <a:gd name="T19" fmla="*/ 393 h 393"/>
                  <a:gd name="T20" fmla="*/ 124 w 163"/>
                  <a:gd name="T21" fmla="*/ 381 h 393"/>
                  <a:gd name="T22" fmla="*/ 114 w 163"/>
                  <a:gd name="T23" fmla="*/ 375 h 393"/>
                  <a:gd name="T24" fmla="*/ 105 w 163"/>
                  <a:gd name="T25" fmla="*/ 363 h 393"/>
                  <a:gd name="T26" fmla="*/ 92 w 163"/>
                  <a:gd name="T27" fmla="*/ 351 h 393"/>
                  <a:gd name="T28" fmla="*/ 81 w 163"/>
                  <a:gd name="T29" fmla="*/ 332 h 393"/>
                  <a:gd name="T30" fmla="*/ 85 w 163"/>
                  <a:gd name="T31" fmla="*/ 324 h 393"/>
                  <a:gd name="T32" fmla="*/ 90 w 163"/>
                  <a:gd name="T33" fmla="*/ 310 h 393"/>
                  <a:gd name="T34" fmla="*/ 95 w 163"/>
                  <a:gd name="T35" fmla="*/ 293 h 393"/>
                  <a:gd name="T36" fmla="*/ 93 w 163"/>
                  <a:gd name="T37" fmla="*/ 269 h 393"/>
                  <a:gd name="T38" fmla="*/ 81 w 163"/>
                  <a:gd name="T39" fmla="*/ 255 h 393"/>
                  <a:gd name="T40" fmla="*/ 59 w 163"/>
                  <a:gd name="T41" fmla="*/ 261 h 393"/>
                  <a:gd name="T42" fmla="*/ 49 w 163"/>
                  <a:gd name="T43" fmla="*/ 264 h 393"/>
                  <a:gd name="T44" fmla="*/ 36 w 163"/>
                  <a:gd name="T45" fmla="*/ 245 h 393"/>
                  <a:gd name="T46" fmla="*/ 27 w 163"/>
                  <a:gd name="T47" fmla="*/ 235 h 393"/>
                  <a:gd name="T48" fmla="*/ 19 w 163"/>
                  <a:gd name="T49" fmla="*/ 237 h 393"/>
                  <a:gd name="T50" fmla="*/ 10 w 163"/>
                  <a:gd name="T51" fmla="*/ 227 h 393"/>
                  <a:gd name="T52" fmla="*/ 5 w 163"/>
                  <a:gd name="T53" fmla="*/ 218 h 393"/>
                  <a:gd name="T54" fmla="*/ 3 w 163"/>
                  <a:gd name="T55" fmla="*/ 215 h 393"/>
                  <a:gd name="T56" fmla="*/ 12 w 163"/>
                  <a:gd name="T57" fmla="*/ 203 h 393"/>
                  <a:gd name="T58" fmla="*/ 13 w 163"/>
                  <a:gd name="T59" fmla="*/ 177 h 393"/>
                  <a:gd name="T60" fmla="*/ 24 w 163"/>
                  <a:gd name="T61" fmla="*/ 164 h 393"/>
                  <a:gd name="T62" fmla="*/ 37 w 163"/>
                  <a:gd name="T63" fmla="*/ 159 h 393"/>
                  <a:gd name="T64" fmla="*/ 41 w 163"/>
                  <a:gd name="T65" fmla="*/ 150 h 393"/>
                  <a:gd name="T66" fmla="*/ 30 w 163"/>
                  <a:gd name="T67" fmla="*/ 141 h 393"/>
                  <a:gd name="T68" fmla="*/ 32 w 163"/>
                  <a:gd name="T69" fmla="*/ 123 h 393"/>
                  <a:gd name="T70" fmla="*/ 29 w 163"/>
                  <a:gd name="T71" fmla="*/ 109 h 393"/>
                  <a:gd name="T72" fmla="*/ 32 w 163"/>
                  <a:gd name="T73" fmla="*/ 102 h 393"/>
                  <a:gd name="T74" fmla="*/ 30 w 163"/>
                  <a:gd name="T75" fmla="*/ 79 h 393"/>
                  <a:gd name="T76" fmla="*/ 34 w 163"/>
                  <a:gd name="T77" fmla="*/ 75 h 393"/>
                  <a:gd name="T78" fmla="*/ 46 w 163"/>
                  <a:gd name="T79" fmla="*/ 65 h 393"/>
                  <a:gd name="T80" fmla="*/ 46 w 163"/>
                  <a:gd name="T81" fmla="*/ 55 h 393"/>
                  <a:gd name="T82" fmla="*/ 32 w 163"/>
                  <a:gd name="T83" fmla="*/ 36 h 393"/>
                  <a:gd name="T84" fmla="*/ 27 w 163"/>
                  <a:gd name="T85" fmla="*/ 19 h 393"/>
                  <a:gd name="T86" fmla="*/ 19 w 163"/>
                  <a:gd name="T87" fmla="*/ 14 h 393"/>
                  <a:gd name="T88" fmla="*/ 13 w 163"/>
                  <a:gd name="T89" fmla="*/ 2 h 393"/>
                  <a:gd name="T90" fmla="*/ 30 w 163"/>
                  <a:gd name="T91" fmla="*/ 7 h 393"/>
                  <a:gd name="T92" fmla="*/ 39 w 163"/>
                  <a:gd name="T93" fmla="*/ 12 h 393"/>
                  <a:gd name="T94" fmla="*/ 53 w 163"/>
                  <a:gd name="T95" fmla="*/ 11 h 393"/>
                  <a:gd name="T96" fmla="*/ 64 w 163"/>
                  <a:gd name="T97" fmla="*/ 11 h 393"/>
                  <a:gd name="T98" fmla="*/ 93 w 163"/>
                  <a:gd name="T99" fmla="*/ 36 h 393"/>
                  <a:gd name="T100" fmla="*/ 95 w 163"/>
                  <a:gd name="T101" fmla="*/ 56 h 393"/>
                  <a:gd name="T102" fmla="*/ 98 w 163"/>
                  <a:gd name="T103" fmla="*/ 65 h 393"/>
                  <a:gd name="T104" fmla="*/ 98 w 163"/>
                  <a:gd name="T105" fmla="*/ 85 h 393"/>
                  <a:gd name="T106" fmla="*/ 107 w 163"/>
                  <a:gd name="T107" fmla="*/ 97 h 393"/>
                  <a:gd name="T108" fmla="*/ 115 w 163"/>
                  <a:gd name="T109" fmla="*/ 113 h 393"/>
                  <a:gd name="T110" fmla="*/ 97 w 163"/>
                  <a:gd name="T111" fmla="*/ 13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393">
                    <a:moveTo>
                      <a:pt x="115" y="113"/>
                    </a:moveTo>
                    <a:lnTo>
                      <a:pt x="98" y="113"/>
                    </a:lnTo>
                    <a:lnTo>
                      <a:pt x="98" y="119"/>
                    </a:lnTo>
                    <a:lnTo>
                      <a:pt x="93" y="130"/>
                    </a:lnTo>
                    <a:lnTo>
                      <a:pt x="88" y="141"/>
                    </a:lnTo>
                    <a:lnTo>
                      <a:pt x="88" y="152"/>
                    </a:lnTo>
                    <a:lnTo>
                      <a:pt x="93" y="170"/>
                    </a:lnTo>
                    <a:lnTo>
                      <a:pt x="92" y="177"/>
                    </a:lnTo>
                    <a:lnTo>
                      <a:pt x="95" y="187"/>
                    </a:lnTo>
                    <a:lnTo>
                      <a:pt x="93" y="191"/>
                    </a:lnTo>
                    <a:lnTo>
                      <a:pt x="93" y="198"/>
                    </a:lnTo>
                    <a:lnTo>
                      <a:pt x="93" y="203"/>
                    </a:lnTo>
                    <a:lnTo>
                      <a:pt x="97" y="210"/>
                    </a:lnTo>
                    <a:lnTo>
                      <a:pt x="110" y="210"/>
                    </a:lnTo>
                    <a:lnTo>
                      <a:pt x="122" y="220"/>
                    </a:lnTo>
                    <a:lnTo>
                      <a:pt x="129" y="230"/>
                    </a:lnTo>
                    <a:lnTo>
                      <a:pt x="141" y="244"/>
                    </a:lnTo>
                    <a:lnTo>
                      <a:pt x="144" y="249"/>
                    </a:lnTo>
                    <a:lnTo>
                      <a:pt x="156" y="262"/>
                    </a:lnTo>
                    <a:lnTo>
                      <a:pt x="161" y="269"/>
                    </a:lnTo>
                    <a:lnTo>
                      <a:pt x="161" y="279"/>
                    </a:lnTo>
                    <a:lnTo>
                      <a:pt x="163" y="281"/>
                    </a:lnTo>
                    <a:lnTo>
                      <a:pt x="158" y="295"/>
                    </a:lnTo>
                    <a:lnTo>
                      <a:pt x="160" y="306"/>
                    </a:lnTo>
                    <a:lnTo>
                      <a:pt x="160" y="308"/>
                    </a:lnTo>
                    <a:lnTo>
                      <a:pt x="160" y="312"/>
                    </a:lnTo>
                    <a:lnTo>
                      <a:pt x="158" y="334"/>
                    </a:lnTo>
                    <a:lnTo>
                      <a:pt x="158" y="337"/>
                    </a:lnTo>
                    <a:lnTo>
                      <a:pt x="153" y="342"/>
                    </a:lnTo>
                    <a:lnTo>
                      <a:pt x="151" y="341"/>
                    </a:lnTo>
                    <a:lnTo>
                      <a:pt x="148" y="342"/>
                    </a:lnTo>
                    <a:lnTo>
                      <a:pt x="146" y="342"/>
                    </a:lnTo>
                    <a:lnTo>
                      <a:pt x="144" y="346"/>
                    </a:lnTo>
                    <a:lnTo>
                      <a:pt x="143" y="344"/>
                    </a:lnTo>
                    <a:lnTo>
                      <a:pt x="143" y="342"/>
                    </a:lnTo>
                    <a:lnTo>
                      <a:pt x="139" y="342"/>
                    </a:lnTo>
                    <a:lnTo>
                      <a:pt x="138" y="342"/>
                    </a:lnTo>
                    <a:lnTo>
                      <a:pt x="132" y="347"/>
                    </a:lnTo>
                    <a:lnTo>
                      <a:pt x="132" y="351"/>
                    </a:lnTo>
                    <a:lnTo>
                      <a:pt x="131" y="352"/>
                    </a:lnTo>
                    <a:lnTo>
                      <a:pt x="132" y="354"/>
                    </a:lnTo>
                    <a:lnTo>
                      <a:pt x="131" y="356"/>
                    </a:lnTo>
                    <a:lnTo>
                      <a:pt x="131" y="361"/>
                    </a:lnTo>
                    <a:lnTo>
                      <a:pt x="124" y="364"/>
                    </a:lnTo>
                    <a:lnTo>
                      <a:pt x="126" y="368"/>
                    </a:lnTo>
                    <a:lnTo>
                      <a:pt x="127" y="369"/>
                    </a:lnTo>
                    <a:lnTo>
                      <a:pt x="129" y="369"/>
                    </a:lnTo>
                    <a:lnTo>
                      <a:pt x="132" y="373"/>
                    </a:lnTo>
                    <a:lnTo>
                      <a:pt x="132" y="376"/>
                    </a:lnTo>
                    <a:lnTo>
                      <a:pt x="132" y="378"/>
                    </a:lnTo>
                    <a:lnTo>
                      <a:pt x="131" y="381"/>
                    </a:lnTo>
                    <a:lnTo>
                      <a:pt x="132" y="381"/>
                    </a:lnTo>
                    <a:lnTo>
                      <a:pt x="131" y="385"/>
                    </a:lnTo>
                    <a:lnTo>
                      <a:pt x="132" y="385"/>
                    </a:lnTo>
                    <a:lnTo>
                      <a:pt x="132" y="386"/>
                    </a:lnTo>
                    <a:lnTo>
                      <a:pt x="132" y="388"/>
                    </a:lnTo>
                    <a:lnTo>
                      <a:pt x="132" y="390"/>
                    </a:lnTo>
                    <a:lnTo>
                      <a:pt x="132" y="392"/>
                    </a:lnTo>
                    <a:lnTo>
                      <a:pt x="132" y="393"/>
                    </a:lnTo>
                    <a:lnTo>
                      <a:pt x="122" y="393"/>
                    </a:lnTo>
                    <a:lnTo>
                      <a:pt x="121" y="392"/>
                    </a:lnTo>
                    <a:lnTo>
                      <a:pt x="122" y="392"/>
                    </a:lnTo>
                    <a:lnTo>
                      <a:pt x="121" y="390"/>
                    </a:lnTo>
                    <a:lnTo>
                      <a:pt x="121" y="386"/>
                    </a:lnTo>
                    <a:lnTo>
                      <a:pt x="126" y="383"/>
                    </a:lnTo>
                    <a:lnTo>
                      <a:pt x="124" y="381"/>
                    </a:lnTo>
                    <a:lnTo>
                      <a:pt x="126" y="378"/>
                    </a:lnTo>
                    <a:lnTo>
                      <a:pt x="122" y="378"/>
                    </a:lnTo>
                    <a:lnTo>
                      <a:pt x="119" y="378"/>
                    </a:lnTo>
                    <a:lnTo>
                      <a:pt x="117" y="376"/>
                    </a:lnTo>
                    <a:lnTo>
                      <a:pt x="117" y="375"/>
                    </a:lnTo>
                    <a:lnTo>
                      <a:pt x="114" y="375"/>
                    </a:lnTo>
                    <a:lnTo>
                      <a:pt x="112" y="371"/>
                    </a:lnTo>
                    <a:lnTo>
                      <a:pt x="110" y="371"/>
                    </a:lnTo>
                    <a:lnTo>
                      <a:pt x="109" y="368"/>
                    </a:lnTo>
                    <a:lnTo>
                      <a:pt x="107" y="366"/>
                    </a:lnTo>
                    <a:lnTo>
                      <a:pt x="107" y="364"/>
                    </a:lnTo>
                    <a:lnTo>
                      <a:pt x="105" y="363"/>
                    </a:lnTo>
                    <a:lnTo>
                      <a:pt x="102" y="361"/>
                    </a:lnTo>
                    <a:lnTo>
                      <a:pt x="100" y="359"/>
                    </a:lnTo>
                    <a:lnTo>
                      <a:pt x="97" y="358"/>
                    </a:lnTo>
                    <a:lnTo>
                      <a:pt x="95" y="352"/>
                    </a:lnTo>
                    <a:lnTo>
                      <a:pt x="93" y="351"/>
                    </a:lnTo>
                    <a:lnTo>
                      <a:pt x="92" y="351"/>
                    </a:lnTo>
                    <a:lnTo>
                      <a:pt x="88" y="349"/>
                    </a:lnTo>
                    <a:lnTo>
                      <a:pt x="87" y="342"/>
                    </a:lnTo>
                    <a:lnTo>
                      <a:pt x="88" y="339"/>
                    </a:lnTo>
                    <a:lnTo>
                      <a:pt x="87" y="337"/>
                    </a:lnTo>
                    <a:lnTo>
                      <a:pt x="85" y="335"/>
                    </a:lnTo>
                    <a:lnTo>
                      <a:pt x="81" y="332"/>
                    </a:lnTo>
                    <a:lnTo>
                      <a:pt x="80" y="332"/>
                    </a:lnTo>
                    <a:lnTo>
                      <a:pt x="80" y="330"/>
                    </a:lnTo>
                    <a:lnTo>
                      <a:pt x="80" y="329"/>
                    </a:lnTo>
                    <a:lnTo>
                      <a:pt x="80" y="325"/>
                    </a:lnTo>
                    <a:lnTo>
                      <a:pt x="83" y="324"/>
                    </a:lnTo>
                    <a:lnTo>
                      <a:pt x="85" y="324"/>
                    </a:lnTo>
                    <a:lnTo>
                      <a:pt x="87" y="320"/>
                    </a:lnTo>
                    <a:lnTo>
                      <a:pt x="88" y="318"/>
                    </a:lnTo>
                    <a:lnTo>
                      <a:pt x="88" y="317"/>
                    </a:lnTo>
                    <a:lnTo>
                      <a:pt x="90" y="315"/>
                    </a:lnTo>
                    <a:lnTo>
                      <a:pt x="88" y="310"/>
                    </a:lnTo>
                    <a:lnTo>
                      <a:pt x="90" y="310"/>
                    </a:lnTo>
                    <a:lnTo>
                      <a:pt x="90" y="308"/>
                    </a:lnTo>
                    <a:lnTo>
                      <a:pt x="93" y="306"/>
                    </a:lnTo>
                    <a:lnTo>
                      <a:pt x="93" y="303"/>
                    </a:lnTo>
                    <a:lnTo>
                      <a:pt x="95" y="301"/>
                    </a:lnTo>
                    <a:lnTo>
                      <a:pt x="97" y="300"/>
                    </a:lnTo>
                    <a:lnTo>
                      <a:pt x="95" y="293"/>
                    </a:lnTo>
                    <a:lnTo>
                      <a:pt x="97" y="289"/>
                    </a:lnTo>
                    <a:lnTo>
                      <a:pt x="95" y="289"/>
                    </a:lnTo>
                    <a:lnTo>
                      <a:pt x="98" y="286"/>
                    </a:lnTo>
                    <a:lnTo>
                      <a:pt x="95" y="281"/>
                    </a:lnTo>
                    <a:lnTo>
                      <a:pt x="95" y="276"/>
                    </a:lnTo>
                    <a:lnTo>
                      <a:pt x="93" y="269"/>
                    </a:lnTo>
                    <a:lnTo>
                      <a:pt x="93" y="267"/>
                    </a:lnTo>
                    <a:lnTo>
                      <a:pt x="93" y="264"/>
                    </a:lnTo>
                    <a:lnTo>
                      <a:pt x="90" y="261"/>
                    </a:lnTo>
                    <a:lnTo>
                      <a:pt x="87" y="255"/>
                    </a:lnTo>
                    <a:lnTo>
                      <a:pt x="85" y="255"/>
                    </a:lnTo>
                    <a:lnTo>
                      <a:pt x="81" y="255"/>
                    </a:lnTo>
                    <a:lnTo>
                      <a:pt x="80" y="257"/>
                    </a:lnTo>
                    <a:lnTo>
                      <a:pt x="71" y="257"/>
                    </a:lnTo>
                    <a:lnTo>
                      <a:pt x="71" y="259"/>
                    </a:lnTo>
                    <a:lnTo>
                      <a:pt x="63" y="259"/>
                    </a:lnTo>
                    <a:lnTo>
                      <a:pt x="61" y="261"/>
                    </a:lnTo>
                    <a:lnTo>
                      <a:pt x="59" y="261"/>
                    </a:lnTo>
                    <a:lnTo>
                      <a:pt x="58" y="262"/>
                    </a:lnTo>
                    <a:lnTo>
                      <a:pt x="53" y="261"/>
                    </a:lnTo>
                    <a:lnTo>
                      <a:pt x="51" y="262"/>
                    </a:lnTo>
                    <a:lnTo>
                      <a:pt x="53" y="264"/>
                    </a:lnTo>
                    <a:lnTo>
                      <a:pt x="51" y="266"/>
                    </a:lnTo>
                    <a:lnTo>
                      <a:pt x="49" y="264"/>
                    </a:lnTo>
                    <a:lnTo>
                      <a:pt x="47" y="261"/>
                    </a:lnTo>
                    <a:lnTo>
                      <a:pt x="46" y="259"/>
                    </a:lnTo>
                    <a:lnTo>
                      <a:pt x="44" y="259"/>
                    </a:lnTo>
                    <a:lnTo>
                      <a:pt x="42" y="257"/>
                    </a:lnTo>
                    <a:lnTo>
                      <a:pt x="41" y="255"/>
                    </a:lnTo>
                    <a:lnTo>
                      <a:pt x="36" y="245"/>
                    </a:lnTo>
                    <a:lnTo>
                      <a:pt x="34" y="245"/>
                    </a:lnTo>
                    <a:lnTo>
                      <a:pt x="30" y="242"/>
                    </a:lnTo>
                    <a:lnTo>
                      <a:pt x="32" y="240"/>
                    </a:lnTo>
                    <a:lnTo>
                      <a:pt x="30" y="237"/>
                    </a:lnTo>
                    <a:lnTo>
                      <a:pt x="29" y="235"/>
                    </a:lnTo>
                    <a:lnTo>
                      <a:pt x="27" y="235"/>
                    </a:lnTo>
                    <a:lnTo>
                      <a:pt x="25" y="233"/>
                    </a:lnTo>
                    <a:lnTo>
                      <a:pt x="25" y="232"/>
                    </a:lnTo>
                    <a:lnTo>
                      <a:pt x="24" y="232"/>
                    </a:lnTo>
                    <a:lnTo>
                      <a:pt x="22" y="233"/>
                    </a:lnTo>
                    <a:lnTo>
                      <a:pt x="19" y="235"/>
                    </a:lnTo>
                    <a:lnTo>
                      <a:pt x="19" y="237"/>
                    </a:lnTo>
                    <a:lnTo>
                      <a:pt x="17" y="238"/>
                    </a:lnTo>
                    <a:lnTo>
                      <a:pt x="15" y="235"/>
                    </a:lnTo>
                    <a:lnTo>
                      <a:pt x="15" y="233"/>
                    </a:lnTo>
                    <a:lnTo>
                      <a:pt x="13" y="232"/>
                    </a:lnTo>
                    <a:lnTo>
                      <a:pt x="13" y="230"/>
                    </a:lnTo>
                    <a:lnTo>
                      <a:pt x="10" y="227"/>
                    </a:lnTo>
                    <a:lnTo>
                      <a:pt x="8" y="225"/>
                    </a:lnTo>
                    <a:lnTo>
                      <a:pt x="7" y="225"/>
                    </a:lnTo>
                    <a:lnTo>
                      <a:pt x="5" y="223"/>
                    </a:lnTo>
                    <a:lnTo>
                      <a:pt x="5" y="221"/>
                    </a:lnTo>
                    <a:lnTo>
                      <a:pt x="8" y="220"/>
                    </a:lnTo>
                    <a:lnTo>
                      <a:pt x="5" y="218"/>
                    </a:lnTo>
                    <a:lnTo>
                      <a:pt x="7" y="218"/>
                    </a:lnTo>
                    <a:lnTo>
                      <a:pt x="5" y="216"/>
                    </a:lnTo>
                    <a:lnTo>
                      <a:pt x="2" y="216"/>
                    </a:lnTo>
                    <a:lnTo>
                      <a:pt x="0" y="215"/>
                    </a:lnTo>
                    <a:lnTo>
                      <a:pt x="0" y="213"/>
                    </a:lnTo>
                    <a:lnTo>
                      <a:pt x="3" y="215"/>
                    </a:lnTo>
                    <a:lnTo>
                      <a:pt x="5" y="213"/>
                    </a:lnTo>
                    <a:lnTo>
                      <a:pt x="8" y="210"/>
                    </a:lnTo>
                    <a:lnTo>
                      <a:pt x="8" y="208"/>
                    </a:lnTo>
                    <a:lnTo>
                      <a:pt x="10" y="208"/>
                    </a:lnTo>
                    <a:lnTo>
                      <a:pt x="12" y="204"/>
                    </a:lnTo>
                    <a:lnTo>
                      <a:pt x="12" y="203"/>
                    </a:lnTo>
                    <a:lnTo>
                      <a:pt x="13" y="198"/>
                    </a:lnTo>
                    <a:lnTo>
                      <a:pt x="17" y="196"/>
                    </a:lnTo>
                    <a:lnTo>
                      <a:pt x="15" y="193"/>
                    </a:lnTo>
                    <a:lnTo>
                      <a:pt x="15" y="191"/>
                    </a:lnTo>
                    <a:lnTo>
                      <a:pt x="17" y="179"/>
                    </a:lnTo>
                    <a:lnTo>
                      <a:pt x="13" y="177"/>
                    </a:lnTo>
                    <a:lnTo>
                      <a:pt x="13" y="172"/>
                    </a:lnTo>
                    <a:lnTo>
                      <a:pt x="15" y="170"/>
                    </a:lnTo>
                    <a:lnTo>
                      <a:pt x="19" y="165"/>
                    </a:lnTo>
                    <a:lnTo>
                      <a:pt x="20" y="164"/>
                    </a:lnTo>
                    <a:lnTo>
                      <a:pt x="22" y="165"/>
                    </a:lnTo>
                    <a:lnTo>
                      <a:pt x="24" y="164"/>
                    </a:lnTo>
                    <a:lnTo>
                      <a:pt x="25" y="165"/>
                    </a:lnTo>
                    <a:lnTo>
                      <a:pt x="30" y="160"/>
                    </a:lnTo>
                    <a:lnTo>
                      <a:pt x="32" y="160"/>
                    </a:lnTo>
                    <a:lnTo>
                      <a:pt x="34" y="162"/>
                    </a:lnTo>
                    <a:lnTo>
                      <a:pt x="36" y="162"/>
                    </a:lnTo>
                    <a:lnTo>
                      <a:pt x="37" y="159"/>
                    </a:lnTo>
                    <a:lnTo>
                      <a:pt x="41" y="157"/>
                    </a:lnTo>
                    <a:lnTo>
                      <a:pt x="41" y="155"/>
                    </a:lnTo>
                    <a:lnTo>
                      <a:pt x="44" y="152"/>
                    </a:lnTo>
                    <a:lnTo>
                      <a:pt x="42" y="150"/>
                    </a:lnTo>
                    <a:lnTo>
                      <a:pt x="42" y="152"/>
                    </a:lnTo>
                    <a:lnTo>
                      <a:pt x="41" y="150"/>
                    </a:lnTo>
                    <a:lnTo>
                      <a:pt x="36" y="152"/>
                    </a:lnTo>
                    <a:lnTo>
                      <a:pt x="34" y="150"/>
                    </a:lnTo>
                    <a:lnTo>
                      <a:pt x="34" y="148"/>
                    </a:lnTo>
                    <a:lnTo>
                      <a:pt x="32" y="147"/>
                    </a:lnTo>
                    <a:lnTo>
                      <a:pt x="32" y="141"/>
                    </a:lnTo>
                    <a:lnTo>
                      <a:pt x="30" y="141"/>
                    </a:lnTo>
                    <a:lnTo>
                      <a:pt x="29" y="140"/>
                    </a:lnTo>
                    <a:lnTo>
                      <a:pt x="30" y="136"/>
                    </a:lnTo>
                    <a:lnTo>
                      <a:pt x="32" y="133"/>
                    </a:lnTo>
                    <a:lnTo>
                      <a:pt x="32" y="130"/>
                    </a:lnTo>
                    <a:lnTo>
                      <a:pt x="32" y="126"/>
                    </a:lnTo>
                    <a:lnTo>
                      <a:pt x="32" y="123"/>
                    </a:lnTo>
                    <a:lnTo>
                      <a:pt x="32" y="119"/>
                    </a:lnTo>
                    <a:lnTo>
                      <a:pt x="32" y="113"/>
                    </a:lnTo>
                    <a:lnTo>
                      <a:pt x="30" y="113"/>
                    </a:lnTo>
                    <a:lnTo>
                      <a:pt x="27" y="113"/>
                    </a:lnTo>
                    <a:lnTo>
                      <a:pt x="27" y="111"/>
                    </a:lnTo>
                    <a:lnTo>
                      <a:pt x="29" y="109"/>
                    </a:lnTo>
                    <a:lnTo>
                      <a:pt x="29" y="106"/>
                    </a:lnTo>
                    <a:lnTo>
                      <a:pt x="27" y="104"/>
                    </a:lnTo>
                    <a:lnTo>
                      <a:pt x="29" y="104"/>
                    </a:lnTo>
                    <a:lnTo>
                      <a:pt x="30" y="106"/>
                    </a:lnTo>
                    <a:lnTo>
                      <a:pt x="30" y="102"/>
                    </a:lnTo>
                    <a:lnTo>
                      <a:pt x="32" y="102"/>
                    </a:lnTo>
                    <a:lnTo>
                      <a:pt x="32" y="101"/>
                    </a:lnTo>
                    <a:lnTo>
                      <a:pt x="34" y="96"/>
                    </a:lnTo>
                    <a:lnTo>
                      <a:pt x="36" y="96"/>
                    </a:lnTo>
                    <a:lnTo>
                      <a:pt x="37" y="90"/>
                    </a:lnTo>
                    <a:lnTo>
                      <a:pt x="32" y="87"/>
                    </a:lnTo>
                    <a:lnTo>
                      <a:pt x="30" y="79"/>
                    </a:lnTo>
                    <a:lnTo>
                      <a:pt x="29" y="79"/>
                    </a:lnTo>
                    <a:lnTo>
                      <a:pt x="29" y="77"/>
                    </a:lnTo>
                    <a:lnTo>
                      <a:pt x="30" y="77"/>
                    </a:lnTo>
                    <a:lnTo>
                      <a:pt x="32" y="77"/>
                    </a:lnTo>
                    <a:lnTo>
                      <a:pt x="32" y="75"/>
                    </a:lnTo>
                    <a:lnTo>
                      <a:pt x="34" y="75"/>
                    </a:lnTo>
                    <a:lnTo>
                      <a:pt x="37" y="73"/>
                    </a:lnTo>
                    <a:lnTo>
                      <a:pt x="39" y="73"/>
                    </a:lnTo>
                    <a:lnTo>
                      <a:pt x="42" y="72"/>
                    </a:lnTo>
                    <a:lnTo>
                      <a:pt x="42" y="70"/>
                    </a:lnTo>
                    <a:lnTo>
                      <a:pt x="44" y="70"/>
                    </a:lnTo>
                    <a:lnTo>
                      <a:pt x="46" y="65"/>
                    </a:lnTo>
                    <a:lnTo>
                      <a:pt x="47" y="65"/>
                    </a:lnTo>
                    <a:lnTo>
                      <a:pt x="51" y="62"/>
                    </a:lnTo>
                    <a:lnTo>
                      <a:pt x="49" y="60"/>
                    </a:lnTo>
                    <a:lnTo>
                      <a:pt x="47" y="58"/>
                    </a:lnTo>
                    <a:lnTo>
                      <a:pt x="47" y="56"/>
                    </a:lnTo>
                    <a:lnTo>
                      <a:pt x="46" y="55"/>
                    </a:lnTo>
                    <a:lnTo>
                      <a:pt x="44" y="51"/>
                    </a:lnTo>
                    <a:lnTo>
                      <a:pt x="42" y="48"/>
                    </a:lnTo>
                    <a:lnTo>
                      <a:pt x="44" y="45"/>
                    </a:lnTo>
                    <a:lnTo>
                      <a:pt x="39" y="41"/>
                    </a:lnTo>
                    <a:lnTo>
                      <a:pt x="37" y="39"/>
                    </a:lnTo>
                    <a:lnTo>
                      <a:pt x="32" y="36"/>
                    </a:lnTo>
                    <a:lnTo>
                      <a:pt x="34" y="29"/>
                    </a:lnTo>
                    <a:lnTo>
                      <a:pt x="36" y="28"/>
                    </a:lnTo>
                    <a:lnTo>
                      <a:pt x="34" y="24"/>
                    </a:lnTo>
                    <a:lnTo>
                      <a:pt x="30" y="22"/>
                    </a:lnTo>
                    <a:lnTo>
                      <a:pt x="30" y="21"/>
                    </a:lnTo>
                    <a:lnTo>
                      <a:pt x="27" y="19"/>
                    </a:lnTo>
                    <a:lnTo>
                      <a:pt x="27" y="16"/>
                    </a:lnTo>
                    <a:lnTo>
                      <a:pt x="25" y="12"/>
                    </a:lnTo>
                    <a:lnTo>
                      <a:pt x="22" y="12"/>
                    </a:lnTo>
                    <a:lnTo>
                      <a:pt x="22" y="14"/>
                    </a:lnTo>
                    <a:lnTo>
                      <a:pt x="22" y="16"/>
                    </a:lnTo>
                    <a:lnTo>
                      <a:pt x="19" y="14"/>
                    </a:lnTo>
                    <a:lnTo>
                      <a:pt x="17" y="14"/>
                    </a:lnTo>
                    <a:lnTo>
                      <a:pt x="17" y="7"/>
                    </a:lnTo>
                    <a:lnTo>
                      <a:pt x="15" y="5"/>
                    </a:lnTo>
                    <a:lnTo>
                      <a:pt x="13" y="5"/>
                    </a:lnTo>
                    <a:lnTo>
                      <a:pt x="13" y="4"/>
                    </a:lnTo>
                    <a:lnTo>
                      <a:pt x="13" y="2"/>
                    </a:lnTo>
                    <a:lnTo>
                      <a:pt x="15" y="0"/>
                    </a:lnTo>
                    <a:lnTo>
                      <a:pt x="19" y="2"/>
                    </a:lnTo>
                    <a:lnTo>
                      <a:pt x="24" y="7"/>
                    </a:lnTo>
                    <a:lnTo>
                      <a:pt x="27" y="7"/>
                    </a:lnTo>
                    <a:lnTo>
                      <a:pt x="29" y="7"/>
                    </a:lnTo>
                    <a:lnTo>
                      <a:pt x="30" y="7"/>
                    </a:lnTo>
                    <a:lnTo>
                      <a:pt x="32" y="7"/>
                    </a:lnTo>
                    <a:lnTo>
                      <a:pt x="34" y="9"/>
                    </a:lnTo>
                    <a:lnTo>
                      <a:pt x="36" y="9"/>
                    </a:lnTo>
                    <a:lnTo>
                      <a:pt x="37" y="11"/>
                    </a:lnTo>
                    <a:lnTo>
                      <a:pt x="37" y="12"/>
                    </a:lnTo>
                    <a:lnTo>
                      <a:pt x="39" y="12"/>
                    </a:lnTo>
                    <a:lnTo>
                      <a:pt x="42" y="14"/>
                    </a:lnTo>
                    <a:lnTo>
                      <a:pt x="44" y="12"/>
                    </a:lnTo>
                    <a:lnTo>
                      <a:pt x="46" y="11"/>
                    </a:lnTo>
                    <a:lnTo>
                      <a:pt x="47" y="12"/>
                    </a:lnTo>
                    <a:lnTo>
                      <a:pt x="51" y="12"/>
                    </a:lnTo>
                    <a:lnTo>
                      <a:pt x="53" y="11"/>
                    </a:lnTo>
                    <a:lnTo>
                      <a:pt x="56" y="11"/>
                    </a:lnTo>
                    <a:lnTo>
                      <a:pt x="58" y="14"/>
                    </a:lnTo>
                    <a:lnTo>
                      <a:pt x="61" y="17"/>
                    </a:lnTo>
                    <a:lnTo>
                      <a:pt x="63" y="17"/>
                    </a:lnTo>
                    <a:lnTo>
                      <a:pt x="64" y="12"/>
                    </a:lnTo>
                    <a:lnTo>
                      <a:pt x="64" y="11"/>
                    </a:lnTo>
                    <a:lnTo>
                      <a:pt x="64" y="9"/>
                    </a:lnTo>
                    <a:lnTo>
                      <a:pt x="68" y="7"/>
                    </a:lnTo>
                    <a:lnTo>
                      <a:pt x="83" y="21"/>
                    </a:lnTo>
                    <a:lnTo>
                      <a:pt x="90" y="29"/>
                    </a:lnTo>
                    <a:lnTo>
                      <a:pt x="92" y="33"/>
                    </a:lnTo>
                    <a:lnTo>
                      <a:pt x="93" y="36"/>
                    </a:lnTo>
                    <a:lnTo>
                      <a:pt x="93" y="38"/>
                    </a:lnTo>
                    <a:lnTo>
                      <a:pt x="95" y="43"/>
                    </a:lnTo>
                    <a:lnTo>
                      <a:pt x="95" y="45"/>
                    </a:lnTo>
                    <a:lnTo>
                      <a:pt x="97" y="48"/>
                    </a:lnTo>
                    <a:lnTo>
                      <a:pt x="95" y="55"/>
                    </a:lnTo>
                    <a:lnTo>
                      <a:pt x="95" y="56"/>
                    </a:lnTo>
                    <a:lnTo>
                      <a:pt x="97" y="55"/>
                    </a:lnTo>
                    <a:lnTo>
                      <a:pt x="97" y="56"/>
                    </a:lnTo>
                    <a:lnTo>
                      <a:pt x="95" y="60"/>
                    </a:lnTo>
                    <a:lnTo>
                      <a:pt x="97" y="62"/>
                    </a:lnTo>
                    <a:lnTo>
                      <a:pt x="98" y="63"/>
                    </a:lnTo>
                    <a:lnTo>
                      <a:pt x="98" y="65"/>
                    </a:lnTo>
                    <a:lnTo>
                      <a:pt x="100" y="67"/>
                    </a:lnTo>
                    <a:lnTo>
                      <a:pt x="100" y="68"/>
                    </a:lnTo>
                    <a:lnTo>
                      <a:pt x="102" y="70"/>
                    </a:lnTo>
                    <a:lnTo>
                      <a:pt x="100" y="80"/>
                    </a:lnTo>
                    <a:lnTo>
                      <a:pt x="97" y="84"/>
                    </a:lnTo>
                    <a:lnTo>
                      <a:pt x="98" y="85"/>
                    </a:lnTo>
                    <a:lnTo>
                      <a:pt x="98" y="89"/>
                    </a:lnTo>
                    <a:lnTo>
                      <a:pt x="102" y="90"/>
                    </a:lnTo>
                    <a:lnTo>
                      <a:pt x="102" y="92"/>
                    </a:lnTo>
                    <a:lnTo>
                      <a:pt x="105" y="94"/>
                    </a:lnTo>
                    <a:lnTo>
                      <a:pt x="105" y="96"/>
                    </a:lnTo>
                    <a:lnTo>
                      <a:pt x="107" y="97"/>
                    </a:lnTo>
                    <a:lnTo>
                      <a:pt x="107" y="99"/>
                    </a:lnTo>
                    <a:lnTo>
                      <a:pt x="114" y="102"/>
                    </a:lnTo>
                    <a:lnTo>
                      <a:pt x="114" y="104"/>
                    </a:lnTo>
                    <a:lnTo>
                      <a:pt x="114" y="106"/>
                    </a:lnTo>
                    <a:lnTo>
                      <a:pt x="115" y="107"/>
                    </a:lnTo>
                    <a:lnTo>
                      <a:pt x="115" y="113"/>
                    </a:lnTo>
                    <a:close/>
                    <a:moveTo>
                      <a:pt x="105" y="136"/>
                    </a:moveTo>
                    <a:lnTo>
                      <a:pt x="104" y="138"/>
                    </a:lnTo>
                    <a:lnTo>
                      <a:pt x="102" y="138"/>
                    </a:lnTo>
                    <a:lnTo>
                      <a:pt x="104" y="135"/>
                    </a:lnTo>
                    <a:lnTo>
                      <a:pt x="105" y="136"/>
                    </a:lnTo>
                    <a:close/>
                    <a:moveTo>
                      <a:pt x="97" y="135"/>
                    </a:moveTo>
                    <a:lnTo>
                      <a:pt x="98" y="135"/>
                    </a:lnTo>
                    <a:lnTo>
                      <a:pt x="98" y="136"/>
                    </a:lnTo>
                    <a:lnTo>
                      <a:pt x="97" y="136"/>
                    </a:lnTo>
                    <a:lnTo>
                      <a:pt x="97" y="135"/>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algn="ctr" fontAlgn="base">
                  <a:spcBef>
                    <a:spcPct val="0"/>
                  </a:spcBef>
                  <a:spcAft>
                    <a:spcPct val="0"/>
                  </a:spcAft>
                  <a:buClrTx/>
                  <a:buFontTx/>
                  <a:buNone/>
                </a:pPr>
                <a:endParaRPr lang="en-US" sz="1000" b="1" kern="1200" dirty="0">
                  <a:latin typeface="Arial" charset="0"/>
                  <a:ea typeface="+mn-ea"/>
                  <a:cs typeface="+mn-cs"/>
                </a:endParaRPr>
              </a:p>
            </p:txBody>
          </p:sp>
          <p:sp>
            <p:nvSpPr>
              <p:cNvPr id="244" name="Freeform 40">
                <a:extLst>
                  <a:ext uri="{FF2B5EF4-FFF2-40B4-BE49-F238E27FC236}">
                    <a16:creationId xmlns:a16="http://schemas.microsoft.com/office/drawing/2014/main" id="{BA069C7F-ACC0-499C-856B-CAEE2DED3C82}"/>
                  </a:ext>
                </a:extLst>
              </p:cNvPr>
              <p:cNvSpPr>
                <a:spLocks/>
              </p:cNvSpPr>
              <p:nvPr/>
            </p:nvSpPr>
            <p:spPr bwMode="gray">
              <a:xfrm>
                <a:off x="3592513" y="1441450"/>
                <a:ext cx="1325562" cy="1193800"/>
              </a:xfrm>
              <a:custGeom>
                <a:avLst/>
                <a:gdLst>
                  <a:gd name="T0" fmla="*/ 815 w 835"/>
                  <a:gd name="T1" fmla="*/ 473 h 752"/>
                  <a:gd name="T2" fmla="*/ 687 w 835"/>
                  <a:gd name="T3" fmla="*/ 494 h 752"/>
                  <a:gd name="T4" fmla="*/ 607 w 835"/>
                  <a:gd name="T5" fmla="*/ 504 h 752"/>
                  <a:gd name="T6" fmla="*/ 519 w 835"/>
                  <a:gd name="T7" fmla="*/ 535 h 752"/>
                  <a:gd name="T8" fmla="*/ 475 w 835"/>
                  <a:gd name="T9" fmla="*/ 575 h 752"/>
                  <a:gd name="T10" fmla="*/ 456 w 835"/>
                  <a:gd name="T11" fmla="*/ 594 h 752"/>
                  <a:gd name="T12" fmla="*/ 427 w 835"/>
                  <a:gd name="T13" fmla="*/ 591 h 752"/>
                  <a:gd name="T14" fmla="*/ 415 w 835"/>
                  <a:gd name="T15" fmla="*/ 589 h 752"/>
                  <a:gd name="T16" fmla="*/ 403 w 835"/>
                  <a:gd name="T17" fmla="*/ 609 h 752"/>
                  <a:gd name="T18" fmla="*/ 395 w 835"/>
                  <a:gd name="T19" fmla="*/ 628 h 752"/>
                  <a:gd name="T20" fmla="*/ 390 w 835"/>
                  <a:gd name="T21" fmla="*/ 652 h 752"/>
                  <a:gd name="T22" fmla="*/ 352 w 835"/>
                  <a:gd name="T23" fmla="*/ 667 h 752"/>
                  <a:gd name="T24" fmla="*/ 352 w 835"/>
                  <a:gd name="T25" fmla="*/ 679 h 752"/>
                  <a:gd name="T26" fmla="*/ 342 w 835"/>
                  <a:gd name="T27" fmla="*/ 706 h 752"/>
                  <a:gd name="T28" fmla="*/ 335 w 835"/>
                  <a:gd name="T29" fmla="*/ 739 h 752"/>
                  <a:gd name="T30" fmla="*/ 306 w 835"/>
                  <a:gd name="T31" fmla="*/ 747 h 752"/>
                  <a:gd name="T32" fmla="*/ 305 w 835"/>
                  <a:gd name="T33" fmla="*/ 734 h 752"/>
                  <a:gd name="T34" fmla="*/ 300 w 835"/>
                  <a:gd name="T35" fmla="*/ 725 h 752"/>
                  <a:gd name="T36" fmla="*/ 283 w 835"/>
                  <a:gd name="T37" fmla="*/ 730 h 752"/>
                  <a:gd name="T38" fmla="*/ 267 w 835"/>
                  <a:gd name="T39" fmla="*/ 751 h 752"/>
                  <a:gd name="T40" fmla="*/ 242 w 835"/>
                  <a:gd name="T41" fmla="*/ 737 h 752"/>
                  <a:gd name="T42" fmla="*/ 226 w 835"/>
                  <a:gd name="T43" fmla="*/ 744 h 752"/>
                  <a:gd name="T44" fmla="*/ 218 w 835"/>
                  <a:gd name="T45" fmla="*/ 744 h 752"/>
                  <a:gd name="T46" fmla="*/ 198 w 835"/>
                  <a:gd name="T47" fmla="*/ 723 h 752"/>
                  <a:gd name="T48" fmla="*/ 184 w 835"/>
                  <a:gd name="T49" fmla="*/ 713 h 752"/>
                  <a:gd name="T50" fmla="*/ 194 w 835"/>
                  <a:gd name="T51" fmla="*/ 696 h 752"/>
                  <a:gd name="T52" fmla="*/ 186 w 835"/>
                  <a:gd name="T53" fmla="*/ 686 h 752"/>
                  <a:gd name="T54" fmla="*/ 175 w 835"/>
                  <a:gd name="T55" fmla="*/ 666 h 752"/>
                  <a:gd name="T56" fmla="*/ 165 w 835"/>
                  <a:gd name="T57" fmla="*/ 650 h 752"/>
                  <a:gd name="T58" fmla="*/ 148 w 835"/>
                  <a:gd name="T59" fmla="*/ 633 h 752"/>
                  <a:gd name="T60" fmla="*/ 147 w 835"/>
                  <a:gd name="T61" fmla="*/ 647 h 752"/>
                  <a:gd name="T62" fmla="*/ 123 w 835"/>
                  <a:gd name="T63" fmla="*/ 655 h 752"/>
                  <a:gd name="T64" fmla="*/ 101 w 835"/>
                  <a:gd name="T65" fmla="*/ 649 h 752"/>
                  <a:gd name="T66" fmla="*/ 87 w 835"/>
                  <a:gd name="T67" fmla="*/ 654 h 752"/>
                  <a:gd name="T68" fmla="*/ 73 w 835"/>
                  <a:gd name="T69" fmla="*/ 655 h 752"/>
                  <a:gd name="T70" fmla="*/ 56 w 835"/>
                  <a:gd name="T71" fmla="*/ 654 h 752"/>
                  <a:gd name="T72" fmla="*/ 38 w 835"/>
                  <a:gd name="T73" fmla="*/ 649 h 752"/>
                  <a:gd name="T74" fmla="*/ 45 w 835"/>
                  <a:gd name="T75" fmla="*/ 637 h 752"/>
                  <a:gd name="T76" fmla="*/ 43 w 835"/>
                  <a:gd name="T77" fmla="*/ 630 h 752"/>
                  <a:gd name="T78" fmla="*/ 43 w 835"/>
                  <a:gd name="T79" fmla="*/ 614 h 752"/>
                  <a:gd name="T80" fmla="*/ 39 w 835"/>
                  <a:gd name="T81" fmla="*/ 604 h 752"/>
                  <a:gd name="T82" fmla="*/ 28 w 835"/>
                  <a:gd name="T83" fmla="*/ 589 h 752"/>
                  <a:gd name="T84" fmla="*/ 9 w 835"/>
                  <a:gd name="T85" fmla="*/ 572 h 752"/>
                  <a:gd name="T86" fmla="*/ 7 w 835"/>
                  <a:gd name="T87" fmla="*/ 540 h 752"/>
                  <a:gd name="T88" fmla="*/ 5 w 835"/>
                  <a:gd name="T89" fmla="*/ 526 h 752"/>
                  <a:gd name="T90" fmla="*/ 11 w 835"/>
                  <a:gd name="T91" fmla="*/ 519 h 752"/>
                  <a:gd name="T92" fmla="*/ 22 w 835"/>
                  <a:gd name="T93" fmla="*/ 506 h 752"/>
                  <a:gd name="T94" fmla="*/ 28 w 835"/>
                  <a:gd name="T95" fmla="*/ 480 h 752"/>
                  <a:gd name="T96" fmla="*/ 45 w 835"/>
                  <a:gd name="T97" fmla="*/ 480 h 752"/>
                  <a:gd name="T98" fmla="*/ 70 w 835"/>
                  <a:gd name="T99" fmla="*/ 497 h 752"/>
                  <a:gd name="T100" fmla="*/ 87 w 835"/>
                  <a:gd name="T101" fmla="*/ 485 h 752"/>
                  <a:gd name="T102" fmla="*/ 130 w 835"/>
                  <a:gd name="T103" fmla="*/ 485 h 752"/>
                  <a:gd name="T104" fmla="*/ 233 w 835"/>
                  <a:gd name="T105" fmla="*/ 482 h 752"/>
                  <a:gd name="T106" fmla="*/ 488 w 835"/>
                  <a:gd name="T107" fmla="*/ 72 h 752"/>
                  <a:gd name="T108" fmla="*/ 701 w 835"/>
                  <a:gd name="T109" fmla="*/ 223 h 752"/>
                  <a:gd name="T110" fmla="*/ 723 w 835"/>
                  <a:gd name="T111" fmla="*/ 240 h 752"/>
                  <a:gd name="T112" fmla="*/ 740 w 835"/>
                  <a:gd name="T113" fmla="*/ 252 h 752"/>
                  <a:gd name="T114" fmla="*/ 764 w 835"/>
                  <a:gd name="T115" fmla="*/ 256 h 752"/>
                  <a:gd name="T116" fmla="*/ 786 w 835"/>
                  <a:gd name="T117" fmla="*/ 281 h 752"/>
                  <a:gd name="T118" fmla="*/ 793 w 835"/>
                  <a:gd name="T119" fmla="*/ 307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752">
                    <a:moveTo>
                      <a:pt x="833" y="298"/>
                    </a:moveTo>
                    <a:lnTo>
                      <a:pt x="835" y="322"/>
                    </a:lnTo>
                    <a:lnTo>
                      <a:pt x="835" y="356"/>
                    </a:lnTo>
                    <a:lnTo>
                      <a:pt x="835" y="407"/>
                    </a:lnTo>
                    <a:lnTo>
                      <a:pt x="825" y="410"/>
                    </a:lnTo>
                    <a:lnTo>
                      <a:pt x="825" y="439"/>
                    </a:lnTo>
                    <a:lnTo>
                      <a:pt x="821" y="455"/>
                    </a:lnTo>
                    <a:lnTo>
                      <a:pt x="821" y="458"/>
                    </a:lnTo>
                    <a:lnTo>
                      <a:pt x="818" y="461"/>
                    </a:lnTo>
                    <a:lnTo>
                      <a:pt x="816" y="470"/>
                    </a:lnTo>
                    <a:lnTo>
                      <a:pt x="815" y="473"/>
                    </a:lnTo>
                    <a:lnTo>
                      <a:pt x="808" y="475"/>
                    </a:lnTo>
                    <a:lnTo>
                      <a:pt x="803" y="482"/>
                    </a:lnTo>
                    <a:lnTo>
                      <a:pt x="799" y="484"/>
                    </a:lnTo>
                    <a:lnTo>
                      <a:pt x="799" y="490"/>
                    </a:lnTo>
                    <a:lnTo>
                      <a:pt x="798" y="490"/>
                    </a:lnTo>
                    <a:lnTo>
                      <a:pt x="774" y="490"/>
                    </a:lnTo>
                    <a:lnTo>
                      <a:pt x="757" y="489"/>
                    </a:lnTo>
                    <a:lnTo>
                      <a:pt x="750" y="489"/>
                    </a:lnTo>
                    <a:lnTo>
                      <a:pt x="714" y="492"/>
                    </a:lnTo>
                    <a:lnTo>
                      <a:pt x="702" y="492"/>
                    </a:lnTo>
                    <a:lnTo>
                      <a:pt x="687" y="494"/>
                    </a:lnTo>
                    <a:lnTo>
                      <a:pt x="685" y="494"/>
                    </a:lnTo>
                    <a:lnTo>
                      <a:pt x="668" y="509"/>
                    </a:lnTo>
                    <a:lnTo>
                      <a:pt x="658" y="509"/>
                    </a:lnTo>
                    <a:lnTo>
                      <a:pt x="655" y="511"/>
                    </a:lnTo>
                    <a:lnTo>
                      <a:pt x="646" y="509"/>
                    </a:lnTo>
                    <a:lnTo>
                      <a:pt x="646" y="507"/>
                    </a:lnTo>
                    <a:lnTo>
                      <a:pt x="640" y="509"/>
                    </a:lnTo>
                    <a:lnTo>
                      <a:pt x="631" y="507"/>
                    </a:lnTo>
                    <a:lnTo>
                      <a:pt x="628" y="509"/>
                    </a:lnTo>
                    <a:lnTo>
                      <a:pt x="623" y="509"/>
                    </a:lnTo>
                    <a:lnTo>
                      <a:pt x="607" y="504"/>
                    </a:lnTo>
                    <a:lnTo>
                      <a:pt x="600" y="507"/>
                    </a:lnTo>
                    <a:lnTo>
                      <a:pt x="597" y="504"/>
                    </a:lnTo>
                    <a:lnTo>
                      <a:pt x="583" y="504"/>
                    </a:lnTo>
                    <a:lnTo>
                      <a:pt x="570" y="514"/>
                    </a:lnTo>
                    <a:lnTo>
                      <a:pt x="570" y="516"/>
                    </a:lnTo>
                    <a:lnTo>
                      <a:pt x="566" y="519"/>
                    </a:lnTo>
                    <a:lnTo>
                      <a:pt x="553" y="521"/>
                    </a:lnTo>
                    <a:lnTo>
                      <a:pt x="536" y="533"/>
                    </a:lnTo>
                    <a:lnTo>
                      <a:pt x="531" y="535"/>
                    </a:lnTo>
                    <a:lnTo>
                      <a:pt x="524" y="533"/>
                    </a:lnTo>
                    <a:lnTo>
                      <a:pt x="519" y="535"/>
                    </a:lnTo>
                    <a:lnTo>
                      <a:pt x="519" y="548"/>
                    </a:lnTo>
                    <a:lnTo>
                      <a:pt x="514" y="552"/>
                    </a:lnTo>
                    <a:lnTo>
                      <a:pt x="504" y="545"/>
                    </a:lnTo>
                    <a:lnTo>
                      <a:pt x="495" y="543"/>
                    </a:lnTo>
                    <a:lnTo>
                      <a:pt x="485" y="552"/>
                    </a:lnTo>
                    <a:lnTo>
                      <a:pt x="476" y="555"/>
                    </a:lnTo>
                    <a:lnTo>
                      <a:pt x="475" y="558"/>
                    </a:lnTo>
                    <a:lnTo>
                      <a:pt x="476" y="558"/>
                    </a:lnTo>
                    <a:lnTo>
                      <a:pt x="473" y="567"/>
                    </a:lnTo>
                    <a:lnTo>
                      <a:pt x="473" y="572"/>
                    </a:lnTo>
                    <a:lnTo>
                      <a:pt x="475" y="575"/>
                    </a:lnTo>
                    <a:lnTo>
                      <a:pt x="471" y="577"/>
                    </a:lnTo>
                    <a:lnTo>
                      <a:pt x="470" y="575"/>
                    </a:lnTo>
                    <a:lnTo>
                      <a:pt x="468" y="575"/>
                    </a:lnTo>
                    <a:lnTo>
                      <a:pt x="466" y="577"/>
                    </a:lnTo>
                    <a:lnTo>
                      <a:pt x="464" y="575"/>
                    </a:lnTo>
                    <a:lnTo>
                      <a:pt x="463" y="574"/>
                    </a:lnTo>
                    <a:lnTo>
                      <a:pt x="456" y="575"/>
                    </a:lnTo>
                    <a:lnTo>
                      <a:pt x="456" y="574"/>
                    </a:lnTo>
                    <a:lnTo>
                      <a:pt x="456" y="579"/>
                    </a:lnTo>
                    <a:lnTo>
                      <a:pt x="454" y="580"/>
                    </a:lnTo>
                    <a:lnTo>
                      <a:pt x="456" y="594"/>
                    </a:lnTo>
                    <a:lnTo>
                      <a:pt x="446" y="594"/>
                    </a:lnTo>
                    <a:lnTo>
                      <a:pt x="446" y="596"/>
                    </a:lnTo>
                    <a:lnTo>
                      <a:pt x="446" y="599"/>
                    </a:lnTo>
                    <a:lnTo>
                      <a:pt x="446" y="601"/>
                    </a:lnTo>
                    <a:lnTo>
                      <a:pt x="441" y="601"/>
                    </a:lnTo>
                    <a:lnTo>
                      <a:pt x="441" y="599"/>
                    </a:lnTo>
                    <a:lnTo>
                      <a:pt x="437" y="597"/>
                    </a:lnTo>
                    <a:lnTo>
                      <a:pt x="434" y="596"/>
                    </a:lnTo>
                    <a:lnTo>
                      <a:pt x="430" y="594"/>
                    </a:lnTo>
                    <a:lnTo>
                      <a:pt x="430" y="592"/>
                    </a:lnTo>
                    <a:lnTo>
                      <a:pt x="427" y="591"/>
                    </a:lnTo>
                    <a:lnTo>
                      <a:pt x="425" y="591"/>
                    </a:lnTo>
                    <a:lnTo>
                      <a:pt x="422" y="589"/>
                    </a:lnTo>
                    <a:lnTo>
                      <a:pt x="419" y="589"/>
                    </a:lnTo>
                    <a:lnTo>
                      <a:pt x="422" y="586"/>
                    </a:lnTo>
                    <a:lnTo>
                      <a:pt x="420" y="586"/>
                    </a:lnTo>
                    <a:lnTo>
                      <a:pt x="420" y="584"/>
                    </a:lnTo>
                    <a:lnTo>
                      <a:pt x="419" y="584"/>
                    </a:lnTo>
                    <a:lnTo>
                      <a:pt x="419" y="586"/>
                    </a:lnTo>
                    <a:lnTo>
                      <a:pt x="419" y="587"/>
                    </a:lnTo>
                    <a:lnTo>
                      <a:pt x="417" y="587"/>
                    </a:lnTo>
                    <a:lnTo>
                      <a:pt x="415" y="589"/>
                    </a:lnTo>
                    <a:lnTo>
                      <a:pt x="413" y="589"/>
                    </a:lnTo>
                    <a:lnTo>
                      <a:pt x="412" y="589"/>
                    </a:lnTo>
                    <a:lnTo>
                      <a:pt x="412" y="592"/>
                    </a:lnTo>
                    <a:lnTo>
                      <a:pt x="410" y="594"/>
                    </a:lnTo>
                    <a:lnTo>
                      <a:pt x="405" y="597"/>
                    </a:lnTo>
                    <a:lnTo>
                      <a:pt x="407" y="599"/>
                    </a:lnTo>
                    <a:lnTo>
                      <a:pt x="403" y="599"/>
                    </a:lnTo>
                    <a:lnTo>
                      <a:pt x="400" y="601"/>
                    </a:lnTo>
                    <a:lnTo>
                      <a:pt x="400" y="603"/>
                    </a:lnTo>
                    <a:lnTo>
                      <a:pt x="403" y="608"/>
                    </a:lnTo>
                    <a:lnTo>
                      <a:pt x="403" y="609"/>
                    </a:lnTo>
                    <a:lnTo>
                      <a:pt x="407" y="611"/>
                    </a:lnTo>
                    <a:lnTo>
                      <a:pt x="407" y="616"/>
                    </a:lnTo>
                    <a:lnTo>
                      <a:pt x="407" y="618"/>
                    </a:lnTo>
                    <a:lnTo>
                      <a:pt x="405" y="623"/>
                    </a:lnTo>
                    <a:lnTo>
                      <a:pt x="403" y="623"/>
                    </a:lnTo>
                    <a:lnTo>
                      <a:pt x="402" y="623"/>
                    </a:lnTo>
                    <a:lnTo>
                      <a:pt x="400" y="621"/>
                    </a:lnTo>
                    <a:lnTo>
                      <a:pt x="396" y="623"/>
                    </a:lnTo>
                    <a:lnTo>
                      <a:pt x="393" y="623"/>
                    </a:lnTo>
                    <a:lnTo>
                      <a:pt x="393" y="626"/>
                    </a:lnTo>
                    <a:lnTo>
                      <a:pt x="395" y="628"/>
                    </a:lnTo>
                    <a:lnTo>
                      <a:pt x="396" y="628"/>
                    </a:lnTo>
                    <a:lnTo>
                      <a:pt x="396" y="632"/>
                    </a:lnTo>
                    <a:lnTo>
                      <a:pt x="398" y="633"/>
                    </a:lnTo>
                    <a:lnTo>
                      <a:pt x="396" y="635"/>
                    </a:lnTo>
                    <a:lnTo>
                      <a:pt x="395" y="638"/>
                    </a:lnTo>
                    <a:lnTo>
                      <a:pt x="396" y="643"/>
                    </a:lnTo>
                    <a:lnTo>
                      <a:pt x="395" y="643"/>
                    </a:lnTo>
                    <a:lnTo>
                      <a:pt x="393" y="643"/>
                    </a:lnTo>
                    <a:lnTo>
                      <a:pt x="393" y="645"/>
                    </a:lnTo>
                    <a:lnTo>
                      <a:pt x="388" y="649"/>
                    </a:lnTo>
                    <a:lnTo>
                      <a:pt x="390" y="652"/>
                    </a:lnTo>
                    <a:lnTo>
                      <a:pt x="386" y="652"/>
                    </a:lnTo>
                    <a:lnTo>
                      <a:pt x="386" y="654"/>
                    </a:lnTo>
                    <a:lnTo>
                      <a:pt x="385" y="657"/>
                    </a:lnTo>
                    <a:lnTo>
                      <a:pt x="381" y="657"/>
                    </a:lnTo>
                    <a:lnTo>
                      <a:pt x="379" y="659"/>
                    </a:lnTo>
                    <a:lnTo>
                      <a:pt x="374" y="659"/>
                    </a:lnTo>
                    <a:lnTo>
                      <a:pt x="373" y="659"/>
                    </a:lnTo>
                    <a:lnTo>
                      <a:pt x="362" y="660"/>
                    </a:lnTo>
                    <a:lnTo>
                      <a:pt x="357" y="664"/>
                    </a:lnTo>
                    <a:lnTo>
                      <a:pt x="354" y="667"/>
                    </a:lnTo>
                    <a:lnTo>
                      <a:pt x="352" y="667"/>
                    </a:lnTo>
                    <a:lnTo>
                      <a:pt x="351" y="667"/>
                    </a:lnTo>
                    <a:lnTo>
                      <a:pt x="349" y="669"/>
                    </a:lnTo>
                    <a:lnTo>
                      <a:pt x="347" y="667"/>
                    </a:lnTo>
                    <a:lnTo>
                      <a:pt x="345" y="669"/>
                    </a:lnTo>
                    <a:lnTo>
                      <a:pt x="349" y="671"/>
                    </a:lnTo>
                    <a:lnTo>
                      <a:pt x="349" y="669"/>
                    </a:lnTo>
                    <a:lnTo>
                      <a:pt x="351" y="669"/>
                    </a:lnTo>
                    <a:lnTo>
                      <a:pt x="352" y="672"/>
                    </a:lnTo>
                    <a:lnTo>
                      <a:pt x="354" y="671"/>
                    </a:lnTo>
                    <a:lnTo>
                      <a:pt x="352" y="676"/>
                    </a:lnTo>
                    <a:lnTo>
                      <a:pt x="352" y="679"/>
                    </a:lnTo>
                    <a:lnTo>
                      <a:pt x="354" y="679"/>
                    </a:lnTo>
                    <a:lnTo>
                      <a:pt x="356" y="681"/>
                    </a:lnTo>
                    <a:lnTo>
                      <a:pt x="356" y="683"/>
                    </a:lnTo>
                    <a:lnTo>
                      <a:pt x="356" y="686"/>
                    </a:lnTo>
                    <a:lnTo>
                      <a:pt x="357" y="688"/>
                    </a:lnTo>
                    <a:lnTo>
                      <a:pt x="354" y="691"/>
                    </a:lnTo>
                    <a:lnTo>
                      <a:pt x="354" y="698"/>
                    </a:lnTo>
                    <a:lnTo>
                      <a:pt x="351" y="700"/>
                    </a:lnTo>
                    <a:lnTo>
                      <a:pt x="351" y="703"/>
                    </a:lnTo>
                    <a:lnTo>
                      <a:pt x="347" y="705"/>
                    </a:lnTo>
                    <a:lnTo>
                      <a:pt x="342" y="706"/>
                    </a:lnTo>
                    <a:lnTo>
                      <a:pt x="342" y="711"/>
                    </a:lnTo>
                    <a:lnTo>
                      <a:pt x="344" y="715"/>
                    </a:lnTo>
                    <a:lnTo>
                      <a:pt x="345" y="718"/>
                    </a:lnTo>
                    <a:lnTo>
                      <a:pt x="344" y="722"/>
                    </a:lnTo>
                    <a:lnTo>
                      <a:pt x="342" y="722"/>
                    </a:lnTo>
                    <a:lnTo>
                      <a:pt x="342" y="728"/>
                    </a:lnTo>
                    <a:lnTo>
                      <a:pt x="344" y="730"/>
                    </a:lnTo>
                    <a:lnTo>
                      <a:pt x="344" y="732"/>
                    </a:lnTo>
                    <a:lnTo>
                      <a:pt x="340" y="739"/>
                    </a:lnTo>
                    <a:lnTo>
                      <a:pt x="339" y="737"/>
                    </a:lnTo>
                    <a:lnTo>
                      <a:pt x="335" y="739"/>
                    </a:lnTo>
                    <a:lnTo>
                      <a:pt x="332" y="737"/>
                    </a:lnTo>
                    <a:lnTo>
                      <a:pt x="328" y="739"/>
                    </a:lnTo>
                    <a:lnTo>
                      <a:pt x="323" y="742"/>
                    </a:lnTo>
                    <a:lnTo>
                      <a:pt x="322" y="742"/>
                    </a:lnTo>
                    <a:lnTo>
                      <a:pt x="320" y="747"/>
                    </a:lnTo>
                    <a:lnTo>
                      <a:pt x="317" y="747"/>
                    </a:lnTo>
                    <a:lnTo>
                      <a:pt x="317" y="749"/>
                    </a:lnTo>
                    <a:lnTo>
                      <a:pt x="315" y="751"/>
                    </a:lnTo>
                    <a:lnTo>
                      <a:pt x="310" y="751"/>
                    </a:lnTo>
                    <a:lnTo>
                      <a:pt x="306" y="749"/>
                    </a:lnTo>
                    <a:lnTo>
                      <a:pt x="306" y="747"/>
                    </a:lnTo>
                    <a:lnTo>
                      <a:pt x="305" y="747"/>
                    </a:lnTo>
                    <a:lnTo>
                      <a:pt x="305" y="745"/>
                    </a:lnTo>
                    <a:lnTo>
                      <a:pt x="306" y="745"/>
                    </a:lnTo>
                    <a:lnTo>
                      <a:pt x="306" y="744"/>
                    </a:lnTo>
                    <a:lnTo>
                      <a:pt x="308" y="742"/>
                    </a:lnTo>
                    <a:lnTo>
                      <a:pt x="306" y="740"/>
                    </a:lnTo>
                    <a:lnTo>
                      <a:pt x="308" y="740"/>
                    </a:lnTo>
                    <a:lnTo>
                      <a:pt x="306" y="737"/>
                    </a:lnTo>
                    <a:lnTo>
                      <a:pt x="308" y="737"/>
                    </a:lnTo>
                    <a:lnTo>
                      <a:pt x="306" y="735"/>
                    </a:lnTo>
                    <a:lnTo>
                      <a:pt x="305" y="734"/>
                    </a:lnTo>
                    <a:lnTo>
                      <a:pt x="305" y="735"/>
                    </a:lnTo>
                    <a:lnTo>
                      <a:pt x="303" y="734"/>
                    </a:lnTo>
                    <a:lnTo>
                      <a:pt x="306" y="732"/>
                    </a:lnTo>
                    <a:lnTo>
                      <a:pt x="306" y="730"/>
                    </a:lnTo>
                    <a:lnTo>
                      <a:pt x="305" y="730"/>
                    </a:lnTo>
                    <a:lnTo>
                      <a:pt x="306" y="728"/>
                    </a:lnTo>
                    <a:lnTo>
                      <a:pt x="305" y="727"/>
                    </a:lnTo>
                    <a:lnTo>
                      <a:pt x="305" y="725"/>
                    </a:lnTo>
                    <a:lnTo>
                      <a:pt x="305" y="723"/>
                    </a:lnTo>
                    <a:lnTo>
                      <a:pt x="303" y="723"/>
                    </a:lnTo>
                    <a:lnTo>
                      <a:pt x="300" y="725"/>
                    </a:lnTo>
                    <a:lnTo>
                      <a:pt x="296" y="725"/>
                    </a:lnTo>
                    <a:lnTo>
                      <a:pt x="294" y="725"/>
                    </a:lnTo>
                    <a:lnTo>
                      <a:pt x="294" y="730"/>
                    </a:lnTo>
                    <a:lnTo>
                      <a:pt x="296" y="730"/>
                    </a:lnTo>
                    <a:lnTo>
                      <a:pt x="293" y="732"/>
                    </a:lnTo>
                    <a:lnTo>
                      <a:pt x="289" y="730"/>
                    </a:lnTo>
                    <a:lnTo>
                      <a:pt x="288" y="730"/>
                    </a:lnTo>
                    <a:lnTo>
                      <a:pt x="286" y="728"/>
                    </a:lnTo>
                    <a:lnTo>
                      <a:pt x="284" y="727"/>
                    </a:lnTo>
                    <a:lnTo>
                      <a:pt x="283" y="728"/>
                    </a:lnTo>
                    <a:lnTo>
                      <a:pt x="283" y="730"/>
                    </a:lnTo>
                    <a:lnTo>
                      <a:pt x="283" y="734"/>
                    </a:lnTo>
                    <a:lnTo>
                      <a:pt x="281" y="734"/>
                    </a:lnTo>
                    <a:lnTo>
                      <a:pt x="283" y="737"/>
                    </a:lnTo>
                    <a:lnTo>
                      <a:pt x="284" y="739"/>
                    </a:lnTo>
                    <a:lnTo>
                      <a:pt x="284" y="740"/>
                    </a:lnTo>
                    <a:lnTo>
                      <a:pt x="281" y="742"/>
                    </a:lnTo>
                    <a:lnTo>
                      <a:pt x="277" y="740"/>
                    </a:lnTo>
                    <a:lnTo>
                      <a:pt x="272" y="742"/>
                    </a:lnTo>
                    <a:lnTo>
                      <a:pt x="267" y="742"/>
                    </a:lnTo>
                    <a:lnTo>
                      <a:pt x="266" y="745"/>
                    </a:lnTo>
                    <a:lnTo>
                      <a:pt x="267" y="751"/>
                    </a:lnTo>
                    <a:lnTo>
                      <a:pt x="264" y="752"/>
                    </a:lnTo>
                    <a:lnTo>
                      <a:pt x="262" y="752"/>
                    </a:lnTo>
                    <a:lnTo>
                      <a:pt x="260" y="749"/>
                    </a:lnTo>
                    <a:lnTo>
                      <a:pt x="257" y="747"/>
                    </a:lnTo>
                    <a:lnTo>
                      <a:pt x="252" y="747"/>
                    </a:lnTo>
                    <a:lnTo>
                      <a:pt x="250" y="745"/>
                    </a:lnTo>
                    <a:lnTo>
                      <a:pt x="249" y="747"/>
                    </a:lnTo>
                    <a:lnTo>
                      <a:pt x="247" y="747"/>
                    </a:lnTo>
                    <a:lnTo>
                      <a:pt x="247" y="742"/>
                    </a:lnTo>
                    <a:lnTo>
                      <a:pt x="243" y="740"/>
                    </a:lnTo>
                    <a:lnTo>
                      <a:pt x="242" y="737"/>
                    </a:lnTo>
                    <a:lnTo>
                      <a:pt x="240" y="737"/>
                    </a:lnTo>
                    <a:lnTo>
                      <a:pt x="238" y="737"/>
                    </a:lnTo>
                    <a:lnTo>
                      <a:pt x="237" y="739"/>
                    </a:lnTo>
                    <a:lnTo>
                      <a:pt x="235" y="739"/>
                    </a:lnTo>
                    <a:lnTo>
                      <a:pt x="233" y="737"/>
                    </a:lnTo>
                    <a:lnTo>
                      <a:pt x="232" y="739"/>
                    </a:lnTo>
                    <a:lnTo>
                      <a:pt x="228" y="740"/>
                    </a:lnTo>
                    <a:lnTo>
                      <a:pt x="230" y="740"/>
                    </a:lnTo>
                    <a:lnTo>
                      <a:pt x="228" y="742"/>
                    </a:lnTo>
                    <a:lnTo>
                      <a:pt x="228" y="744"/>
                    </a:lnTo>
                    <a:lnTo>
                      <a:pt x="226" y="744"/>
                    </a:lnTo>
                    <a:lnTo>
                      <a:pt x="228" y="744"/>
                    </a:lnTo>
                    <a:lnTo>
                      <a:pt x="226" y="745"/>
                    </a:lnTo>
                    <a:lnTo>
                      <a:pt x="228" y="745"/>
                    </a:lnTo>
                    <a:lnTo>
                      <a:pt x="225" y="747"/>
                    </a:lnTo>
                    <a:lnTo>
                      <a:pt x="225" y="749"/>
                    </a:lnTo>
                    <a:lnTo>
                      <a:pt x="221" y="751"/>
                    </a:lnTo>
                    <a:lnTo>
                      <a:pt x="220" y="751"/>
                    </a:lnTo>
                    <a:lnTo>
                      <a:pt x="218" y="752"/>
                    </a:lnTo>
                    <a:lnTo>
                      <a:pt x="216" y="752"/>
                    </a:lnTo>
                    <a:lnTo>
                      <a:pt x="218" y="749"/>
                    </a:lnTo>
                    <a:lnTo>
                      <a:pt x="218" y="744"/>
                    </a:lnTo>
                    <a:lnTo>
                      <a:pt x="215" y="742"/>
                    </a:lnTo>
                    <a:lnTo>
                      <a:pt x="209" y="742"/>
                    </a:lnTo>
                    <a:lnTo>
                      <a:pt x="209" y="739"/>
                    </a:lnTo>
                    <a:lnTo>
                      <a:pt x="206" y="740"/>
                    </a:lnTo>
                    <a:lnTo>
                      <a:pt x="203" y="739"/>
                    </a:lnTo>
                    <a:lnTo>
                      <a:pt x="201" y="734"/>
                    </a:lnTo>
                    <a:lnTo>
                      <a:pt x="201" y="732"/>
                    </a:lnTo>
                    <a:lnTo>
                      <a:pt x="201" y="730"/>
                    </a:lnTo>
                    <a:lnTo>
                      <a:pt x="199" y="725"/>
                    </a:lnTo>
                    <a:lnTo>
                      <a:pt x="199" y="722"/>
                    </a:lnTo>
                    <a:lnTo>
                      <a:pt x="198" y="723"/>
                    </a:lnTo>
                    <a:lnTo>
                      <a:pt x="198" y="722"/>
                    </a:lnTo>
                    <a:lnTo>
                      <a:pt x="199" y="718"/>
                    </a:lnTo>
                    <a:lnTo>
                      <a:pt x="201" y="718"/>
                    </a:lnTo>
                    <a:lnTo>
                      <a:pt x="201" y="717"/>
                    </a:lnTo>
                    <a:lnTo>
                      <a:pt x="199" y="710"/>
                    </a:lnTo>
                    <a:lnTo>
                      <a:pt x="198" y="706"/>
                    </a:lnTo>
                    <a:lnTo>
                      <a:pt x="196" y="706"/>
                    </a:lnTo>
                    <a:lnTo>
                      <a:pt x="194" y="706"/>
                    </a:lnTo>
                    <a:lnTo>
                      <a:pt x="191" y="706"/>
                    </a:lnTo>
                    <a:lnTo>
                      <a:pt x="189" y="711"/>
                    </a:lnTo>
                    <a:lnTo>
                      <a:pt x="184" y="713"/>
                    </a:lnTo>
                    <a:lnTo>
                      <a:pt x="184" y="711"/>
                    </a:lnTo>
                    <a:lnTo>
                      <a:pt x="181" y="713"/>
                    </a:lnTo>
                    <a:lnTo>
                      <a:pt x="181" y="711"/>
                    </a:lnTo>
                    <a:lnTo>
                      <a:pt x="181" y="710"/>
                    </a:lnTo>
                    <a:lnTo>
                      <a:pt x="184" y="705"/>
                    </a:lnTo>
                    <a:lnTo>
                      <a:pt x="184" y="703"/>
                    </a:lnTo>
                    <a:lnTo>
                      <a:pt x="186" y="703"/>
                    </a:lnTo>
                    <a:lnTo>
                      <a:pt x="187" y="700"/>
                    </a:lnTo>
                    <a:lnTo>
                      <a:pt x="191" y="698"/>
                    </a:lnTo>
                    <a:lnTo>
                      <a:pt x="191" y="696"/>
                    </a:lnTo>
                    <a:lnTo>
                      <a:pt x="194" y="696"/>
                    </a:lnTo>
                    <a:lnTo>
                      <a:pt x="196" y="696"/>
                    </a:lnTo>
                    <a:lnTo>
                      <a:pt x="198" y="693"/>
                    </a:lnTo>
                    <a:lnTo>
                      <a:pt x="194" y="693"/>
                    </a:lnTo>
                    <a:lnTo>
                      <a:pt x="194" y="691"/>
                    </a:lnTo>
                    <a:lnTo>
                      <a:pt x="196" y="691"/>
                    </a:lnTo>
                    <a:lnTo>
                      <a:pt x="192" y="689"/>
                    </a:lnTo>
                    <a:lnTo>
                      <a:pt x="191" y="688"/>
                    </a:lnTo>
                    <a:lnTo>
                      <a:pt x="191" y="689"/>
                    </a:lnTo>
                    <a:lnTo>
                      <a:pt x="189" y="689"/>
                    </a:lnTo>
                    <a:lnTo>
                      <a:pt x="187" y="686"/>
                    </a:lnTo>
                    <a:lnTo>
                      <a:pt x="186" y="686"/>
                    </a:lnTo>
                    <a:lnTo>
                      <a:pt x="184" y="686"/>
                    </a:lnTo>
                    <a:lnTo>
                      <a:pt x="182" y="684"/>
                    </a:lnTo>
                    <a:lnTo>
                      <a:pt x="182" y="683"/>
                    </a:lnTo>
                    <a:lnTo>
                      <a:pt x="179" y="677"/>
                    </a:lnTo>
                    <a:lnTo>
                      <a:pt x="177" y="679"/>
                    </a:lnTo>
                    <a:lnTo>
                      <a:pt x="175" y="677"/>
                    </a:lnTo>
                    <a:lnTo>
                      <a:pt x="175" y="679"/>
                    </a:lnTo>
                    <a:lnTo>
                      <a:pt x="172" y="677"/>
                    </a:lnTo>
                    <a:lnTo>
                      <a:pt x="174" y="671"/>
                    </a:lnTo>
                    <a:lnTo>
                      <a:pt x="172" y="669"/>
                    </a:lnTo>
                    <a:lnTo>
                      <a:pt x="175" y="666"/>
                    </a:lnTo>
                    <a:lnTo>
                      <a:pt x="174" y="660"/>
                    </a:lnTo>
                    <a:lnTo>
                      <a:pt x="174" y="659"/>
                    </a:lnTo>
                    <a:lnTo>
                      <a:pt x="172" y="657"/>
                    </a:lnTo>
                    <a:lnTo>
                      <a:pt x="170" y="659"/>
                    </a:lnTo>
                    <a:lnTo>
                      <a:pt x="170" y="657"/>
                    </a:lnTo>
                    <a:lnTo>
                      <a:pt x="169" y="657"/>
                    </a:lnTo>
                    <a:lnTo>
                      <a:pt x="169" y="655"/>
                    </a:lnTo>
                    <a:lnTo>
                      <a:pt x="169" y="654"/>
                    </a:lnTo>
                    <a:lnTo>
                      <a:pt x="170" y="652"/>
                    </a:lnTo>
                    <a:lnTo>
                      <a:pt x="169" y="649"/>
                    </a:lnTo>
                    <a:lnTo>
                      <a:pt x="165" y="650"/>
                    </a:lnTo>
                    <a:lnTo>
                      <a:pt x="165" y="649"/>
                    </a:lnTo>
                    <a:lnTo>
                      <a:pt x="165" y="647"/>
                    </a:lnTo>
                    <a:lnTo>
                      <a:pt x="167" y="643"/>
                    </a:lnTo>
                    <a:lnTo>
                      <a:pt x="167" y="642"/>
                    </a:lnTo>
                    <a:lnTo>
                      <a:pt x="164" y="640"/>
                    </a:lnTo>
                    <a:lnTo>
                      <a:pt x="164" y="638"/>
                    </a:lnTo>
                    <a:lnTo>
                      <a:pt x="160" y="637"/>
                    </a:lnTo>
                    <a:lnTo>
                      <a:pt x="157" y="635"/>
                    </a:lnTo>
                    <a:lnTo>
                      <a:pt x="152" y="633"/>
                    </a:lnTo>
                    <a:lnTo>
                      <a:pt x="150" y="635"/>
                    </a:lnTo>
                    <a:lnTo>
                      <a:pt x="148" y="633"/>
                    </a:lnTo>
                    <a:lnTo>
                      <a:pt x="147" y="635"/>
                    </a:lnTo>
                    <a:lnTo>
                      <a:pt x="145" y="635"/>
                    </a:lnTo>
                    <a:lnTo>
                      <a:pt x="143" y="637"/>
                    </a:lnTo>
                    <a:lnTo>
                      <a:pt x="145" y="637"/>
                    </a:lnTo>
                    <a:lnTo>
                      <a:pt x="145" y="638"/>
                    </a:lnTo>
                    <a:lnTo>
                      <a:pt x="147" y="638"/>
                    </a:lnTo>
                    <a:lnTo>
                      <a:pt x="147" y="640"/>
                    </a:lnTo>
                    <a:lnTo>
                      <a:pt x="148" y="642"/>
                    </a:lnTo>
                    <a:lnTo>
                      <a:pt x="148" y="643"/>
                    </a:lnTo>
                    <a:lnTo>
                      <a:pt x="148" y="645"/>
                    </a:lnTo>
                    <a:lnTo>
                      <a:pt x="147" y="647"/>
                    </a:lnTo>
                    <a:lnTo>
                      <a:pt x="143" y="647"/>
                    </a:lnTo>
                    <a:lnTo>
                      <a:pt x="140" y="647"/>
                    </a:lnTo>
                    <a:lnTo>
                      <a:pt x="136" y="650"/>
                    </a:lnTo>
                    <a:lnTo>
                      <a:pt x="135" y="650"/>
                    </a:lnTo>
                    <a:lnTo>
                      <a:pt x="131" y="650"/>
                    </a:lnTo>
                    <a:lnTo>
                      <a:pt x="130" y="654"/>
                    </a:lnTo>
                    <a:lnTo>
                      <a:pt x="130" y="655"/>
                    </a:lnTo>
                    <a:lnTo>
                      <a:pt x="130" y="657"/>
                    </a:lnTo>
                    <a:lnTo>
                      <a:pt x="128" y="659"/>
                    </a:lnTo>
                    <a:lnTo>
                      <a:pt x="124" y="657"/>
                    </a:lnTo>
                    <a:lnTo>
                      <a:pt x="123" y="655"/>
                    </a:lnTo>
                    <a:lnTo>
                      <a:pt x="119" y="657"/>
                    </a:lnTo>
                    <a:lnTo>
                      <a:pt x="118" y="654"/>
                    </a:lnTo>
                    <a:lnTo>
                      <a:pt x="114" y="654"/>
                    </a:lnTo>
                    <a:lnTo>
                      <a:pt x="113" y="654"/>
                    </a:lnTo>
                    <a:lnTo>
                      <a:pt x="111" y="652"/>
                    </a:lnTo>
                    <a:lnTo>
                      <a:pt x="109" y="652"/>
                    </a:lnTo>
                    <a:lnTo>
                      <a:pt x="109" y="650"/>
                    </a:lnTo>
                    <a:lnTo>
                      <a:pt x="107" y="650"/>
                    </a:lnTo>
                    <a:lnTo>
                      <a:pt x="106" y="650"/>
                    </a:lnTo>
                    <a:lnTo>
                      <a:pt x="104" y="649"/>
                    </a:lnTo>
                    <a:lnTo>
                      <a:pt x="101" y="649"/>
                    </a:lnTo>
                    <a:lnTo>
                      <a:pt x="99" y="649"/>
                    </a:lnTo>
                    <a:lnTo>
                      <a:pt x="99" y="650"/>
                    </a:lnTo>
                    <a:lnTo>
                      <a:pt x="97" y="649"/>
                    </a:lnTo>
                    <a:lnTo>
                      <a:pt x="96" y="649"/>
                    </a:lnTo>
                    <a:lnTo>
                      <a:pt x="97" y="650"/>
                    </a:lnTo>
                    <a:lnTo>
                      <a:pt x="96" y="650"/>
                    </a:lnTo>
                    <a:lnTo>
                      <a:pt x="94" y="650"/>
                    </a:lnTo>
                    <a:lnTo>
                      <a:pt x="92" y="650"/>
                    </a:lnTo>
                    <a:lnTo>
                      <a:pt x="92" y="652"/>
                    </a:lnTo>
                    <a:lnTo>
                      <a:pt x="90" y="654"/>
                    </a:lnTo>
                    <a:lnTo>
                      <a:pt x="87" y="654"/>
                    </a:lnTo>
                    <a:lnTo>
                      <a:pt x="87" y="655"/>
                    </a:lnTo>
                    <a:lnTo>
                      <a:pt x="87" y="657"/>
                    </a:lnTo>
                    <a:lnTo>
                      <a:pt x="84" y="659"/>
                    </a:lnTo>
                    <a:lnTo>
                      <a:pt x="85" y="660"/>
                    </a:lnTo>
                    <a:lnTo>
                      <a:pt x="82" y="660"/>
                    </a:lnTo>
                    <a:lnTo>
                      <a:pt x="82" y="664"/>
                    </a:lnTo>
                    <a:lnTo>
                      <a:pt x="79" y="666"/>
                    </a:lnTo>
                    <a:lnTo>
                      <a:pt x="75" y="662"/>
                    </a:lnTo>
                    <a:lnTo>
                      <a:pt x="75" y="660"/>
                    </a:lnTo>
                    <a:lnTo>
                      <a:pt x="73" y="657"/>
                    </a:lnTo>
                    <a:lnTo>
                      <a:pt x="73" y="655"/>
                    </a:lnTo>
                    <a:lnTo>
                      <a:pt x="73" y="654"/>
                    </a:lnTo>
                    <a:lnTo>
                      <a:pt x="70" y="652"/>
                    </a:lnTo>
                    <a:lnTo>
                      <a:pt x="68" y="649"/>
                    </a:lnTo>
                    <a:lnTo>
                      <a:pt x="67" y="649"/>
                    </a:lnTo>
                    <a:lnTo>
                      <a:pt x="63" y="649"/>
                    </a:lnTo>
                    <a:lnTo>
                      <a:pt x="60" y="649"/>
                    </a:lnTo>
                    <a:lnTo>
                      <a:pt x="60" y="650"/>
                    </a:lnTo>
                    <a:lnTo>
                      <a:pt x="60" y="652"/>
                    </a:lnTo>
                    <a:lnTo>
                      <a:pt x="58" y="654"/>
                    </a:lnTo>
                    <a:lnTo>
                      <a:pt x="56" y="655"/>
                    </a:lnTo>
                    <a:lnTo>
                      <a:pt x="56" y="654"/>
                    </a:lnTo>
                    <a:lnTo>
                      <a:pt x="56" y="657"/>
                    </a:lnTo>
                    <a:lnTo>
                      <a:pt x="53" y="659"/>
                    </a:lnTo>
                    <a:lnTo>
                      <a:pt x="51" y="659"/>
                    </a:lnTo>
                    <a:lnTo>
                      <a:pt x="51" y="660"/>
                    </a:lnTo>
                    <a:lnTo>
                      <a:pt x="50" y="660"/>
                    </a:lnTo>
                    <a:lnTo>
                      <a:pt x="48" y="659"/>
                    </a:lnTo>
                    <a:lnTo>
                      <a:pt x="45" y="657"/>
                    </a:lnTo>
                    <a:lnTo>
                      <a:pt x="45" y="654"/>
                    </a:lnTo>
                    <a:lnTo>
                      <a:pt x="39" y="652"/>
                    </a:lnTo>
                    <a:lnTo>
                      <a:pt x="38" y="650"/>
                    </a:lnTo>
                    <a:lnTo>
                      <a:pt x="38" y="649"/>
                    </a:lnTo>
                    <a:lnTo>
                      <a:pt x="39" y="647"/>
                    </a:lnTo>
                    <a:lnTo>
                      <a:pt x="39" y="645"/>
                    </a:lnTo>
                    <a:lnTo>
                      <a:pt x="41" y="645"/>
                    </a:lnTo>
                    <a:lnTo>
                      <a:pt x="41" y="642"/>
                    </a:lnTo>
                    <a:lnTo>
                      <a:pt x="39" y="642"/>
                    </a:lnTo>
                    <a:lnTo>
                      <a:pt x="41" y="642"/>
                    </a:lnTo>
                    <a:lnTo>
                      <a:pt x="41" y="640"/>
                    </a:lnTo>
                    <a:lnTo>
                      <a:pt x="43" y="640"/>
                    </a:lnTo>
                    <a:lnTo>
                      <a:pt x="45" y="640"/>
                    </a:lnTo>
                    <a:lnTo>
                      <a:pt x="45" y="638"/>
                    </a:lnTo>
                    <a:lnTo>
                      <a:pt x="45" y="637"/>
                    </a:lnTo>
                    <a:lnTo>
                      <a:pt x="45" y="635"/>
                    </a:lnTo>
                    <a:lnTo>
                      <a:pt x="45" y="633"/>
                    </a:lnTo>
                    <a:lnTo>
                      <a:pt x="45" y="635"/>
                    </a:lnTo>
                    <a:lnTo>
                      <a:pt x="43" y="635"/>
                    </a:lnTo>
                    <a:lnTo>
                      <a:pt x="43" y="632"/>
                    </a:lnTo>
                    <a:lnTo>
                      <a:pt x="43" y="633"/>
                    </a:lnTo>
                    <a:lnTo>
                      <a:pt x="41" y="633"/>
                    </a:lnTo>
                    <a:lnTo>
                      <a:pt x="41" y="632"/>
                    </a:lnTo>
                    <a:lnTo>
                      <a:pt x="39" y="632"/>
                    </a:lnTo>
                    <a:lnTo>
                      <a:pt x="41" y="632"/>
                    </a:lnTo>
                    <a:lnTo>
                      <a:pt x="43" y="630"/>
                    </a:lnTo>
                    <a:lnTo>
                      <a:pt x="41" y="628"/>
                    </a:lnTo>
                    <a:lnTo>
                      <a:pt x="43" y="628"/>
                    </a:lnTo>
                    <a:lnTo>
                      <a:pt x="41" y="626"/>
                    </a:lnTo>
                    <a:lnTo>
                      <a:pt x="39" y="625"/>
                    </a:lnTo>
                    <a:lnTo>
                      <a:pt x="41" y="625"/>
                    </a:lnTo>
                    <a:lnTo>
                      <a:pt x="41" y="623"/>
                    </a:lnTo>
                    <a:lnTo>
                      <a:pt x="45" y="623"/>
                    </a:lnTo>
                    <a:lnTo>
                      <a:pt x="43" y="620"/>
                    </a:lnTo>
                    <a:lnTo>
                      <a:pt x="43" y="618"/>
                    </a:lnTo>
                    <a:lnTo>
                      <a:pt x="43" y="616"/>
                    </a:lnTo>
                    <a:lnTo>
                      <a:pt x="43" y="614"/>
                    </a:lnTo>
                    <a:lnTo>
                      <a:pt x="43" y="613"/>
                    </a:lnTo>
                    <a:lnTo>
                      <a:pt x="45" y="611"/>
                    </a:lnTo>
                    <a:lnTo>
                      <a:pt x="45" y="609"/>
                    </a:lnTo>
                    <a:lnTo>
                      <a:pt x="43" y="609"/>
                    </a:lnTo>
                    <a:lnTo>
                      <a:pt x="43" y="611"/>
                    </a:lnTo>
                    <a:lnTo>
                      <a:pt x="41" y="611"/>
                    </a:lnTo>
                    <a:lnTo>
                      <a:pt x="41" y="609"/>
                    </a:lnTo>
                    <a:lnTo>
                      <a:pt x="43" y="608"/>
                    </a:lnTo>
                    <a:lnTo>
                      <a:pt x="41" y="606"/>
                    </a:lnTo>
                    <a:lnTo>
                      <a:pt x="41" y="604"/>
                    </a:lnTo>
                    <a:lnTo>
                      <a:pt x="39" y="604"/>
                    </a:lnTo>
                    <a:lnTo>
                      <a:pt x="36" y="601"/>
                    </a:lnTo>
                    <a:lnTo>
                      <a:pt x="38" y="599"/>
                    </a:lnTo>
                    <a:lnTo>
                      <a:pt x="36" y="599"/>
                    </a:lnTo>
                    <a:lnTo>
                      <a:pt x="36" y="597"/>
                    </a:lnTo>
                    <a:lnTo>
                      <a:pt x="36" y="596"/>
                    </a:lnTo>
                    <a:lnTo>
                      <a:pt x="34" y="594"/>
                    </a:lnTo>
                    <a:lnTo>
                      <a:pt x="33" y="592"/>
                    </a:lnTo>
                    <a:lnTo>
                      <a:pt x="33" y="591"/>
                    </a:lnTo>
                    <a:lnTo>
                      <a:pt x="31" y="591"/>
                    </a:lnTo>
                    <a:lnTo>
                      <a:pt x="31" y="589"/>
                    </a:lnTo>
                    <a:lnTo>
                      <a:pt x="28" y="589"/>
                    </a:lnTo>
                    <a:lnTo>
                      <a:pt x="28" y="587"/>
                    </a:lnTo>
                    <a:lnTo>
                      <a:pt x="26" y="587"/>
                    </a:lnTo>
                    <a:lnTo>
                      <a:pt x="24" y="592"/>
                    </a:lnTo>
                    <a:lnTo>
                      <a:pt x="22" y="592"/>
                    </a:lnTo>
                    <a:lnTo>
                      <a:pt x="21" y="592"/>
                    </a:lnTo>
                    <a:lnTo>
                      <a:pt x="17" y="589"/>
                    </a:lnTo>
                    <a:lnTo>
                      <a:pt x="19" y="586"/>
                    </a:lnTo>
                    <a:lnTo>
                      <a:pt x="14" y="582"/>
                    </a:lnTo>
                    <a:lnTo>
                      <a:pt x="11" y="577"/>
                    </a:lnTo>
                    <a:lnTo>
                      <a:pt x="11" y="575"/>
                    </a:lnTo>
                    <a:lnTo>
                      <a:pt x="9" y="572"/>
                    </a:lnTo>
                    <a:lnTo>
                      <a:pt x="11" y="570"/>
                    </a:lnTo>
                    <a:lnTo>
                      <a:pt x="14" y="569"/>
                    </a:lnTo>
                    <a:lnTo>
                      <a:pt x="16" y="565"/>
                    </a:lnTo>
                    <a:lnTo>
                      <a:pt x="16" y="562"/>
                    </a:lnTo>
                    <a:lnTo>
                      <a:pt x="12" y="558"/>
                    </a:lnTo>
                    <a:lnTo>
                      <a:pt x="11" y="557"/>
                    </a:lnTo>
                    <a:lnTo>
                      <a:pt x="12" y="550"/>
                    </a:lnTo>
                    <a:lnTo>
                      <a:pt x="12" y="548"/>
                    </a:lnTo>
                    <a:lnTo>
                      <a:pt x="11" y="543"/>
                    </a:lnTo>
                    <a:lnTo>
                      <a:pt x="7" y="543"/>
                    </a:lnTo>
                    <a:lnTo>
                      <a:pt x="7" y="540"/>
                    </a:lnTo>
                    <a:lnTo>
                      <a:pt x="5" y="540"/>
                    </a:lnTo>
                    <a:lnTo>
                      <a:pt x="5" y="538"/>
                    </a:lnTo>
                    <a:lnTo>
                      <a:pt x="4" y="538"/>
                    </a:lnTo>
                    <a:lnTo>
                      <a:pt x="2" y="538"/>
                    </a:lnTo>
                    <a:lnTo>
                      <a:pt x="2" y="536"/>
                    </a:lnTo>
                    <a:lnTo>
                      <a:pt x="2" y="535"/>
                    </a:lnTo>
                    <a:lnTo>
                      <a:pt x="0" y="533"/>
                    </a:lnTo>
                    <a:lnTo>
                      <a:pt x="2" y="529"/>
                    </a:lnTo>
                    <a:lnTo>
                      <a:pt x="4" y="528"/>
                    </a:lnTo>
                    <a:lnTo>
                      <a:pt x="4" y="526"/>
                    </a:lnTo>
                    <a:lnTo>
                      <a:pt x="5" y="526"/>
                    </a:lnTo>
                    <a:lnTo>
                      <a:pt x="4" y="524"/>
                    </a:lnTo>
                    <a:lnTo>
                      <a:pt x="4" y="523"/>
                    </a:lnTo>
                    <a:lnTo>
                      <a:pt x="2" y="523"/>
                    </a:lnTo>
                    <a:lnTo>
                      <a:pt x="2" y="521"/>
                    </a:lnTo>
                    <a:lnTo>
                      <a:pt x="0" y="521"/>
                    </a:lnTo>
                    <a:lnTo>
                      <a:pt x="0" y="519"/>
                    </a:lnTo>
                    <a:lnTo>
                      <a:pt x="4" y="519"/>
                    </a:lnTo>
                    <a:lnTo>
                      <a:pt x="5" y="519"/>
                    </a:lnTo>
                    <a:lnTo>
                      <a:pt x="7" y="521"/>
                    </a:lnTo>
                    <a:lnTo>
                      <a:pt x="9" y="521"/>
                    </a:lnTo>
                    <a:lnTo>
                      <a:pt x="11" y="519"/>
                    </a:lnTo>
                    <a:lnTo>
                      <a:pt x="14" y="519"/>
                    </a:lnTo>
                    <a:lnTo>
                      <a:pt x="16" y="518"/>
                    </a:lnTo>
                    <a:lnTo>
                      <a:pt x="16" y="516"/>
                    </a:lnTo>
                    <a:lnTo>
                      <a:pt x="17" y="516"/>
                    </a:lnTo>
                    <a:lnTo>
                      <a:pt x="19" y="514"/>
                    </a:lnTo>
                    <a:lnTo>
                      <a:pt x="21" y="514"/>
                    </a:lnTo>
                    <a:lnTo>
                      <a:pt x="21" y="512"/>
                    </a:lnTo>
                    <a:lnTo>
                      <a:pt x="22" y="512"/>
                    </a:lnTo>
                    <a:lnTo>
                      <a:pt x="21" y="511"/>
                    </a:lnTo>
                    <a:lnTo>
                      <a:pt x="22" y="509"/>
                    </a:lnTo>
                    <a:lnTo>
                      <a:pt x="22" y="506"/>
                    </a:lnTo>
                    <a:lnTo>
                      <a:pt x="21" y="506"/>
                    </a:lnTo>
                    <a:lnTo>
                      <a:pt x="21" y="504"/>
                    </a:lnTo>
                    <a:lnTo>
                      <a:pt x="21" y="502"/>
                    </a:lnTo>
                    <a:lnTo>
                      <a:pt x="22" y="501"/>
                    </a:lnTo>
                    <a:lnTo>
                      <a:pt x="21" y="499"/>
                    </a:lnTo>
                    <a:lnTo>
                      <a:pt x="22" y="495"/>
                    </a:lnTo>
                    <a:lnTo>
                      <a:pt x="22" y="494"/>
                    </a:lnTo>
                    <a:lnTo>
                      <a:pt x="24" y="490"/>
                    </a:lnTo>
                    <a:lnTo>
                      <a:pt x="26" y="484"/>
                    </a:lnTo>
                    <a:lnTo>
                      <a:pt x="28" y="482"/>
                    </a:lnTo>
                    <a:lnTo>
                      <a:pt x="28" y="480"/>
                    </a:lnTo>
                    <a:lnTo>
                      <a:pt x="29" y="480"/>
                    </a:lnTo>
                    <a:lnTo>
                      <a:pt x="31" y="482"/>
                    </a:lnTo>
                    <a:lnTo>
                      <a:pt x="33" y="480"/>
                    </a:lnTo>
                    <a:lnTo>
                      <a:pt x="34" y="480"/>
                    </a:lnTo>
                    <a:lnTo>
                      <a:pt x="34" y="478"/>
                    </a:lnTo>
                    <a:lnTo>
                      <a:pt x="38" y="477"/>
                    </a:lnTo>
                    <a:lnTo>
                      <a:pt x="38" y="475"/>
                    </a:lnTo>
                    <a:lnTo>
                      <a:pt x="39" y="475"/>
                    </a:lnTo>
                    <a:lnTo>
                      <a:pt x="41" y="475"/>
                    </a:lnTo>
                    <a:lnTo>
                      <a:pt x="45" y="478"/>
                    </a:lnTo>
                    <a:lnTo>
                      <a:pt x="45" y="480"/>
                    </a:lnTo>
                    <a:lnTo>
                      <a:pt x="48" y="484"/>
                    </a:lnTo>
                    <a:lnTo>
                      <a:pt x="51" y="487"/>
                    </a:lnTo>
                    <a:lnTo>
                      <a:pt x="55" y="489"/>
                    </a:lnTo>
                    <a:lnTo>
                      <a:pt x="56" y="492"/>
                    </a:lnTo>
                    <a:lnTo>
                      <a:pt x="58" y="492"/>
                    </a:lnTo>
                    <a:lnTo>
                      <a:pt x="62" y="494"/>
                    </a:lnTo>
                    <a:lnTo>
                      <a:pt x="63" y="495"/>
                    </a:lnTo>
                    <a:lnTo>
                      <a:pt x="65" y="499"/>
                    </a:lnTo>
                    <a:lnTo>
                      <a:pt x="67" y="501"/>
                    </a:lnTo>
                    <a:lnTo>
                      <a:pt x="68" y="502"/>
                    </a:lnTo>
                    <a:lnTo>
                      <a:pt x="70" y="497"/>
                    </a:lnTo>
                    <a:lnTo>
                      <a:pt x="72" y="497"/>
                    </a:lnTo>
                    <a:lnTo>
                      <a:pt x="72" y="494"/>
                    </a:lnTo>
                    <a:lnTo>
                      <a:pt x="73" y="492"/>
                    </a:lnTo>
                    <a:lnTo>
                      <a:pt x="75" y="490"/>
                    </a:lnTo>
                    <a:lnTo>
                      <a:pt x="77" y="490"/>
                    </a:lnTo>
                    <a:lnTo>
                      <a:pt x="77" y="489"/>
                    </a:lnTo>
                    <a:lnTo>
                      <a:pt x="77" y="485"/>
                    </a:lnTo>
                    <a:lnTo>
                      <a:pt x="79" y="485"/>
                    </a:lnTo>
                    <a:lnTo>
                      <a:pt x="80" y="487"/>
                    </a:lnTo>
                    <a:lnTo>
                      <a:pt x="82" y="487"/>
                    </a:lnTo>
                    <a:lnTo>
                      <a:pt x="87" y="485"/>
                    </a:lnTo>
                    <a:lnTo>
                      <a:pt x="90" y="485"/>
                    </a:lnTo>
                    <a:lnTo>
                      <a:pt x="92" y="485"/>
                    </a:lnTo>
                    <a:lnTo>
                      <a:pt x="94" y="485"/>
                    </a:lnTo>
                    <a:lnTo>
                      <a:pt x="97" y="485"/>
                    </a:lnTo>
                    <a:lnTo>
                      <a:pt x="101" y="485"/>
                    </a:lnTo>
                    <a:lnTo>
                      <a:pt x="114" y="485"/>
                    </a:lnTo>
                    <a:lnTo>
                      <a:pt x="119" y="487"/>
                    </a:lnTo>
                    <a:lnTo>
                      <a:pt x="123" y="487"/>
                    </a:lnTo>
                    <a:lnTo>
                      <a:pt x="124" y="487"/>
                    </a:lnTo>
                    <a:lnTo>
                      <a:pt x="128" y="487"/>
                    </a:lnTo>
                    <a:lnTo>
                      <a:pt x="130" y="485"/>
                    </a:lnTo>
                    <a:lnTo>
                      <a:pt x="136" y="485"/>
                    </a:lnTo>
                    <a:lnTo>
                      <a:pt x="140" y="487"/>
                    </a:lnTo>
                    <a:lnTo>
                      <a:pt x="141" y="485"/>
                    </a:lnTo>
                    <a:lnTo>
                      <a:pt x="143" y="485"/>
                    </a:lnTo>
                    <a:lnTo>
                      <a:pt x="141" y="477"/>
                    </a:lnTo>
                    <a:lnTo>
                      <a:pt x="147" y="472"/>
                    </a:lnTo>
                    <a:lnTo>
                      <a:pt x="148" y="473"/>
                    </a:lnTo>
                    <a:lnTo>
                      <a:pt x="147" y="482"/>
                    </a:lnTo>
                    <a:lnTo>
                      <a:pt x="164" y="482"/>
                    </a:lnTo>
                    <a:lnTo>
                      <a:pt x="198" y="482"/>
                    </a:lnTo>
                    <a:lnTo>
                      <a:pt x="233" y="482"/>
                    </a:lnTo>
                    <a:lnTo>
                      <a:pt x="301" y="482"/>
                    </a:lnTo>
                    <a:lnTo>
                      <a:pt x="303" y="482"/>
                    </a:lnTo>
                    <a:lnTo>
                      <a:pt x="342" y="482"/>
                    </a:lnTo>
                    <a:lnTo>
                      <a:pt x="351" y="439"/>
                    </a:lnTo>
                    <a:lnTo>
                      <a:pt x="335" y="431"/>
                    </a:lnTo>
                    <a:lnTo>
                      <a:pt x="334" y="412"/>
                    </a:lnTo>
                    <a:lnTo>
                      <a:pt x="305" y="75"/>
                    </a:lnTo>
                    <a:lnTo>
                      <a:pt x="300" y="17"/>
                    </a:lnTo>
                    <a:lnTo>
                      <a:pt x="298" y="0"/>
                    </a:lnTo>
                    <a:lnTo>
                      <a:pt x="376" y="0"/>
                    </a:lnTo>
                    <a:lnTo>
                      <a:pt x="488" y="72"/>
                    </a:lnTo>
                    <a:lnTo>
                      <a:pt x="619" y="159"/>
                    </a:lnTo>
                    <a:lnTo>
                      <a:pt x="679" y="198"/>
                    </a:lnTo>
                    <a:lnTo>
                      <a:pt x="680" y="206"/>
                    </a:lnTo>
                    <a:lnTo>
                      <a:pt x="679" y="213"/>
                    </a:lnTo>
                    <a:lnTo>
                      <a:pt x="679" y="216"/>
                    </a:lnTo>
                    <a:lnTo>
                      <a:pt x="682" y="218"/>
                    </a:lnTo>
                    <a:lnTo>
                      <a:pt x="687" y="216"/>
                    </a:lnTo>
                    <a:lnTo>
                      <a:pt x="689" y="220"/>
                    </a:lnTo>
                    <a:lnTo>
                      <a:pt x="691" y="222"/>
                    </a:lnTo>
                    <a:lnTo>
                      <a:pt x="694" y="222"/>
                    </a:lnTo>
                    <a:lnTo>
                      <a:pt x="701" y="223"/>
                    </a:lnTo>
                    <a:lnTo>
                      <a:pt x="704" y="227"/>
                    </a:lnTo>
                    <a:lnTo>
                      <a:pt x="704" y="233"/>
                    </a:lnTo>
                    <a:lnTo>
                      <a:pt x="709" y="237"/>
                    </a:lnTo>
                    <a:lnTo>
                      <a:pt x="711" y="239"/>
                    </a:lnTo>
                    <a:lnTo>
                      <a:pt x="714" y="239"/>
                    </a:lnTo>
                    <a:lnTo>
                      <a:pt x="716" y="242"/>
                    </a:lnTo>
                    <a:lnTo>
                      <a:pt x="718" y="242"/>
                    </a:lnTo>
                    <a:lnTo>
                      <a:pt x="718" y="240"/>
                    </a:lnTo>
                    <a:lnTo>
                      <a:pt x="719" y="240"/>
                    </a:lnTo>
                    <a:lnTo>
                      <a:pt x="721" y="242"/>
                    </a:lnTo>
                    <a:lnTo>
                      <a:pt x="723" y="240"/>
                    </a:lnTo>
                    <a:lnTo>
                      <a:pt x="726" y="242"/>
                    </a:lnTo>
                    <a:lnTo>
                      <a:pt x="730" y="240"/>
                    </a:lnTo>
                    <a:lnTo>
                      <a:pt x="731" y="239"/>
                    </a:lnTo>
                    <a:lnTo>
                      <a:pt x="736" y="240"/>
                    </a:lnTo>
                    <a:lnTo>
                      <a:pt x="736" y="244"/>
                    </a:lnTo>
                    <a:lnTo>
                      <a:pt x="740" y="244"/>
                    </a:lnTo>
                    <a:lnTo>
                      <a:pt x="740" y="245"/>
                    </a:lnTo>
                    <a:lnTo>
                      <a:pt x="742" y="247"/>
                    </a:lnTo>
                    <a:lnTo>
                      <a:pt x="742" y="249"/>
                    </a:lnTo>
                    <a:lnTo>
                      <a:pt x="740" y="249"/>
                    </a:lnTo>
                    <a:lnTo>
                      <a:pt x="740" y="252"/>
                    </a:lnTo>
                    <a:lnTo>
                      <a:pt x="742" y="250"/>
                    </a:lnTo>
                    <a:lnTo>
                      <a:pt x="745" y="249"/>
                    </a:lnTo>
                    <a:lnTo>
                      <a:pt x="745" y="250"/>
                    </a:lnTo>
                    <a:lnTo>
                      <a:pt x="748" y="249"/>
                    </a:lnTo>
                    <a:lnTo>
                      <a:pt x="750" y="252"/>
                    </a:lnTo>
                    <a:lnTo>
                      <a:pt x="752" y="252"/>
                    </a:lnTo>
                    <a:lnTo>
                      <a:pt x="753" y="252"/>
                    </a:lnTo>
                    <a:lnTo>
                      <a:pt x="755" y="252"/>
                    </a:lnTo>
                    <a:lnTo>
                      <a:pt x="755" y="249"/>
                    </a:lnTo>
                    <a:lnTo>
                      <a:pt x="759" y="254"/>
                    </a:lnTo>
                    <a:lnTo>
                      <a:pt x="764" y="256"/>
                    </a:lnTo>
                    <a:lnTo>
                      <a:pt x="765" y="256"/>
                    </a:lnTo>
                    <a:lnTo>
                      <a:pt x="767" y="256"/>
                    </a:lnTo>
                    <a:lnTo>
                      <a:pt x="770" y="257"/>
                    </a:lnTo>
                    <a:lnTo>
                      <a:pt x="781" y="262"/>
                    </a:lnTo>
                    <a:lnTo>
                      <a:pt x="786" y="262"/>
                    </a:lnTo>
                    <a:lnTo>
                      <a:pt x="784" y="269"/>
                    </a:lnTo>
                    <a:lnTo>
                      <a:pt x="784" y="273"/>
                    </a:lnTo>
                    <a:lnTo>
                      <a:pt x="784" y="274"/>
                    </a:lnTo>
                    <a:lnTo>
                      <a:pt x="786" y="278"/>
                    </a:lnTo>
                    <a:lnTo>
                      <a:pt x="784" y="279"/>
                    </a:lnTo>
                    <a:lnTo>
                      <a:pt x="786" y="281"/>
                    </a:lnTo>
                    <a:lnTo>
                      <a:pt x="786" y="283"/>
                    </a:lnTo>
                    <a:lnTo>
                      <a:pt x="782" y="283"/>
                    </a:lnTo>
                    <a:lnTo>
                      <a:pt x="781" y="286"/>
                    </a:lnTo>
                    <a:lnTo>
                      <a:pt x="782" y="291"/>
                    </a:lnTo>
                    <a:lnTo>
                      <a:pt x="777" y="296"/>
                    </a:lnTo>
                    <a:lnTo>
                      <a:pt x="777" y="298"/>
                    </a:lnTo>
                    <a:lnTo>
                      <a:pt x="786" y="303"/>
                    </a:lnTo>
                    <a:lnTo>
                      <a:pt x="787" y="305"/>
                    </a:lnTo>
                    <a:lnTo>
                      <a:pt x="789" y="305"/>
                    </a:lnTo>
                    <a:lnTo>
                      <a:pt x="789" y="307"/>
                    </a:lnTo>
                    <a:lnTo>
                      <a:pt x="793" y="307"/>
                    </a:lnTo>
                    <a:lnTo>
                      <a:pt x="801" y="305"/>
                    </a:lnTo>
                    <a:lnTo>
                      <a:pt x="833" y="298"/>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45" name="Freeform 41">
                <a:extLst>
                  <a:ext uri="{FF2B5EF4-FFF2-40B4-BE49-F238E27FC236}">
                    <a16:creationId xmlns:a16="http://schemas.microsoft.com/office/drawing/2014/main" id="{0470842E-C378-4993-9622-AB67843E6D4C}"/>
                  </a:ext>
                </a:extLst>
              </p:cNvPr>
              <p:cNvSpPr>
                <a:spLocks noEditPoints="1"/>
              </p:cNvSpPr>
              <p:nvPr/>
            </p:nvSpPr>
            <p:spPr bwMode="gray">
              <a:xfrm>
                <a:off x="3205163" y="1255713"/>
                <a:ext cx="984250" cy="1012825"/>
              </a:xfrm>
              <a:custGeom>
                <a:avLst/>
                <a:gdLst>
                  <a:gd name="T0" fmla="*/ 549 w 620"/>
                  <a:gd name="T1" fmla="*/ 192 h 638"/>
                  <a:gd name="T2" fmla="*/ 477 w 620"/>
                  <a:gd name="T3" fmla="*/ 599 h 638"/>
                  <a:gd name="T4" fmla="*/ 387 w 620"/>
                  <a:gd name="T5" fmla="*/ 602 h 638"/>
                  <a:gd name="T6" fmla="*/ 367 w 620"/>
                  <a:gd name="T7" fmla="*/ 604 h 638"/>
                  <a:gd name="T8" fmla="*/ 334 w 620"/>
                  <a:gd name="T9" fmla="*/ 602 h 638"/>
                  <a:gd name="T10" fmla="*/ 321 w 620"/>
                  <a:gd name="T11" fmla="*/ 607 h 638"/>
                  <a:gd name="T12" fmla="*/ 311 w 620"/>
                  <a:gd name="T13" fmla="*/ 618 h 638"/>
                  <a:gd name="T14" fmla="*/ 295 w 620"/>
                  <a:gd name="T15" fmla="*/ 604 h 638"/>
                  <a:gd name="T16" fmla="*/ 282 w 620"/>
                  <a:gd name="T17" fmla="*/ 594 h 638"/>
                  <a:gd name="T18" fmla="*/ 272 w 620"/>
                  <a:gd name="T19" fmla="*/ 599 h 638"/>
                  <a:gd name="T20" fmla="*/ 265 w 620"/>
                  <a:gd name="T21" fmla="*/ 619 h 638"/>
                  <a:gd name="T22" fmla="*/ 265 w 620"/>
                  <a:gd name="T23" fmla="*/ 629 h 638"/>
                  <a:gd name="T24" fmla="*/ 255 w 620"/>
                  <a:gd name="T25" fmla="*/ 636 h 638"/>
                  <a:gd name="T26" fmla="*/ 239 w 620"/>
                  <a:gd name="T27" fmla="*/ 633 h 638"/>
                  <a:gd name="T28" fmla="*/ 222 w 620"/>
                  <a:gd name="T29" fmla="*/ 619 h 638"/>
                  <a:gd name="T30" fmla="*/ 212 w 620"/>
                  <a:gd name="T31" fmla="*/ 611 h 638"/>
                  <a:gd name="T32" fmla="*/ 207 w 620"/>
                  <a:gd name="T33" fmla="*/ 602 h 638"/>
                  <a:gd name="T34" fmla="*/ 193 w 620"/>
                  <a:gd name="T35" fmla="*/ 590 h 638"/>
                  <a:gd name="T36" fmla="*/ 188 w 620"/>
                  <a:gd name="T37" fmla="*/ 580 h 638"/>
                  <a:gd name="T38" fmla="*/ 180 w 620"/>
                  <a:gd name="T39" fmla="*/ 568 h 638"/>
                  <a:gd name="T40" fmla="*/ 168 w 620"/>
                  <a:gd name="T41" fmla="*/ 566 h 638"/>
                  <a:gd name="T42" fmla="*/ 156 w 620"/>
                  <a:gd name="T43" fmla="*/ 563 h 638"/>
                  <a:gd name="T44" fmla="*/ 151 w 620"/>
                  <a:gd name="T45" fmla="*/ 553 h 638"/>
                  <a:gd name="T46" fmla="*/ 141 w 620"/>
                  <a:gd name="T47" fmla="*/ 544 h 638"/>
                  <a:gd name="T48" fmla="*/ 127 w 620"/>
                  <a:gd name="T49" fmla="*/ 543 h 638"/>
                  <a:gd name="T50" fmla="*/ 115 w 620"/>
                  <a:gd name="T51" fmla="*/ 543 h 638"/>
                  <a:gd name="T52" fmla="*/ 107 w 620"/>
                  <a:gd name="T53" fmla="*/ 541 h 638"/>
                  <a:gd name="T54" fmla="*/ 98 w 620"/>
                  <a:gd name="T55" fmla="*/ 541 h 638"/>
                  <a:gd name="T56" fmla="*/ 81 w 620"/>
                  <a:gd name="T57" fmla="*/ 544 h 638"/>
                  <a:gd name="T58" fmla="*/ 62 w 620"/>
                  <a:gd name="T59" fmla="*/ 548 h 638"/>
                  <a:gd name="T60" fmla="*/ 49 w 620"/>
                  <a:gd name="T61" fmla="*/ 548 h 638"/>
                  <a:gd name="T62" fmla="*/ 39 w 620"/>
                  <a:gd name="T63" fmla="*/ 551 h 638"/>
                  <a:gd name="T64" fmla="*/ 34 w 620"/>
                  <a:gd name="T65" fmla="*/ 563 h 638"/>
                  <a:gd name="T66" fmla="*/ 27 w 620"/>
                  <a:gd name="T67" fmla="*/ 560 h 638"/>
                  <a:gd name="T68" fmla="*/ 51 w 620"/>
                  <a:gd name="T69" fmla="*/ 488 h 638"/>
                  <a:gd name="T70" fmla="*/ 39 w 620"/>
                  <a:gd name="T71" fmla="*/ 417 h 638"/>
                  <a:gd name="T72" fmla="*/ 28 w 620"/>
                  <a:gd name="T73" fmla="*/ 401 h 638"/>
                  <a:gd name="T74" fmla="*/ 34 w 620"/>
                  <a:gd name="T75" fmla="*/ 398 h 638"/>
                  <a:gd name="T76" fmla="*/ 32 w 620"/>
                  <a:gd name="T77" fmla="*/ 395 h 638"/>
                  <a:gd name="T78" fmla="*/ 40 w 620"/>
                  <a:gd name="T79" fmla="*/ 384 h 638"/>
                  <a:gd name="T80" fmla="*/ 39 w 620"/>
                  <a:gd name="T81" fmla="*/ 376 h 638"/>
                  <a:gd name="T82" fmla="*/ 42 w 620"/>
                  <a:gd name="T83" fmla="*/ 357 h 638"/>
                  <a:gd name="T84" fmla="*/ 32 w 620"/>
                  <a:gd name="T85" fmla="*/ 339 h 638"/>
                  <a:gd name="T86" fmla="*/ 18 w 620"/>
                  <a:gd name="T87" fmla="*/ 333 h 638"/>
                  <a:gd name="T88" fmla="*/ 8 w 620"/>
                  <a:gd name="T89" fmla="*/ 315 h 638"/>
                  <a:gd name="T90" fmla="*/ 3 w 620"/>
                  <a:gd name="T91" fmla="*/ 318 h 638"/>
                  <a:gd name="T92" fmla="*/ 0 w 620"/>
                  <a:gd name="T93" fmla="*/ 327 h 638"/>
                  <a:gd name="T94" fmla="*/ 144 w 620"/>
                  <a:gd name="T95" fmla="*/ 303 h 638"/>
                  <a:gd name="T96" fmla="*/ 207 w 620"/>
                  <a:gd name="T97" fmla="*/ 216 h 638"/>
                  <a:gd name="T98" fmla="*/ 256 w 620"/>
                  <a:gd name="T99" fmla="*/ 68 h 638"/>
                  <a:gd name="T100" fmla="*/ 37 w 620"/>
                  <a:gd name="T101" fmla="*/ 381 h 638"/>
                  <a:gd name="T102" fmla="*/ 28 w 620"/>
                  <a:gd name="T103" fmla="*/ 384 h 638"/>
                  <a:gd name="T104" fmla="*/ 30 w 620"/>
                  <a:gd name="T105" fmla="*/ 340 h 638"/>
                  <a:gd name="T106" fmla="*/ 35 w 620"/>
                  <a:gd name="T107" fmla="*/ 38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0" h="638">
                    <a:moveTo>
                      <a:pt x="425" y="0"/>
                    </a:moveTo>
                    <a:lnTo>
                      <a:pt x="578" y="92"/>
                    </a:lnTo>
                    <a:lnTo>
                      <a:pt x="618" y="117"/>
                    </a:lnTo>
                    <a:lnTo>
                      <a:pt x="620" y="117"/>
                    </a:lnTo>
                    <a:lnTo>
                      <a:pt x="542" y="117"/>
                    </a:lnTo>
                    <a:lnTo>
                      <a:pt x="544" y="134"/>
                    </a:lnTo>
                    <a:lnTo>
                      <a:pt x="549" y="192"/>
                    </a:lnTo>
                    <a:lnTo>
                      <a:pt x="578" y="529"/>
                    </a:lnTo>
                    <a:lnTo>
                      <a:pt x="579" y="548"/>
                    </a:lnTo>
                    <a:lnTo>
                      <a:pt x="595" y="556"/>
                    </a:lnTo>
                    <a:lnTo>
                      <a:pt x="586" y="599"/>
                    </a:lnTo>
                    <a:lnTo>
                      <a:pt x="547" y="599"/>
                    </a:lnTo>
                    <a:lnTo>
                      <a:pt x="545" y="599"/>
                    </a:lnTo>
                    <a:lnTo>
                      <a:pt x="477" y="599"/>
                    </a:lnTo>
                    <a:lnTo>
                      <a:pt x="442" y="599"/>
                    </a:lnTo>
                    <a:lnTo>
                      <a:pt x="408" y="599"/>
                    </a:lnTo>
                    <a:lnTo>
                      <a:pt x="391" y="599"/>
                    </a:lnTo>
                    <a:lnTo>
                      <a:pt x="392" y="590"/>
                    </a:lnTo>
                    <a:lnTo>
                      <a:pt x="391" y="589"/>
                    </a:lnTo>
                    <a:lnTo>
                      <a:pt x="385" y="594"/>
                    </a:lnTo>
                    <a:lnTo>
                      <a:pt x="387" y="602"/>
                    </a:lnTo>
                    <a:lnTo>
                      <a:pt x="385" y="602"/>
                    </a:lnTo>
                    <a:lnTo>
                      <a:pt x="384" y="604"/>
                    </a:lnTo>
                    <a:lnTo>
                      <a:pt x="380" y="602"/>
                    </a:lnTo>
                    <a:lnTo>
                      <a:pt x="374" y="602"/>
                    </a:lnTo>
                    <a:lnTo>
                      <a:pt x="372" y="604"/>
                    </a:lnTo>
                    <a:lnTo>
                      <a:pt x="368" y="604"/>
                    </a:lnTo>
                    <a:lnTo>
                      <a:pt x="367" y="604"/>
                    </a:lnTo>
                    <a:lnTo>
                      <a:pt x="363" y="604"/>
                    </a:lnTo>
                    <a:lnTo>
                      <a:pt x="358" y="602"/>
                    </a:lnTo>
                    <a:lnTo>
                      <a:pt x="345" y="602"/>
                    </a:lnTo>
                    <a:lnTo>
                      <a:pt x="341" y="602"/>
                    </a:lnTo>
                    <a:lnTo>
                      <a:pt x="338" y="602"/>
                    </a:lnTo>
                    <a:lnTo>
                      <a:pt x="336" y="602"/>
                    </a:lnTo>
                    <a:lnTo>
                      <a:pt x="334" y="602"/>
                    </a:lnTo>
                    <a:lnTo>
                      <a:pt x="331" y="602"/>
                    </a:lnTo>
                    <a:lnTo>
                      <a:pt x="326" y="604"/>
                    </a:lnTo>
                    <a:lnTo>
                      <a:pt x="324" y="604"/>
                    </a:lnTo>
                    <a:lnTo>
                      <a:pt x="323" y="602"/>
                    </a:lnTo>
                    <a:lnTo>
                      <a:pt x="321" y="602"/>
                    </a:lnTo>
                    <a:lnTo>
                      <a:pt x="321" y="606"/>
                    </a:lnTo>
                    <a:lnTo>
                      <a:pt x="321" y="607"/>
                    </a:lnTo>
                    <a:lnTo>
                      <a:pt x="319" y="607"/>
                    </a:lnTo>
                    <a:lnTo>
                      <a:pt x="317" y="609"/>
                    </a:lnTo>
                    <a:lnTo>
                      <a:pt x="316" y="611"/>
                    </a:lnTo>
                    <a:lnTo>
                      <a:pt x="316" y="614"/>
                    </a:lnTo>
                    <a:lnTo>
                      <a:pt x="314" y="614"/>
                    </a:lnTo>
                    <a:lnTo>
                      <a:pt x="312" y="619"/>
                    </a:lnTo>
                    <a:lnTo>
                      <a:pt x="311" y="618"/>
                    </a:lnTo>
                    <a:lnTo>
                      <a:pt x="309" y="616"/>
                    </a:lnTo>
                    <a:lnTo>
                      <a:pt x="307" y="612"/>
                    </a:lnTo>
                    <a:lnTo>
                      <a:pt x="306" y="611"/>
                    </a:lnTo>
                    <a:lnTo>
                      <a:pt x="302" y="609"/>
                    </a:lnTo>
                    <a:lnTo>
                      <a:pt x="300" y="609"/>
                    </a:lnTo>
                    <a:lnTo>
                      <a:pt x="299" y="606"/>
                    </a:lnTo>
                    <a:lnTo>
                      <a:pt x="295" y="604"/>
                    </a:lnTo>
                    <a:lnTo>
                      <a:pt x="292" y="601"/>
                    </a:lnTo>
                    <a:lnTo>
                      <a:pt x="289" y="597"/>
                    </a:lnTo>
                    <a:lnTo>
                      <a:pt x="289" y="595"/>
                    </a:lnTo>
                    <a:lnTo>
                      <a:pt x="285" y="592"/>
                    </a:lnTo>
                    <a:lnTo>
                      <a:pt x="283" y="592"/>
                    </a:lnTo>
                    <a:lnTo>
                      <a:pt x="282" y="592"/>
                    </a:lnTo>
                    <a:lnTo>
                      <a:pt x="282" y="594"/>
                    </a:lnTo>
                    <a:lnTo>
                      <a:pt x="278" y="595"/>
                    </a:lnTo>
                    <a:lnTo>
                      <a:pt x="278" y="597"/>
                    </a:lnTo>
                    <a:lnTo>
                      <a:pt x="277" y="597"/>
                    </a:lnTo>
                    <a:lnTo>
                      <a:pt x="275" y="599"/>
                    </a:lnTo>
                    <a:lnTo>
                      <a:pt x="273" y="597"/>
                    </a:lnTo>
                    <a:lnTo>
                      <a:pt x="272" y="597"/>
                    </a:lnTo>
                    <a:lnTo>
                      <a:pt x="272" y="599"/>
                    </a:lnTo>
                    <a:lnTo>
                      <a:pt x="270" y="601"/>
                    </a:lnTo>
                    <a:lnTo>
                      <a:pt x="268" y="607"/>
                    </a:lnTo>
                    <a:lnTo>
                      <a:pt x="266" y="611"/>
                    </a:lnTo>
                    <a:lnTo>
                      <a:pt x="266" y="612"/>
                    </a:lnTo>
                    <a:lnTo>
                      <a:pt x="265" y="616"/>
                    </a:lnTo>
                    <a:lnTo>
                      <a:pt x="266" y="618"/>
                    </a:lnTo>
                    <a:lnTo>
                      <a:pt x="265" y="619"/>
                    </a:lnTo>
                    <a:lnTo>
                      <a:pt x="265" y="621"/>
                    </a:lnTo>
                    <a:lnTo>
                      <a:pt x="265" y="623"/>
                    </a:lnTo>
                    <a:lnTo>
                      <a:pt x="266" y="623"/>
                    </a:lnTo>
                    <a:lnTo>
                      <a:pt x="266" y="626"/>
                    </a:lnTo>
                    <a:lnTo>
                      <a:pt x="265" y="628"/>
                    </a:lnTo>
                    <a:lnTo>
                      <a:pt x="266" y="629"/>
                    </a:lnTo>
                    <a:lnTo>
                      <a:pt x="265" y="629"/>
                    </a:lnTo>
                    <a:lnTo>
                      <a:pt x="265" y="631"/>
                    </a:lnTo>
                    <a:lnTo>
                      <a:pt x="263" y="631"/>
                    </a:lnTo>
                    <a:lnTo>
                      <a:pt x="261" y="633"/>
                    </a:lnTo>
                    <a:lnTo>
                      <a:pt x="260" y="633"/>
                    </a:lnTo>
                    <a:lnTo>
                      <a:pt x="260" y="635"/>
                    </a:lnTo>
                    <a:lnTo>
                      <a:pt x="258" y="636"/>
                    </a:lnTo>
                    <a:lnTo>
                      <a:pt x="255" y="636"/>
                    </a:lnTo>
                    <a:lnTo>
                      <a:pt x="253" y="638"/>
                    </a:lnTo>
                    <a:lnTo>
                      <a:pt x="251" y="638"/>
                    </a:lnTo>
                    <a:lnTo>
                      <a:pt x="249" y="636"/>
                    </a:lnTo>
                    <a:lnTo>
                      <a:pt x="248" y="636"/>
                    </a:lnTo>
                    <a:lnTo>
                      <a:pt x="244" y="636"/>
                    </a:lnTo>
                    <a:lnTo>
                      <a:pt x="243" y="636"/>
                    </a:lnTo>
                    <a:lnTo>
                      <a:pt x="239" y="633"/>
                    </a:lnTo>
                    <a:lnTo>
                      <a:pt x="236" y="633"/>
                    </a:lnTo>
                    <a:lnTo>
                      <a:pt x="234" y="629"/>
                    </a:lnTo>
                    <a:lnTo>
                      <a:pt x="232" y="626"/>
                    </a:lnTo>
                    <a:lnTo>
                      <a:pt x="231" y="624"/>
                    </a:lnTo>
                    <a:lnTo>
                      <a:pt x="229" y="623"/>
                    </a:lnTo>
                    <a:lnTo>
                      <a:pt x="226" y="621"/>
                    </a:lnTo>
                    <a:lnTo>
                      <a:pt x="222" y="619"/>
                    </a:lnTo>
                    <a:lnTo>
                      <a:pt x="221" y="621"/>
                    </a:lnTo>
                    <a:lnTo>
                      <a:pt x="215" y="616"/>
                    </a:lnTo>
                    <a:lnTo>
                      <a:pt x="217" y="614"/>
                    </a:lnTo>
                    <a:lnTo>
                      <a:pt x="215" y="614"/>
                    </a:lnTo>
                    <a:lnTo>
                      <a:pt x="214" y="614"/>
                    </a:lnTo>
                    <a:lnTo>
                      <a:pt x="210" y="611"/>
                    </a:lnTo>
                    <a:lnTo>
                      <a:pt x="212" y="611"/>
                    </a:lnTo>
                    <a:lnTo>
                      <a:pt x="214" y="611"/>
                    </a:lnTo>
                    <a:lnTo>
                      <a:pt x="214" y="609"/>
                    </a:lnTo>
                    <a:lnTo>
                      <a:pt x="209" y="607"/>
                    </a:lnTo>
                    <a:lnTo>
                      <a:pt x="209" y="606"/>
                    </a:lnTo>
                    <a:lnTo>
                      <a:pt x="209" y="604"/>
                    </a:lnTo>
                    <a:lnTo>
                      <a:pt x="209" y="602"/>
                    </a:lnTo>
                    <a:lnTo>
                      <a:pt x="207" y="602"/>
                    </a:lnTo>
                    <a:lnTo>
                      <a:pt x="207" y="599"/>
                    </a:lnTo>
                    <a:lnTo>
                      <a:pt x="204" y="601"/>
                    </a:lnTo>
                    <a:lnTo>
                      <a:pt x="200" y="599"/>
                    </a:lnTo>
                    <a:lnTo>
                      <a:pt x="202" y="595"/>
                    </a:lnTo>
                    <a:lnTo>
                      <a:pt x="197" y="592"/>
                    </a:lnTo>
                    <a:lnTo>
                      <a:pt x="193" y="594"/>
                    </a:lnTo>
                    <a:lnTo>
                      <a:pt x="193" y="590"/>
                    </a:lnTo>
                    <a:lnTo>
                      <a:pt x="195" y="590"/>
                    </a:lnTo>
                    <a:lnTo>
                      <a:pt x="195" y="589"/>
                    </a:lnTo>
                    <a:lnTo>
                      <a:pt x="190" y="585"/>
                    </a:lnTo>
                    <a:lnTo>
                      <a:pt x="192" y="585"/>
                    </a:lnTo>
                    <a:lnTo>
                      <a:pt x="190" y="583"/>
                    </a:lnTo>
                    <a:lnTo>
                      <a:pt x="190" y="580"/>
                    </a:lnTo>
                    <a:lnTo>
                      <a:pt x="188" y="580"/>
                    </a:lnTo>
                    <a:lnTo>
                      <a:pt x="190" y="578"/>
                    </a:lnTo>
                    <a:lnTo>
                      <a:pt x="187" y="577"/>
                    </a:lnTo>
                    <a:lnTo>
                      <a:pt x="187" y="572"/>
                    </a:lnTo>
                    <a:lnTo>
                      <a:pt x="183" y="570"/>
                    </a:lnTo>
                    <a:lnTo>
                      <a:pt x="183" y="568"/>
                    </a:lnTo>
                    <a:lnTo>
                      <a:pt x="180" y="570"/>
                    </a:lnTo>
                    <a:lnTo>
                      <a:pt x="180" y="568"/>
                    </a:lnTo>
                    <a:lnTo>
                      <a:pt x="181" y="566"/>
                    </a:lnTo>
                    <a:lnTo>
                      <a:pt x="180" y="568"/>
                    </a:lnTo>
                    <a:lnTo>
                      <a:pt x="176" y="566"/>
                    </a:lnTo>
                    <a:lnTo>
                      <a:pt x="171" y="568"/>
                    </a:lnTo>
                    <a:lnTo>
                      <a:pt x="170" y="566"/>
                    </a:lnTo>
                    <a:lnTo>
                      <a:pt x="170" y="565"/>
                    </a:lnTo>
                    <a:lnTo>
                      <a:pt x="168" y="566"/>
                    </a:lnTo>
                    <a:lnTo>
                      <a:pt x="164" y="566"/>
                    </a:lnTo>
                    <a:lnTo>
                      <a:pt x="163" y="568"/>
                    </a:lnTo>
                    <a:lnTo>
                      <a:pt x="161" y="566"/>
                    </a:lnTo>
                    <a:lnTo>
                      <a:pt x="161" y="563"/>
                    </a:lnTo>
                    <a:lnTo>
                      <a:pt x="159" y="563"/>
                    </a:lnTo>
                    <a:lnTo>
                      <a:pt x="159" y="561"/>
                    </a:lnTo>
                    <a:lnTo>
                      <a:pt x="156" y="563"/>
                    </a:lnTo>
                    <a:lnTo>
                      <a:pt x="158" y="560"/>
                    </a:lnTo>
                    <a:lnTo>
                      <a:pt x="156" y="560"/>
                    </a:lnTo>
                    <a:lnTo>
                      <a:pt x="156" y="558"/>
                    </a:lnTo>
                    <a:lnTo>
                      <a:pt x="158" y="558"/>
                    </a:lnTo>
                    <a:lnTo>
                      <a:pt x="156" y="556"/>
                    </a:lnTo>
                    <a:lnTo>
                      <a:pt x="153" y="556"/>
                    </a:lnTo>
                    <a:lnTo>
                      <a:pt x="151" y="553"/>
                    </a:lnTo>
                    <a:lnTo>
                      <a:pt x="147" y="551"/>
                    </a:lnTo>
                    <a:lnTo>
                      <a:pt x="147" y="549"/>
                    </a:lnTo>
                    <a:lnTo>
                      <a:pt x="144" y="548"/>
                    </a:lnTo>
                    <a:lnTo>
                      <a:pt x="144" y="546"/>
                    </a:lnTo>
                    <a:lnTo>
                      <a:pt x="142" y="546"/>
                    </a:lnTo>
                    <a:lnTo>
                      <a:pt x="142" y="548"/>
                    </a:lnTo>
                    <a:lnTo>
                      <a:pt x="141" y="544"/>
                    </a:lnTo>
                    <a:lnTo>
                      <a:pt x="137" y="544"/>
                    </a:lnTo>
                    <a:lnTo>
                      <a:pt x="137" y="541"/>
                    </a:lnTo>
                    <a:lnTo>
                      <a:pt x="134" y="541"/>
                    </a:lnTo>
                    <a:lnTo>
                      <a:pt x="132" y="543"/>
                    </a:lnTo>
                    <a:lnTo>
                      <a:pt x="130" y="543"/>
                    </a:lnTo>
                    <a:lnTo>
                      <a:pt x="127" y="541"/>
                    </a:lnTo>
                    <a:lnTo>
                      <a:pt x="127" y="543"/>
                    </a:lnTo>
                    <a:lnTo>
                      <a:pt x="124" y="543"/>
                    </a:lnTo>
                    <a:lnTo>
                      <a:pt x="122" y="543"/>
                    </a:lnTo>
                    <a:lnTo>
                      <a:pt x="122" y="541"/>
                    </a:lnTo>
                    <a:lnTo>
                      <a:pt x="119" y="541"/>
                    </a:lnTo>
                    <a:lnTo>
                      <a:pt x="117" y="543"/>
                    </a:lnTo>
                    <a:lnTo>
                      <a:pt x="117" y="541"/>
                    </a:lnTo>
                    <a:lnTo>
                      <a:pt x="115" y="543"/>
                    </a:lnTo>
                    <a:lnTo>
                      <a:pt x="113" y="541"/>
                    </a:lnTo>
                    <a:lnTo>
                      <a:pt x="112" y="541"/>
                    </a:lnTo>
                    <a:lnTo>
                      <a:pt x="110" y="541"/>
                    </a:lnTo>
                    <a:lnTo>
                      <a:pt x="110" y="543"/>
                    </a:lnTo>
                    <a:lnTo>
                      <a:pt x="108" y="541"/>
                    </a:lnTo>
                    <a:lnTo>
                      <a:pt x="107" y="543"/>
                    </a:lnTo>
                    <a:lnTo>
                      <a:pt x="107" y="541"/>
                    </a:lnTo>
                    <a:lnTo>
                      <a:pt x="107" y="539"/>
                    </a:lnTo>
                    <a:lnTo>
                      <a:pt x="105" y="539"/>
                    </a:lnTo>
                    <a:lnTo>
                      <a:pt x="105" y="541"/>
                    </a:lnTo>
                    <a:lnTo>
                      <a:pt x="103" y="543"/>
                    </a:lnTo>
                    <a:lnTo>
                      <a:pt x="102" y="543"/>
                    </a:lnTo>
                    <a:lnTo>
                      <a:pt x="100" y="539"/>
                    </a:lnTo>
                    <a:lnTo>
                      <a:pt x="98" y="541"/>
                    </a:lnTo>
                    <a:lnTo>
                      <a:pt x="100" y="543"/>
                    </a:lnTo>
                    <a:lnTo>
                      <a:pt x="98" y="544"/>
                    </a:lnTo>
                    <a:lnTo>
                      <a:pt x="96" y="544"/>
                    </a:lnTo>
                    <a:lnTo>
                      <a:pt x="93" y="546"/>
                    </a:lnTo>
                    <a:lnTo>
                      <a:pt x="88" y="544"/>
                    </a:lnTo>
                    <a:lnTo>
                      <a:pt x="83" y="546"/>
                    </a:lnTo>
                    <a:lnTo>
                      <a:pt x="81" y="544"/>
                    </a:lnTo>
                    <a:lnTo>
                      <a:pt x="78" y="546"/>
                    </a:lnTo>
                    <a:lnTo>
                      <a:pt x="78" y="548"/>
                    </a:lnTo>
                    <a:lnTo>
                      <a:pt x="76" y="548"/>
                    </a:lnTo>
                    <a:lnTo>
                      <a:pt x="73" y="548"/>
                    </a:lnTo>
                    <a:lnTo>
                      <a:pt x="73" y="549"/>
                    </a:lnTo>
                    <a:lnTo>
                      <a:pt x="69" y="549"/>
                    </a:lnTo>
                    <a:lnTo>
                      <a:pt x="62" y="548"/>
                    </a:lnTo>
                    <a:lnTo>
                      <a:pt x="61" y="549"/>
                    </a:lnTo>
                    <a:lnTo>
                      <a:pt x="61" y="548"/>
                    </a:lnTo>
                    <a:lnTo>
                      <a:pt x="59" y="548"/>
                    </a:lnTo>
                    <a:lnTo>
                      <a:pt x="56" y="549"/>
                    </a:lnTo>
                    <a:lnTo>
                      <a:pt x="54" y="548"/>
                    </a:lnTo>
                    <a:lnTo>
                      <a:pt x="51" y="549"/>
                    </a:lnTo>
                    <a:lnTo>
                      <a:pt x="49" y="548"/>
                    </a:lnTo>
                    <a:lnTo>
                      <a:pt x="47" y="546"/>
                    </a:lnTo>
                    <a:lnTo>
                      <a:pt x="45" y="546"/>
                    </a:lnTo>
                    <a:lnTo>
                      <a:pt x="44" y="548"/>
                    </a:lnTo>
                    <a:lnTo>
                      <a:pt x="40" y="548"/>
                    </a:lnTo>
                    <a:lnTo>
                      <a:pt x="39" y="548"/>
                    </a:lnTo>
                    <a:lnTo>
                      <a:pt x="39" y="549"/>
                    </a:lnTo>
                    <a:lnTo>
                      <a:pt x="39" y="551"/>
                    </a:lnTo>
                    <a:lnTo>
                      <a:pt x="39" y="553"/>
                    </a:lnTo>
                    <a:lnTo>
                      <a:pt x="37" y="553"/>
                    </a:lnTo>
                    <a:lnTo>
                      <a:pt x="37" y="556"/>
                    </a:lnTo>
                    <a:lnTo>
                      <a:pt x="35" y="558"/>
                    </a:lnTo>
                    <a:lnTo>
                      <a:pt x="35" y="560"/>
                    </a:lnTo>
                    <a:lnTo>
                      <a:pt x="35" y="561"/>
                    </a:lnTo>
                    <a:lnTo>
                      <a:pt x="34" y="563"/>
                    </a:lnTo>
                    <a:lnTo>
                      <a:pt x="32" y="563"/>
                    </a:lnTo>
                    <a:lnTo>
                      <a:pt x="30" y="565"/>
                    </a:lnTo>
                    <a:lnTo>
                      <a:pt x="32" y="568"/>
                    </a:lnTo>
                    <a:lnTo>
                      <a:pt x="28" y="572"/>
                    </a:lnTo>
                    <a:lnTo>
                      <a:pt x="28" y="570"/>
                    </a:lnTo>
                    <a:lnTo>
                      <a:pt x="28" y="572"/>
                    </a:lnTo>
                    <a:lnTo>
                      <a:pt x="27" y="560"/>
                    </a:lnTo>
                    <a:lnTo>
                      <a:pt x="30" y="549"/>
                    </a:lnTo>
                    <a:lnTo>
                      <a:pt x="32" y="543"/>
                    </a:lnTo>
                    <a:lnTo>
                      <a:pt x="35" y="531"/>
                    </a:lnTo>
                    <a:lnTo>
                      <a:pt x="40" y="519"/>
                    </a:lnTo>
                    <a:lnTo>
                      <a:pt x="45" y="509"/>
                    </a:lnTo>
                    <a:lnTo>
                      <a:pt x="49" y="498"/>
                    </a:lnTo>
                    <a:lnTo>
                      <a:pt x="51" y="488"/>
                    </a:lnTo>
                    <a:lnTo>
                      <a:pt x="52" y="473"/>
                    </a:lnTo>
                    <a:lnTo>
                      <a:pt x="52" y="471"/>
                    </a:lnTo>
                    <a:lnTo>
                      <a:pt x="52" y="464"/>
                    </a:lnTo>
                    <a:lnTo>
                      <a:pt x="51" y="449"/>
                    </a:lnTo>
                    <a:lnTo>
                      <a:pt x="47" y="439"/>
                    </a:lnTo>
                    <a:lnTo>
                      <a:pt x="44" y="425"/>
                    </a:lnTo>
                    <a:lnTo>
                      <a:pt x="39" y="417"/>
                    </a:lnTo>
                    <a:lnTo>
                      <a:pt x="35" y="412"/>
                    </a:lnTo>
                    <a:lnTo>
                      <a:pt x="30" y="408"/>
                    </a:lnTo>
                    <a:lnTo>
                      <a:pt x="28" y="403"/>
                    </a:lnTo>
                    <a:lnTo>
                      <a:pt x="27" y="403"/>
                    </a:lnTo>
                    <a:lnTo>
                      <a:pt x="28" y="401"/>
                    </a:lnTo>
                    <a:lnTo>
                      <a:pt x="28" y="403"/>
                    </a:lnTo>
                    <a:lnTo>
                      <a:pt x="28" y="401"/>
                    </a:lnTo>
                    <a:lnTo>
                      <a:pt x="28" y="403"/>
                    </a:lnTo>
                    <a:lnTo>
                      <a:pt x="30" y="403"/>
                    </a:lnTo>
                    <a:lnTo>
                      <a:pt x="34" y="401"/>
                    </a:lnTo>
                    <a:lnTo>
                      <a:pt x="35" y="400"/>
                    </a:lnTo>
                    <a:lnTo>
                      <a:pt x="39" y="395"/>
                    </a:lnTo>
                    <a:lnTo>
                      <a:pt x="37" y="395"/>
                    </a:lnTo>
                    <a:lnTo>
                      <a:pt x="34" y="398"/>
                    </a:lnTo>
                    <a:lnTo>
                      <a:pt x="35" y="395"/>
                    </a:lnTo>
                    <a:lnTo>
                      <a:pt x="34" y="396"/>
                    </a:lnTo>
                    <a:lnTo>
                      <a:pt x="34" y="400"/>
                    </a:lnTo>
                    <a:lnTo>
                      <a:pt x="32" y="400"/>
                    </a:lnTo>
                    <a:lnTo>
                      <a:pt x="32" y="401"/>
                    </a:lnTo>
                    <a:lnTo>
                      <a:pt x="30" y="400"/>
                    </a:lnTo>
                    <a:lnTo>
                      <a:pt x="32" y="395"/>
                    </a:lnTo>
                    <a:lnTo>
                      <a:pt x="35" y="390"/>
                    </a:lnTo>
                    <a:lnTo>
                      <a:pt x="34" y="391"/>
                    </a:lnTo>
                    <a:lnTo>
                      <a:pt x="35" y="386"/>
                    </a:lnTo>
                    <a:lnTo>
                      <a:pt x="37" y="384"/>
                    </a:lnTo>
                    <a:lnTo>
                      <a:pt x="39" y="384"/>
                    </a:lnTo>
                    <a:lnTo>
                      <a:pt x="39" y="386"/>
                    </a:lnTo>
                    <a:lnTo>
                      <a:pt x="40" y="384"/>
                    </a:lnTo>
                    <a:lnTo>
                      <a:pt x="39" y="384"/>
                    </a:lnTo>
                    <a:lnTo>
                      <a:pt x="40" y="383"/>
                    </a:lnTo>
                    <a:lnTo>
                      <a:pt x="40" y="379"/>
                    </a:lnTo>
                    <a:lnTo>
                      <a:pt x="40" y="378"/>
                    </a:lnTo>
                    <a:lnTo>
                      <a:pt x="40" y="376"/>
                    </a:lnTo>
                    <a:lnTo>
                      <a:pt x="39" y="378"/>
                    </a:lnTo>
                    <a:lnTo>
                      <a:pt x="39" y="376"/>
                    </a:lnTo>
                    <a:lnTo>
                      <a:pt x="42" y="371"/>
                    </a:lnTo>
                    <a:lnTo>
                      <a:pt x="42" y="369"/>
                    </a:lnTo>
                    <a:lnTo>
                      <a:pt x="42" y="367"/>
                    </a:lnTo>
                    <a:lnTo>
                      <a:pt x="40" y="364"/>
                    </a:lnTo>
                    <a:lnTo>
                      <a:pt x="42" y="364"/>
                    </a:lnTo>
                    <a:lnTo>
                      <a:pt x="44" y="361"/>
                    </a:lnTo>
                    <a:lnTo>
                      <a:pt x="42" y="357"/>
                    </a:lnTo>
                    <a:lnTo>
                      <a:pt x="40" y="357"/>
                    </a:lnTo>
                    <a:lnTo>
                      <a:pt x="37" y="350"/>
                    </a:lnTo>
                    <a:lnTo>
                      <a:pt x="35" y="350"/>
                    </a:lnTo>
                    <a:lnTo>
                      <a:pt x="35" y="349"/>
                    </a:lnTo>
                    <a:lnTo>
                      <a:pt x="34" y="345"/>
                    </a:lnTo>
                    <a:lnTo>
                      <a:pt x="32" y="340"/>
                    </a:lnTo>
                    <a:lnTo>
                      <a:pt x="32" y="339"/>
                    </a:lnTo>
                    <a:lnTo>
                      <a:pt x="28" y="337"/>
                    </a:lnTo>
                    <a:lnTo>
                      <a:pt x="28" y="335"/>
                    </a:lnTo>
                    <a:lnTo>
                      <a:pt x="27" y="333"/>
                    </a:lnTo>
                    <a:lnTo>
                      <a:pt x="27" y="344"/>
                    </a:lnTo>
                    <a:lnTo>
                      <a:pt x="20" y="337"/>
                    </a:lnTo>
                    <a:lnTo>
                      <a:pt x="20" y="333"/>
                    </a:lnTo>
                    <a:lnTo>
                      <a:pt x="18" y="333"/>
                    </a:lnTo>
                    <a:lnTo>
                      <a:pt x="17" y="330"/>
                    </a:lnTo>
                    <a:lnTo>
                      <a:pt x="15" y="328"/>
                    </a:lnTo>
                    <a:lnTo>
                      <a:pt x="15" y="325"/>
                    </a:lnTo>
                    <a:lnTo>
                      <a:pt x="13" y="323"/>
                    </a:lnTo>
                    <a:lnTo>
                      <a:pt x="11" y="322"/>
                    </a:lnTo>
                    <a:lnTo>
                      <a:pt x="10" y="320"/>
                    </a:lnTo>
                    <a:lnTo>
                      <a:pt x="8" y="315"/>
                    </a:lnTo>
                    <a:lnTo>
                      <a:pt x="8" y="311"/>
                    </a:lnTo>
                    <a:lnTo>
                      <a:pt x="6" y="313"/>
                    </a:lnTo>
                    <a:lnTo>
                      <a:pt x="6" y="315"/>
                    </a:lnTo>
                    <a:lnTo>
                      <a:pt x="5" y="315"/>
                    </a:lnTo>
                    <a:lnTo>
                      <a:pt x="3" y="318"/>
                    </a:lnTo>
                    <a:lnTo>
                      <a:pt x="3" y="320"/>
                    </a:lnTo>
                    <a:lnTo>
                      <a:pt x="3" y="318"/>
                    </a:lnTo>
                    <a:lnTo>
                      <a:pt x="1" y="318"/>
                    </a:lnTo>
                    <a:lnTo>
                      <a:pt x="1" y="320"/>
                    </a:lnTo>
                    <a:lnTo>
                      <a:pt x="3" y="320"/>
                    </a:lnTo>
                    <a:lnTo>
                      <a:pt x="3" y="322"/>
                    </a:lnTo>
                    <a:lnTo>
                      <a:pt x="3" y="325"/>
                    </a:lnTo>
                    <a:lnTo>
                      <a:pt x="1" y="325"/>
                    </a:lnTo>
                    <a:lnTo>
                      <a:pt x="0" y="327"/>
                    </a:lnTo>
                    <a:lnTo>
                      <a:pt x="1" y="328"/>
                    </a:lnTo>
                    <a:lnTo>
                      <a:pt x="1" y="332"/>
                    </a:lnTo>
                    <a:lnTo>
                      <a:pt x="0" y="325"/>
                    </a:lnTo>
                    <a:lnTo>
                      <a:pt x="6" y="303"/>
                    </a:lnTo>
                    <a:lnTo>
                      <a:pt x="66" y="303"/>
                    </a:lnTo>
                    <a:lnTo>
                      <a:pt x="115" y="303"/>
                    </a:lnTo>
                    <a:lnTo>
                      <a:pt x="144" y="303"/>
                    </a:lnTo>
                    <a:lnTo>
                      <a:pt x="205" y="305"/>
                    </a:lnTo>
                    <a:lnTo>
                      <a:pt x="204" y="288"/>
                    </a:lnTo>
                    <a:lnTo>
                      <a:pt x="198" y="238"/>
                    </a:lnTo>
                    <a:lnTo>
                      <a:pt x="198" y="233"/>
                    </a:lnTo>
                    <a:lnTo>
                      <a:pt x="200" y="225"/>
                    </a:lnTo>
                    <a:lnTo>
                      <a:pt x="205" y="219"/>
                    </a:lnTo>
                    <a:lnTo>
                      <a:pt x="207" y="216"/>
                    </a:lnTo>
                    <a:lnTo>
                      <a:pt x="227" y="204"/>
                    </a:lnTo>
                    <a:lnTo>
                      <a:pt x="239" y="202"/>
                    </a:lnTo>
                    <a:lnTo>
                      <a:pt x="249" y="197"/>
                    </a:lnTo>
                    <a:lnTo>
                      <a:pt x="256" y="196"/>
                    </a:lnTo>
                    <a:lnTo>
                      <a:pt x="256" y="145"/>
                    </a:lnTo>
                    <a:lnTo>
                      <a:pt x="256" y="117"/>
                    </a:lnTo>
                    <a:lnTo>
                      <a:pt x="256" y="68"/>
                    </a:lnTo>
                    <a:lnTo>
                      <a:pt x="314" y="66"/>
                    </a:lnTo>
                    <a:lnTo>
                      <a:pt x="425" y="66"/>
                    </a:lnTo>
                    <a:lnTo>
                      <a:pt x="425" y="37"/>
                    </a:lnTo>
                    <a:lnTo>
                      <a:pt x="425" y="22"/>
                    </a:lnTo>
                    <a:lnTo>
                      <a:pt x="425" y="0"/>
                    </a:lnTo>
                    <a:close/>
                    <a:moveTo>
                      <a:pt x="37" y="379"/>
                    </a:moveTo>
                    <a:lnTo>
                      <a:pt x="37" y="381"/>
                    </a:lnTo>
                    <a:lnTo>
                      <a:pt x="35" y="383"/>
                    </a:lnTo>
                    <a:lnTo>
                      <a:pt x="35" y="386"/>
                    </a:lnTo>
                    <a:lnTo>
                      <a:pt x="32" y="391"/>
                    </a:lnTo>
                    <a:lnTo>
                      <a:pt x="30" y="390"/>
                    </a:lnTo>
                    <a:lnTo>
                      <a:pt x="30" y="386"/>
                    </a:lnTo>
                    <a:lnTo>
                      <a:pt x="28" y="388"/>
                    </a:lnTo>
                    <a:lnTo>
                      <a:pt x="28" y="384"/>
                    </a:lnTo>
                    <a:lnTo>
                      <a:pt x="30" y="384"/>
                    </a:lnTo>
                    <a:lnTo>
                      <a:pt x="32" y="384"/>
                    </a:lnTo>
                    <a:lnTo>
                      <a:pt x="32" y="379"/>
                    </a:lnTo>
                    <a:lnTo>
                      <a:pt x="34" y="379"/>
                    </a:lnTo>
                    <a:lnTo>
                      <a:pt x="35" y="378"/>
                    </a:lnTo>
                    <a:lnTo>
                      <a:pt x="37" y="379"/>
                    </a:lnTo>
                    <a:close/>
                    <a:moveTo>
                      <a:pt x="30" y="340"/>
                    </a:moveTo>
                    <a:lnTo>
                      <a:pt x="30" y="342"/>
                    </a:lnTo>
                    <a:lnTo>
                      <a:pt x="30" y="340"/>
                    </a:lnTo>
                    <a:close/>
                    <a:moveTo>
                      <a:pt x="35" y="383"/>
                    </a:moveTo>
                    <a:lnTo>
                      <a:pt x="37" y="383"/>
                    </a:lnTo>
                    <a:lnTo>
                      <a:pt x="37" y="386"/>
                    </a:lnTo>
                    <a:lnTo>
                      <a:pt x="35" y="386"/>
                    </a:lnTo>
                    <a:lnTo>
                      <a:pt x="35" y="383"/>
                    </a:lnTo>
                    <a:close/>
                    <a:moveTo>
                      <a:pt x="28" y="339"/>
                    </a:moveTo>
                    <a:lnTo>
                      <a:pt x="28" y="340"/>
                    </a:lnTo>
                    <a:lnTo>
                      <a:pt x="28" y="339"/>
                    </a:lnTo>
                    <a:close/>
                    <a:moveTo>
                      <a:pt x="28" y="339"/>
                    </a:moveTo>
                    <a:lnTo>
                      <a:pt x="28" y="342"/>
                    </a:lnTo>
                    <a:lnTo>
                      <a:pt x="28" y="339"/>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46" name="Freeform 42">
                <a:extLst>
                  <a:ext uri="{FF2B5EF4-FFF2-40B4-BE49-F238E27FC236}">
                    <a16:creationId xmlns:a16="http://schemas.microsoft.com/office/drawing/2014/main" id="{C5723B6D-2CFE-4BB9-890D-5E96D96D7BEC}"/>
                  </a:ext>
                </a:extLst>
              </p:cNvPr>
              <p:cNvSpPr>
                <a:spLocks/>
              </p:cNvSpPr>
              <p:nvPr/>
            </p:nvSpPr>
            <p:spPr bwMode="gray">
              <a:xfrm>
                <a:off x="3517900" y="565150"/>
                <a:ext cx="976312" cy="663576"/>
              </a:xfrm>
              <a:custGeom>
                <a:avLst/>
                <a:gdLst>
                  <a:gd name="T0" fmla="*/ 399 w 615"/>
                  <a:gd name="T1" fmla="*/ 11 h 418"/>
                  <a:gd name="T2" fmla="*/ 413 w 615"/>
                  <a:gd name="T3" fmla="*/ 25 h 418"/>
                  <a:gd name="T4" fmla="*/ 433 w 615"/>
                  <a:gd name="T5" fmla="*/ 37 h 418"/>
                  <a:gd name="T6" fmla="*/ 462 w 615"/>
                  <a:gd name="T7" fmla="*/ 34 h 418"/>
                  <a:gd name="T8" fmla="*/ 477 w 615"/>
                  <a:gd name="T9" fmla="*/ 32 h 418"/>
                  <a:gd name="T10" fmla="*/ 508 w 615"/>
                  <a:gd name="T11" fmla="*/ 32 h 418"/>
                  <a:gd name="T12" fmla="*/ 518 w 615"/>
                  <a:gd name="T13" fmla="*/ 25 h 418"/>
                  <a:gd name="T14" fmla="*/ 518 w 615"/>
                  <a:gd name="T15" fmla="*/ 34 h 418"/>
                  <a:gd name="T16" fmla="*/ 525 w 615"/>
                  <a:gd name="T17" fmla="*/ 40 h 418"/>
                  <a:gd name="T18" fmla="*/ 539 w 615"/>
                  <a:gd name="T19" fmla="*/ 42 h 418"/>
                  <a:gd name="T20" fmla="*/ 564 w 615"/>
                  <a:gd name="T21" fmla="*/ 51 h 418"/>
                  <a:gd name="T22" fmla="*/ 576 w 615"/>
                  <a:gd name="T23" fmla="*/ 57 h 418"/>
                  <a:gd name="T24" fmla="*/ 579 w 615"/>
                  <a:gd name="T25" fmla="*/ 71 h 418"/>
                  <a:gd name="T26" fmla="*/ 581 w 615"/>
                  <a:gd name="T27" fmla="*/ 103 h 418"/>
                  <a:gd name="T28" fmla="*/ 586 w 615"/>
                  <a:gd name="T29" fmla="*/ 117 h 418"/>
                  <a:gd name="T30" fmla="*/ 583 w 615"/>
                  <a:gd name="T31" fmla="*/ 132 h 418"/>
                  <a:gd name="T32" fmla="*/ 590 w 615"/>
                  <a:gd name="T33" fmla="*/ 149 h 418"/>
                  <a:gd name="T34" fmla="*/ 605 w 615"/>
                  <a:gd name="T35" fmla="*/ 185 h 418"/>
                  <a:gd name="T36" fmla="*/ 608 w 615"/>
                  <a:gd name="T37" fmla="*/ 192 h 418"/>
                  <a:gd name="T38" fmla="*/ 568 w 615"/>
                  <a:gd name="T39" fmla="*/ 190 h 418"/>
                  <a:gd name="T40" fmla="*/ 539 w 615"/>
                  <a:gd name="T41" fmla="*/ 190 h 418"/>
                  <a:gd name="T42" fmla="*/ 501 w 615"/>
                  <a:gd name="T43" fmla="*/ 214 h 418"/>
                  <a:gd name="T44" fmla="*/ 476 w 615"/>
                  <a:gd name="T45" fmla="*/ 233 h 418"/>
                  <a:gd name="T46" fmla="*/ 476 w 615"/>
                  <a:gd name="T47" fmla="*/ 243 h 418"/>
                  <a:gd name="T48" fmla="*/ 481 w 615"/>
                  <a:gd name="T49" fmla="*/ 239 h 418"/>
                  <a:gd name="T50" fmla="*/ 483 w 615"/>
                  <a:gd name="T51" fmla="*/ 243 h 418"/>
                  <a:gd name="T52" fmla="*/ 486 w 615"/>
                  <a:gd name="T53" fmla="*/ 251 h 418"/>
                  <a:gd name="T54" fmla="*/ 435 w 615"/>
                  <a:gd name="T55" fmla="*/ 285 h 418"/>
                  <a:gd name="T56" fmla="*/ 398 w 615"/>
                  <a:gd name="T57" fmla="*/ 311 h 418"/>
                  <a:gd name="T58" fmla="*/ 381 w 615"/>
                  <a:gd name="T59" fmla="*/ 328 h 418"/>
                  <a:gd name="T60" fmla="*/ 375 w 615"/>
                  <a:gd name="T61" fmla="*/ 319 h 418"/>
                  <a:gd name="T62" fmla="*/ 353 w 615"/>
                  <a:gd name="T63" fmla="*/ 326 h 418"/>
                  <a:gd name="T64" fmla="*/ 340 w 615"/>
                  <a:gd name="T65" fmla="*/ 324 h 418"/>
                  <a:gd name="T66" fmla="*/ 321 w 615"/>
                  <a:gd name="T67" fmla="*/ 326 h 418"/>
                  <a:gd name="T68" fmla="*/ 296 w 615"/>
                  <a:gd name="T69" fmla="*/ 330 h 418"/>
                  <a:gd name="T70" fmla="*/ 273 w 615"/>
                  <a:gd name="T71" fmla="*/ 336 h 418"/>
                  <a:gd name="T72" fmla="*/ 228 w 615"/>
                  <a:gd name="T73" fmla="*/ 386 h 418"/>
                  <a:gd name="T74" fmla="*/ 109 w 615"/>
                  <a:gd name="T75" fmla="*/ 416 h 418"/>
                  <a:gd name="T76" fmla="*/ 0 w 615"/>
                  <a:gd name="T77" fmla="*/ 416 h 418"/>
                  <a:gd name="T78" fmla="*/ 47 w 615"/>
                  <a:gd name="T79" fmla="*/ 398 h 418"/>
                  <a:gd name="T80" fmla="*/ 47 w 615"/>
                  <a:gd name="T81" fmla="*/ 398 h 418"/>
                  <a:gd name="T82" fmla="*/ 92 w 615"/>
                  <a:gd name="T83" fmla="*/ 377 h 418"/>
                  <a:gd name="T84" fmla="*/ 137 w 615"/>
                  <a:gd name="T85" fmla="*/ 345 h 418"/>
                  <a:gd name="T86" fmla="*/ 161 w 615"/>
                  <a:gd name="T87" fmla="*/ 316 h 418"/>
                  <a:gd name="T88" fmla="*/ 178 w 615"/>
                  <a:gd name="T89" fmla="*/ 279 h 418"/>
                  <a:gd name="T90" fmla="*/ 170 w 615"/>
                  <a:gd name="T91" fmla="*/ 258 h 418"/>
                  <a:gd name="T92" fmla="*/ 168 w 615"/>
                  <a:gd name="T93" fmla="*/ 243 h 418"/>
                  <a:gd name="T94" fmla="*/ 177 w 615"/>
                  <a:gd name="T95" fmla="*/ 217 h 418"/>
                  <a:gd name="T96" fmla="*/ 197 w 615"/>
                  <a:gd name="T97" fmla="*/ 185 h 418"/>
                  <a:gd name="T98" fmla="*/ 197 w 615"/>
                  <a:gd name="T99" fmla="*/ 171 h 418"/>
                  <a:gd name="T100" fmla="*/ 229 w 615"/>
                  <a:gd name="T101" fmla="*/ 141 h 418"/>
                  <a:gd name="T102" fmla="*/ 239 w 615"/>
                  <a:gd name="T103" fmla="*/ 134 h 418"/>
                  <a:gd name="T104" fmla="*/ 279 w 615"/>
                  <a:gd name="T105" fmla="*/ 117 h 418"/>
                  <a:gd name="T106" fmla="*/ 292 w 615"/>
                  <a:gd name="T107" fmla="*/ 112 h 418"/>
                  <a:gd name="T108" fmla="*/ 311 w 615"/>
                  <a:gd name="T109" fmla="*/ 103 h 418"/>
                  <a:gd name="T110" fmla="*/ 336 w 615"/>
                  <a:gd name="T111" fmla="*/ 74 h 418"/>
                  <a:gd name="T112" fmla="*/ 358 w 615"/>
                  <a:gd name="T113" fmla="*/ 27 h 418"/>
                  <a:gd name="T114" fmla="*/ 374 w 615"/>
                  <a:gd name="T115" fmla="*/ 6 h 418"/>
                  <a:gd name="T116" fmla="*/ 389 w 615"/>
                  <a:gd name="T117" fmla="*/ 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5" h="418">
                    <a:moveTo>
                      <a:pt x="394" y="0"/>
                    </a:moveTo>
                    <a:lnTo>
                      <a:pt x="394" y="1"/>
                    </a:lnTo>
                    <a:lnTo>
                      <a:pt x="396" y="1"/>
                    </a:lnTo>
                    <a:lnTo>
                      <a:pt x="396" y="10"/>
                    </a:lnTo>
                    <a:lnTo>
                      <a:pt x="398" y="11"/>
                    </a:lnTo>
                    <a:lnTo>
                      <a:pt x="399" y="11"/>
                    </a:lnTo>
                    <a:lnTo>
                      <a:pt x="399" y="13"/>
                    </a:lnTo>
                    <a:lnTo>
                      <a:pt x="401" y="18"/>
                    </a:lnTo>
                    <a:lnTo>
                      <a:pt x="404" y="18"/>
                    </a:lnTo>
                    <a:lnTo>
                      <a:pt x="408" y="22"/>
                    </a:lnTo>
                    <a:lnTo>
                      <a:pt x="411" y="25"/>
                    </a:lnTo>
                    <a:lnTo>
                      <a:pt x="413" y="25"/>
                    </a:lnTo>
                    <a:lnTo>
                      <a:pt x="418" y="30"/>
                    </a:lnTo>
                    <a:lnTo>
                      <a:pt x="420" y="30"/>
                    </a:lnTo>
                    <a:lnTo>
                      <a:pt x="426" y="35"/>
                    </a:lnTo>
                    <a:lnTo>
                      <a:pt x="430" y="35"/>
                    </a:lnTo>
                    <a:lnTo>
                      <a:pt x="432" y="35"/>
                    </a:lnTo>
                    <a:lnTo>
                      <a:pt x="433" y="37"/>
                    </a:lnTo>
                    <a:lnTo>
                      <a:pt x="440" y="37"/>
                    </a:lnTo>
                    <a:lnTo>
                      <a:pt x="442" y="39"/>
                    </a:lnTo>
                    <a:lnTo>
                      <a:pt x="447" y="39"/>
                    </a:lnTo>
                    <a:lnTo>
                      <a:pt x="450" y="37"/>
                    </a:lnTo>
                    <a:lnTo>
                      <a:pt x="457" y="35"/>
                    </a:lnTo>
                    <a:lnTo>
                      <a:pt x="462" y="34"/>
                    </a:lnTo>
                    <a:lnTo>
                      <a:pt x="466" y="34"/>
                    </a:lnTo>
                    <a:lnTo>
                      <a:pt x="467" y="32"/>
                    </a:lnTo>
                    <a:lnTo>
                      <a:pt x="469" y="35"/>
                    </a:lnTo>
                    <a:lnTo>
                      <a:pt x="474" y="35"/>
                    </a:lnTo>
                    <a:lnTo>
                      <a:pt x="476" y="35"/>
                    </a:lnTo>
                    <a:lnTo>
                      <a:pt x="477" y="32"/>
                    </a:lnTo>
                    <a:lnTo>
                      <a:pt x="479" y="32"/>
                    </a:lnTo>
                    <a:lnTo>
                      <a:pt x="481" y="32"/>
                    </a:lnTo>
                    <a:lnTo>
                      <a:pt x="486" y="35"/>
                    </a:lnTo>
                    <a:lnTo>
                      <a:pt x="498" y="37"/>
                    </a:lnTo>
                    <a:lnTo>
                      <a:pt x="505" y="34"/>
                    </a:lnTo>
                    <a:lnTo>
                      <a:pt x="508" y="32"/>
                    </a:lnTo>
                    <a:lnTo>
                      <a:pt x="510" y="32"/>
                    </a:lnTo>
                    <a:lnTo>
                      <a:pt x="511" y="32"/>
                    </a:lnTo>
                    <a:lnTo>
                      <a:pt x="515" y="27"/>
                    </a:lnTo>
                    <a:lnTo>
                      <a:pt x="515" y="23"/>
                    </a:lnTo>
                    <a:lnTo>
                      <a:pt x="517" y="23"/>
                    </a:lnTo>
                    <a:lnTo>
                      <a:pt x="518" y="25"/>
                    </a:lnTo>
                    <a:lnTo>
                      <a:pt x="517" y="27"/>
                    </a:lnTo>
                    <a:lnTo>
                      <a:pt x="517" y="30"/>
                    </a:lnTo>
                    <a:lnTo>
                      <a:pt x="517" y="32"/>
                    </a:lnTo>
                    <a:lnTo>
                      <a:pt x="518" y="32"/>
                    </a:lnTo>
                    <a:lnTo>
                      <a:pt x="523" y="35"/>
                    </a:lnTo>
                    <a:lnTo>
                      <a:pt x="518" y="34"/>
                    </a:lnTo>
                    <a:lnTo>
                      <a:pt x="518" y="35"/>
                    </a:lnTo>
                    <a:lnTo>
                      <a:pt x="520" y="35"/>
                    </a:lnTo>
                    <a:lnTo>
                      <a:pt x="518" y="35"/>
                    </a:lnTo>
                    <a:lnTo>
                      <a:pt x="518" y="37"/>
                    </a:lnTo>
                    <a:lnTo>
                      <a:pt x="522" y="39"/>
                    </a:lnTo>
                    <a:lnTo>
                      <a:pt x="525" y="40"/>
                    </a:lnTo>
                    <a:lnTo>
                      <a:pt x="527" y="40"/>
                    </a:lnTo>
                    <a:lnTo>
                      <a:pt x="528" y="40"/>
                    </a:lnTo>
                    <a:lnTo>
                      <a:pt x="523" y="37"/>
                    </a:lnTo>
                    <a:lnTo>
                      <a:pt x="528" y="40"/>
                    </a:lnTo>
                    <a:lnTo>
                      <a:pt x="534" y="42"/>
                    </a:lnTo>
                    <a:lnTo>
                      <a:pt x="539" y="42"/>
                    </a:lnTo>
                    <a:lnTo>
                      <a:pt x="544" y="39"/>
                    </a:lnTo>
                    <a:lnTo>
                      <a:pt x="556" y="42"/>
                    </a:lnTo>
                    <a:lnTo>
                      <a:pt x="554" y="44"/>
                    </a:lnTo>
                    <a:lnTo>
                      <a:pt x="557" y="45"/>
                    </a:lnTo>
                    <a:lnTo>
                      <a:pt x="559" y="45"/>
                    </a:lnTo>
                    <a:lnTo>
                      <a:pt x="564" y="51"/>
                    </a:lnTo>
                    <a:lnTo>
                      <a:pt x="568" y="49"/>
                    </a:lnTo>
                    <a:lnTo>
                      <a:pt x="568" y="52"/>
                    </a:lnTo>
                    <a:lnTo>
                      <a:pt x="571" y="54"/>
                    </a:lnTo>
                    <a:lnTo>
                      <a:pt x="571" y="56"/>
                    </a:lnTo>
                    <a:lnTo>
                      <a:pt x="574" y="57"/>
                    </a:lnTo>
                    <a:lnTo>
                      <a:pt x="576" y="57"/>
                    </a:lnTo>
                    <a:lnTo>
                      <a:pt x="574" y="57"/>
                    </a:lnTo>
                    <a:lnTo>
                      <a:pt x="579" y="59"/>
                    </a:lnTo>
                    <a:lnTo>
                      <a:pt x="578" y="61"/>
                    </a:lnTo>
                    <a:lnTo>
                      <a:pt x="573" y="66"/>
                    </a:lnTo>
                    <a:lnTo>
                      <a:pt x="574" y="66"/>
                    </a:lnTo>
                    <a:lnTo>
                      <a:pt x="579" y="71"/>
                    </a:lnTo>
                    <a:lnTo>
                      <a:pt x="581" y="71"/>
                    </a:lnTo>
                    <a:lnTo>
                      <a:pt x="576" y="76"/>
                    </a:lnTo>
                    <a:lnTo>
                      <a:pt x="581" y="81"/>
                    </a:lnTo>
                    <a:lnTo>
                      <a:pt x="579" y="85"/>
                    </a:lnTo>
                    <a:lnTo>
                      <a:pt x="583" y="91"/>
                    </a:lnTo>
                    <a:lnTo>
                      <a:pt x="581" y="103"/>
                    </a:lnTo>
                    <a:lnTo>
                      <a:pt x="583" y="108"/>
                    </a:lnTo>
                    <a:lnTo>
                      <a:pt x="579" y="112"/>
                    </a:lnTo>
                    <a:lnTo>
                      <a:pt x="581" y="114"/>
                    </a:lnTo>
                    <a:lnTo>
                      <a:pt x="583" y="114"/>
                    </a:lnTo>
                    <a:lnTo>
                      <a:pt x="585" y="115"/>
                    </a:lnTo>
                    <a:lnTo>
                      <a:pt x="586" y="117"/>
                    </a:lnTo>
                    <a:lnTo>
                      <a:pt x="586" y="119"/>
                    </a:lnTo>
                    <a:lnTo>
                      <a:pt x="586" y="120"/>
                    </a:lnTo>
                    <a:lnTo>
                      <a:pt x="585" y="122"/>
                    </a:lnTo>
                    <a:lnTo>
                      <a:pt x="585" y="125"/>
                    </a:lnTo>
                    <a:lnTo>
                      <a:pt x="583" y="129"/>
                    </a:lnTo>
                    <a:lnTo>
                      <a:pt x="583" y="132"/>
                    </a:lnTo>
                    <a:lnTo>
                      <a:pt x="586" y="137"/>
                    </a:lnTo>
                    <a:lnTo>
                      <a:pt x="588" y="141"/>
                    </a:lnTo>
                    <a:lnTo>
                      <a:pt x="591" y="144"/>
                    </a:lnTo>
                    <a:lnTo>
                      <a:pt x="593" y="146"/>
                    </a:lnTo>
                    <a:lnTo>
                      <a:pt x="591" y="149"/>
                    </a:lnTo>
                    <a:lnTo>
                      <a:pt x="590" y="149"/>
                    </a:lnTo>
                    <a:lnTo>
                      <a:pt x="596" y="159"/>
                    </a:lnTo>
                    <a:lnTo>
                      <a:pt x="607" y="166"/>
                    </a:lnTo>
                    <a:lnTo>
                      <a:pt x="612" y="171"/>
                    </a:lnTo>
                    <a:lnTo>
                      <a:pt x="615" y="171"/>
                    </a:lnTo>
                    <a:lnTo>
                      <a:pt x="607" y="180"/>
                    </a:lnTo>
                    <a:lnTo>
                      <a:pt x="605" y="185"/>
                    </a:lnTo>
                    <a:lnTo>
                      <a:pt x="603" y="185"/>
                    </a:lnTo>
                    <a:lnTo>
                      <a:pt x="603" y="188"/>
                    </a:lnTo>
                    <a:lnTo>
                      <a:pt x="602" y="190"/>
                    </a:lnTo>
                    <a:lnTo>
                      <a:pt x="605" y="188"/>
                    </a:lnTo>
                    <a:lnTo>
                      <a:pt x="607" y="190"/>
                    </a:lnTo>
                    <a:lnTo>
                      <a:pt x="608" y="192"/>
                    </a:lnTo>
                    <a:lnTo>
                      <a:pt x="605" y="193"/>
                    </a:lnTo>
                    <a:lnTo>
                      <a:pt x="596" y="193"/>
                    </a:lnTo>
                    <a:lnTo>
                      <a:pt x="588" y="192"/>
                    </a:lnTo>
                    <a:lnTo>
                      <a:pt x="579" y="192"/>
                    </a:lnTo>
                    <a:lnTo>
                      <a:pt x="571" y="190"/>
                    </a:lnTo>
                    <a:lnTo>
                      <a:pt x="568" y="190"/>
                    </a:lnTo>
                    <a:lnTo>
                      <a:pt x="566" y="190"/>
                    </a:lnTo>
                    <a:lnTo>
                      <a:pt x="559" y="192"/>
                    </a:lnTo>
                    <a:lnTo>
                      <a:pt x="554" y="190"/>
                    </a:lnTo>
                    <a:lnTo>
                      <a:pt x="551" y="192"/>
                    </a:lnTo>
                    <a:lnTo>
                      <a:pt x="540" y="190"/>
                    </a:lnTo>
                    <a:lnTo>
                      <a:pt x="539" y="190"/>
                    </a:lnTo>
                    <a:lnTo>
                      <a:pt x="535" y="192"/>
                    </a:lnTo>
                    <a:lnTo>
                      <a:pt x="520" y="192"/>
                    </a:lnTo>
                    <a:lnTo>
                      <a:pt x="518" y="197"/>
                    </a:lnTo>
                    <a:lnTo>
                      <a:pt x="523" y="204"/>
                    </a:lnTo>
                    <a:lnTo>
                      <a:pt x="523" y="209"/>
                    </a:lnTo>
                    <a:lnTo>
                      <a:pt x="501" y="214"/>
                    </a:lnTo>
                    <a:lnTo>
                      <a:pt x="481" y="217"/>
                    </a:lnTo>
                    <a:lnTo>
                      <a:pt x="481" y="229"/>
                    </a:lnTo>
                    <a:lnTo>
                      <a:pt x="483" y="229"/>
                    </a:lnTo>
                    <a:lnTo>
                      <a:pt x="479" y="231"/>
                    </a:lnTo>
                    <a:lnTo>
                      <a:pt x="477" y="231"/>
                    </a:lnTo>
                    <a:lnTo>
                      <a:pt x="476" y="233"/>
                    </a:lnTo>
                    <a:lnTo>
                      <a:pt x="476" y="234"/>
                    </a:lnTo>
                    <a:lnTo>
                      <a:pt x="477" y="234"/>
                    </a:lnTo>
                    <a:lnTo>
                      <a:pt x="476" y="236"/>
                    </a:lnTo>
                    <a:lnTo>
                      <a:pt x="477" y="239"/>
                    </a:lnTo>
                    <a:lnTo>
                      <a:pt x="476" y="241"/>
                    </a:lnTo>
                    <a:lnTo>
                      <a:pt x="476" y="243"/>
                    </a:lnTo>
                    <a:lnTo>
                      <a:pt x="477" y="243"/>
                    </a:lnTo>
                    <a:lnTo>
                      <a:pt x="479" y="241"/>
                    </a:lnTo>
                    <a:lnTo>
                      <a:pt x="477" y="241"/>
                    </a:lnTo>
                    <a:lnTo>
                      <a:pt x="479" y="241"/>
                    </a:lnTo>
                    <a:lnTo>
                      <a:pt x="479" y="239"/>
                    </a:lnTo>
                    <a:lnTo>
                      <a:pt x="481" y="239"/>
                    </a:lnTo>
                    <a:lnTo>
                      <a:pt x="481" y="241"/>
                    </a:lnTo>
                    <a:lnTo>
                      <a:pt x="481" y="245"/>
                    </a:lnTo>
                    <a:lnTo>
                      <a:pt x="483" y="245"/>
                    </a:lnTo>
                    <a:lnTo>
                      <a:pt x="481" y="243"/>
                    </a:lnTo>
                    <a:lnTo>
                      <a:pt x="483" y="245"/>
                    </a:lnTo>
                    <a:lnTo>
                      <a:pt x="483" y="243"/>
                    </a:lnTo>
                    <a:lnTo>
                      <a:pt x="484" y="243"/>
                    </a:lnTo>
                    <a:lnTo>
                      <a:pt x="486" y="246"/>
                    </a:lnTo>
                    <a:lnTo>
                      <a:pt x="488" y="246"/>
                    </a:lnTo>
                    <a:lnTo>
                      <a:pt x="488" y="250"/>
                    </a:lnTo>
                    <a:lnTo>
                      <a:pt x="486" y="253"/>
                    </a:lnTo>
                    <a:lnTo>
                      <a:pt x="486" y="251"/>
                    </a:lnTo>
                    <a:lnTo>
                      <a:pt x="476" y="260"/>
                    </a:lnTo>
                    <a:lnTo>
                      <a:pt x="472" y="268"/>
                    </a:lnTo>
                    <a:lnTo>
                      <a:pt x="462" y="270"/>
                    </a:lnTo>
                    <a:lnTo>
                      <a:pt x="459" y="272"/>
                    </a:lnTo>
                    <a:lnTo>
                      <a:pt x="449" y="273"/>
                    </a:lnTo>
                    <a:lnTo>
                      <a:pt x="435" y="285"/>
                    </a:lnTo>
                    <a:lnTo>
                      <a:pt x="413" y="296"/>
                    </a:lnTo>
                    <a:lnTo>
                      <a:pt x="409" y="299"/>
                    </a:lnTo>
                    <a:lnTo>
                      <a:pt x="406" y="299"/>
                    </a:lnTo>
                    <a:lnTo>
                      <a:pt x="399" y="304"/>
                    </a:lnTo>
                    <a:lnTo>
                      <a:pt x="398" y="309"/>
                    </a:lnTo>
                    <a:lnTo>
                      <a:pt x="398" y="311"/>
                    </a:lnTo>
                    <a:lnTo>
                      <a:pt x="392" y="313"/>
                    </a:lnTo>
                    <a:lnTo>
                      <a:pt x="389" y="316"/>
                    </a:lnTo>
                    <a:lnTo>
                      <a:pt x="386" y="324"/>
                    </a:lnTo>
                    <a:lnTo>
                      <a:pt x="386" y="326"/>
                    </a:lnTo>
                    <a:lnTo>
                      <a:pt x="382" y="328"/>
                    </a:lnTo>
                    <a:lnTo>
                      <a:pt x="381" y="328"/>
                    </a:lnTo>
                    <a:lnTo>
                      <a:pt x="381" y="326"/>
                    </a:lnTo>
                    <a:lnTo>
                      <a:pt x="381" y="324"/>
                    </a:lnTo>
                    <a:lnTo>
                      <a:pt x="379" y="323"/>
                    </a:lnTo>
                    <a:lnTo>
                      <a:pt x="375" y="324"/>
                    </a:lnTo>
                    <a:lnTo>
                      <a:pt x="377" y="321"/>
                    </a:lnTo>
                    <a:lnTo>
                      <a:pt x="375" y="319"/>
                    </a:lnTo>
                    <a:lnTo>
                      <a:pt x="374" y="321"/>
                    </a:lnTo>
                    <a:lnTo>
                      <a:pt x="374" y="323"/>
                    </a:lnTo>
                    <a:lnTo>
                      <a:pt x="369" y="324"/>
                    </a:lnTo>
                    <a:lnTo>
                      <a:pt x="364" y="324"/>
                    </a:lnTo>
                    <a:lnTo>
                      <a:pt x="360" y="324"/>
                    </a:lnTo>
                    <a:lnTo>
                      <a:pt x="353" y="326"/>
                    </a:lnTo>
                    <a:lnTo>
                      <a:pt x="352" y="326"/>
                    </a:lnTo>
                    <a:lnTo>
                      <a:pt x="350" y="324"/>
                    </a:lnTo>
                    <a:lnTo>
                      <a:pt x="347" y="324"/>
                    </a:lnTo>
                    <a:lnTo>
                      <a:pt x="343" y="323"/>
                    </a:lnTo>
                    <a:lnTo>
                      <a:pt x="341" y="324"/>
                    </a:lnTo>
                    <a:lnTo>
                      <a:pt x="340" y="324"/>
                    </a:lnTo>
                    <a:lnTo>
                      <a:pt x="340" y="323"/>
                    </a:lnTo>
                    <a:lnTo>
                      <a:pt x="336" y="323"/>
                    </a:lnTo>
                    <a:lnTo>
                      <a:pt x="331" y="323"/>
                    </a:lnTo>
                    <a:lnTo>
                      <a:pt x="326" y="324"/>
                    </a:lnTo>
                    <a:lnTo>
                      <a:pt x="324" y="326"/>
                    </a:lnTo>
                    <a:lnTo>
                      <a:pt x="321" y="326"/>
                    </a:lnTo>
                    <a:lnTo>
                      <a:pt x="318" y="326"/>
                    </a:lnTo>
                    <a:lnTo>
                      <a:pt x="318" y="324"/>
                    </a:lnTo>
                    <a:lnTo>
                      <a:pt x="311" y="324"/>
                    </a:lnTo>
                    <a:lnTo>
                      <a:pt x="304" y="323"/>
                    </a:lnTo>
                    <a:lnTo>
                      <a:pt x="299" y="326"/>
                    </a:lnTo>
                    <a:lnTo>
                      <a:pt x="296" y="330"/>
                    </a:lnTo>
                    <a:lnTo>
                      <a:pt x="287" y="331"/>
                    </a:lnTo>
                    <a:lnTo>
                      <a:pt x="282" y="331"/>
                    </a:lnTo>
                    <a:lnTo>
                      <a:pt x="280" y="331"/>
                    </a:lnTo>
                    <a:lnTo>
                      <a:pt x="280" y="335"/>
                    </a:lnTo>
                    <a:lnTo>
                      <a:pt x="279" y="335"/>
                    </a:lnTo>
                    <a:lnTo>
                      <a:pt x="273" y="336"/>
                    </a:lnTo>
                    <a:lnTo>
                      <a:pt x="265" y="341"/>
                    </a:lnTo>
                    <a:lnTo>
                      <a:pt x="263" y="343"/>
                    </a:lnTo>
                    <a:lnTo>
                      <a:pt x="250" y="352"/>
                    </a:lnTo>
                    <a:lnTo>
                      <a:pt x="239" y="360"/>
                    </a:lnTo>
                    <a:lnTo>
                      <a:pt x="228" y="364"/>
                    </a:lnTo>
                    <a:lnTo>
                      <a:pt x="228" y="386"/>
                    </a:lnTo>
                    <a:lnTo>
                      <a:pt x="228" y="399"/>
                    </a:lnTo>
                    <a:lnTo>
                      <a:pt x="228" y="418"/>
                    </a:lnTo>
                    <a:lnTo>
                      <a:pt x="197" y="418"/>
                    </a:lnTo>
                    <a:lnTo>
                      <a:pt x="153" y="418"/>
                    </a:lnTo>
                    <a:lnTo>
                      <a:pt x="126" y="416"/>
                    </a:lnTo>
                    <a:lnTo>
                      <a:pt x="109" y="416"/>
                    </a:lnTo>
                    <a:lnTo>
                      <a:pt x="80" y="416"/>
                    </a:lnTo>
                    <a:lnTo>
                      <a:pt x="68" y="416"/>
                    </a:lnTo>
                    <a:lnTo>
                      <a:pt x="59" y="416"/>
                    </a:lnTo>
                    <a:lnTo>
                      <a:pt x="29" y="416"/>
                    </a:lnTo>
                    <a:lnTo>
                      <a:pt x="10" y="416"/>
                    </a:lnTo>
                    <a:lnTo>
                      <a:pt x="0" y="416"/>
                    </a:lnTo>
                    <a:lnTo>
                      <a:pt x="7" y="413"/>
                    </a:lnTo>
                    <a:lnTo>
                      <a:pt x="8" y="411"/>
                    </a:lnTo>
                    <a:lnTo>
                      <a:pt x="10" y="406"/>
                    </a:lnTo>
                    <a:lnTo>
                      <a:pt x="13" y="403"/>
                    </a:lnTo>
                    <a:lnTo>
                      <a:pt x="30" y="401"/>
                    </a:lnTo>
                    <a:lnTo>
                      <a:pt x="47" y="398"/>
                    </a:lnTo>
                    <a:lnTo>
                      <a:pt x="44" y="399"/>
                    </a:lnTo>
                    <a:lnTo>
                      <a:pt x="42" y="403"/>
                    </a:lnTo>
                    <a:lnTo>
                      <a:pt x="46" y="401"/>
                    </a:lnTo>
                    <a:lnTo>
                      <a:pt x="46" y="399"/>
                    </a:lnTo>
                    <a:lnTo>
                      <a:pt x="47" y="399"/>
                    </a:lnTo>
                    <a:lnTo>
                      <a:pt x="47" y="398"/>
                    </a:lnTo>
                    <a:lnTo>
                      <a:pt x="56" y="396"/>
                    </a:lnTo>
                    <a:lnTo>
                      <a:pt x="63" y="393"/>
                    </a:lnTo>
                    <a:lnTo>
                      <a:pt x="85" y="386"/>
                    </a:lnTo>
                    <a:lnTo>
                      <a:pt x="86" y="384"/>
                    </a:lnTo>
                    <a:lnTo>
                      <a:pt x="88" y="382"/>
                    </a:lnTo>
                    <a:lnTo>
                      <a:pt x="92" y="377"/>
                    </a:lnTo>
                    <a:lnTo>
                      <a:pt x="92" y="375"/>
                    </a:lnTo>
                    <a:lnTo>
                      <a:pt x="103" y="367"/>
                    </a:lnTo>
                    <a:lnTo>
                      <a:pt x="107" y="364"/>
                    </a:lnTo>
                    <a:lnTo>
                      <a:pt x="124" y="355"/>
                    </a:lnTo>
                    <a:lnTo>
                      <a:pt x="134" y="350"/>
                    </a:lnTo>
                    <a:lnTo>
                      <a:pt x="137" y="345"/>
                    </a:lnTo>
                    <a:lnTo>
                      <a:pt x="144" y="338"/>
                    </a:lnTo>
                    <a:lnTo>
                      <a:pt x="149" y="335"/>
                    </a:lnTo>
                    <a:lnTo>
                      <a:pt x="151" y="331"/>
                    </a:lnTo>
                    <a:lnTo>
                      <a:pt x="156" y="324"/>
                    </a:lnTo>
                    <a:lnTo>
                      <a:pt x="158" y="321"/>
                    </a:lnTo>
                    <a:lnTo>
                      <a:pt x="161" y="316"/>
                    </a:lnTo>
                    <a:lnTo>
                      <a:pt x="168" y="309"/>
                    </a:lnTo>
                    <a:lnTo>
                      <a:pt x="171" y="306"/>
                    </a:lnTo>
                    <a:lnTo>
                      <a:pt x="178" y="294"/>
                    </a:lnTo>
                    <a:lnTo>
                      <a:pt x="180" y="279"/>
                    </a:lnTo>
                    <a:lnTo>
                      <a:pt x="178" y="277"/>
                    </a:lnTo>
                    <a:lnTo>
                      <a:pt x="178" y="279"/>
                    </a:lnTo>
                    <a:lnTo>
                      <a:pt x="175" y="272"/>
                    </a:lnTo>
                    <a:lnTo>
                      <a:pt x="173" y="272"/>
                    </a:lnTo>
                    <a:lnTo>
                      <a:pt x="171" y="268"/>
                    </a:lnTo>
                    <a:lnTo>
                      <a:pt x="166" y="267"/>
                    </a:lnTo>
                    <a:lnTo>
                      <a:pt x="166" y="263"/>
                    </a:lnTo>
                    <a:lnTo>
                      <a:pt x="170" y="258"/>
                    </a:lnTo>
                    <a:lnTo>
                      <a:pt x="170" y="256"/>
                    </a:lnTo>
                    <a:lnTo>
                      <a:pt x="170" y="255"/>
                    </a:lnTo>
                    <a:lnTo>
                      <a:pt x="170" y="251"/>
                    </a:lnTo>
                    <a:lnTo>
                      <a:pt x="170" y="248"/>
                    </a:lnTo>
                    <a:lnTo>
                      <a:pt x="170" y="245"/>
                    </a:lnTo>
                    <a:lnTo>
                      <a:pt x="168" y="243"/>
                    </a:lnTo>
                    <a:lnTo>
                      <a:pt x="171" y="233"/>
                    </a:lnTo>
                    <a:lnTo>
                      <a:pt x="170" y="229"/>
                    </a:lnTo>
                    <a:lnTo>
                      <a:pt x="168" y="229"/>
                    </a:lnTo>
                    <a:lnTo>
                      <a:pt x="173" y="224"/>
                    </a:lnTo>
                    <a:lnTo>
                      <a:pt x="171" y="222"/>
                    </a:lnTo>
                    <a:lnTo>
                      <a:pt x="177" y="217"/>
                    </a:lnTo>
                    <a:lnTo>
                      <a:pt x="177" y="214"/>
                    </a:lnTo>
                    <a:lnTo>
                      <a:pt x="194" y="197"/>
                    </a:lnTo>
                    <a:lnTo>
                      <a:pt x="195" y="192"/>
                    </a:lnTo>
                    <a:lnTo>
                      <a:pt x="199" y="188"/>
                    </a:lnTo>
                    <a:lnTo>
                      <a:pt x="199" y="187"/>
                    </a:lnTo>
                    <a:lnTo>
                      <a:pt x="197" y="185"/>
                    </a:lnTo>
                    <a:lnTo>
                      <a:pt x="199" y="183"/>
                    </a:lnTo>
                    <a:lnTo>
                      <a:pt x="197" y="182"/>
                    </a:lnTo>
                    <a:lnTo>
                      <a:pt x="197" y="180"/>
                    </a:lnTo>
                    <a:lnTo>
                      <a:pt x="199" y="176"/>
                    </a:lnTo>
                    <a:lnTo>
                      <a:pt x="199" y="175"/>
                    </a:lnTo>
                    <a:lnTo>
                      <a:pt x="197" y="171"/>
                    </a:lnTo>
                    <a:lnTo>
                      <a:pt x="205" y="165"/>
                    </a:lnTo>
                    <a:lnTo>
                      <a:pt x="222" y="151"/>
                    </a:lnTo>
                    <a:lnTo>
                      <a:pt x="229" y="142"/>
                    </a:lnTo>
                    <a:lnTo>
                      <a:pt x="229" y="141"/>
                    </a:lnTo>
                    <a:lnTo>
                      <a:pt x="231" y="141"/>
                    </a:lnTo>
                    <a:lnTo>
                      <a:pt x="229" y="141"/>
                    </a:lnTo>
                    <a:lnTo>
                      <a:pt x="231" y="141"/>
                    </a:lnTo>
                    <a:lnTo>
                      <a:pt x="231" y="139"/>
                    </a:lnTo>
                    <a:lnTo>
                      <a:pt x="234" y="134"/>
                    </a:lnTo>
                    <a:lnTo>
                      <a:pt x="236" y="134"/>
                    </a:lnTo>
                    <a:lnTo>
                      <a:pt x="238" y="136"/>
                    </a:lnTo>
                    <a:lnTo>
                      <a:pt x="239" y="134"/>
                    </a:lnTo>
                    <a:lnTo>
                      <a:pt x="245" y="131"/>
                    </a:lnTo>
                    <a:lnTo>
                      <a:pt x="246" y="129"/>
                    </a:lnTo>
                    <a:lnTo>
                      <a:pt x="265" y="124"/>
                    </a:lnTo>
                    <a:lnTo>
                      <a:pt x="270" y="120"/>
                    </a:lnTo>
                    <a:lnTo>
                      <a:pt x="272" y="120"/>
                    </a:lnTo>
                    <a:lnTo>
                      <a:pt x="279" y="117"/>
                    </a:lnTo>
                    <a:lnTo>
                      <a:pt x="282" y="117"/>
                    </a:lnTo>
                    <a:lnTo>
                      <a:pt x="282" y="115"/>
                    </a:lnTo>
                    <a:lnTo>
                      <a:pt x="280" y="117"/>
                    </a:lnTo>
                    <a:lnTo>
                      <a:pt x="282" y="117"/>
                    </a:lnTo>
                    <a:lnTo>
                      <a:pt x="285" y="115"/>
                    </a:lnTo>
                    <a:lnTo>
                      <a:pt x="292" y="112"/>
                    </a:lnTo>
                    <a:lnTo>
                      <a:pt x="292" y="110"/>
                    </a:lnTo>
                    <a:lnTo>
                      <a:pt x="292" y="112"/>
                    </a:lnTo>
                    <a:lnTo>
                      <a:pt x="294" y="112"/>
                    </a:lnTo>
                    <a:lnTo>
                      <a:pt x="301" y="107"/>
                    </a:lnTo>
                    <a:lnTo>
                      <a:pt x="306" y="105"/>
                    </a:lnTo>
                    <a:lnTo>
                      <a:pt x="311" y="103"/>
                    </a:lnTo>
                    <a:lnTo>
                      <a:pt x="321" y="95"/>
                    </a:lnTo>
                    <a:lnTo>
                      <a:pt x="326" y="88"/>
                    </a:lnTo>
                    <a:lnTo>
                      <a:pt x="328" y="83"/>
                    </a:lnTo>
                    <a:lnTo>
                      <a:pt x="330" y="83"/>
                    </a:lnTo>
                    <a:lnTo>
                      <a:pt x="328" y="83"/>
                    </a:lnTo>
                    <a:lnTo>
                      <a:pt x="336" y="74"/>
                    </a:lnTo>
                    <a:lnTo>
                      <a:pt x="343" y="61"/>
                    </a:lnTo>
                    <a:lnTo>
                      <a:pt x="348" y="52"/>
                    </a:lnTo>
                    <a:lnTo>
                      <a:pt x="355" y="37"/>
                    </a:lnTo>
                    <a:lnTo>
                      <a:pt x="357" y="35"/>
                    </a:lnTo>
                    <a:lnTo>
                      <a:pt x="355" y="35"/>
                    </a:lnTo>
                    <a:lnTo>
                      <a:pt x="358" y="27"/>
                    </a:lnTo>
                    <a:lnTo>
                      <a:pt x="362" y="20"/>
                    </a:lnTo>
                    <a:lnTo>
                      <a:pt x="367" y="6"/>
                    </a:lnTo>
                    <a:lnTo>
                      <a:pt x="370" y="5"/>
                    </a:lnTo>
                    <a:lnTo>
                      <a:pt x="374" y="6"/>
                    </a:lnTo>
                    <a:lnTo>
                      <a:pt x="372" y="6"/>
                    </a:lnTo>
                    <a:lnTo>
                      <a:pt x="374" y="6"/>
                    </a:lnTo>
                    <a:lnTo>
                      <a:pt x="375" y="6"/>
                    </a:lnTo>
                    <a:lnTo>
                      <a:pt x="375" y="5"/>
                    </a:lnTo>
                    <a:lnTo>
                      <a:pt x="377" y="5"/>
                    </a:lnTo>
                    <a:lnTo>
                      <a:pt x="384" y="3"/>
                    </a:lnTo>
                    <a:lnTo>
                      <a:pt x="386" y="3"/>
                    </a:lnTo>
                    <a:lnTo>
                      <a:pt x="389" y="0"/>
                    </a:lnTo>
                    <a:lnTo>
                      <a:pt x="391" y="0"/>
                    </a:lnTo>
                    <a:lnTo>
                      <a:pt x="394" y="0"/>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47" name="Freeform 43">
                <a:extLst>
                  <a:ext uri="{FF2B5EF4-FFF2-40B4-BE49-F238E27FC236}">
                    <a16:creationId xmlns:a16="http://schemas.microsoft.com/office/drawing/2014/main" id="{A8256A93-DDD9-49C5-8997-31B1F5E3FD06}"/>
                  </a:ext>
                </a:extLst>
              </p:cNvPr>
              <p:cNvSpPr>
                <a:spLocks noEditPoints="1"/>
              </p:cNvSpPr>
              <p:nvPr/>
            </p:nvSpPr>
            <p:spPr bwMode="gray">
              <a:xfrm>
                <a:off x="7007225" y="4295775"/>
                <a:ext cx="852487" cy="1319213"/>
              </a:xfrm>
              <a:custGeom>
                <a:avLst/>
                <a:gdLst>
                  <a:gd name="T0" fmla="*/ 92 w 537"/>
                  <a:gd name="T1" fmla="*/ 744 h 831"/>
                  <a:gd name="T2" fmla="*/ 64 w 537"/>
                  <a:gd name="T3" fmla="*/ 596 h 831"/>
                  <a:gd name="T4" fmla="*/ 132 w 537"/>
                  <a:gd name="T5" fmla="*/ 497 h 831"/>
                  <a:gd name="T6" fmla="*/ 134 w 537"/>
                  <a:gd name="T7" fmla="*/ 467 h 831"/>
                  <a:gd name="T8" fmla="*/ 134 w 537"/>
                  <a:gd name="T9" fmla="*/ 422 h 831"/>
                  <a:gd name="T10" fmla="*/ 139 w 537"/>
                  <a:gd name="T11" fmla="*/ 378 h 831"/>
                  <a:gd name="T12" fmla="*/ 137 w 537"/>
                  <a:gd name="T13" fmla="*/ 336 h 831"/>
                  <a:gd name="T14" fmla="*/ 76 w 537"/>
                  <a:gd name="T15" fmla="*/ 291 h 831"/>
                  <a:gd name="T16" fmla="*/ 39 w 537"/>
                  <a:gd name="T17" fmla="*/ 283 h 831"/>
                  <a:gd name="T18" fmla="*/ 64 w 537"/>
                  <a:gd name="T19" fmla="*/ 210 h 831"/>
                  <a:gd name="T20" fmla="*/ 168 w 537"/>
                  <a:gd name="T21" fmla="*/ 203 h 831"/>
                  <a:gd name="T22" fmla="*/ 211 w 537"/>
                  <a:gd name="T23" fmla="*/ 199 h 831"/>
                  <a:gd name="T24" fmla="*/ 212 w 537"/>
                  <a:gd name="T25" fmla="*/ 254 h 831"/>
                  <a:gd name="T26" fmla="*/ 216 w 537"/>
                  <a:gd name="T27" fmla="*/ 295 h 831"/>
                  <a:gd name="T28" fmla="*/ 250 w 537"/>
                  <a:gd name="T29" fmla="*/ 322 h 831"/>
                  <a:gd name="T30" fmla="*/ 256 w 537"/>
                  <a:gd name="T31" fmla="*/ 322 h 831"/>
                  <a:gd name="T32" fmla="*/ 268 w 537"/>
                  <a:gd name="T33" fmla="*/ 290 h 831"/>
                  <a:gd name="T34" fmla="*/ 253 w 537"/>
                  <a:gd name="T35" fmla="*/ 174 h 831"/>
                  <a:gd name="T36" fmla="*/ 262 w 537"/>
                  <a:gd name="T37" fmla="*/ 57 h 831"/>
                  <a:gd name="T38" fmla="*/ 284 w 537"/>
                  <a:gd name="T39" fmla="*/ 48 h 831"/>
                  <a:gd name="T40" fmla="*/ 309 w 537"/>
                  <a:gd name="T41" fmla="*/ 63 h 831"/>
                  <a:gd name="T42" fmla="*/ 357 w 537"/>
                  <a:gd name="T43" fmla="*/ 60 h 831"/>
                  <a:gd name="T44" fmla="*/ 396 w 537"/>
                  <a:gd name="T45" fmla="*/ 41 h 831"/>
                  <a:gd name="T46" fmla="*/ 452 w 537"/>
                  <a:gd name="T47" fmla="*/ 34 h 831"/>
                  <a:gd name="T48" fmla="*/ 489 w 537"/>
                  <a:gd name="T49" fmla="*/ 19 h 831"/>
                  <a:gd name="T50" fmla="*/ 518 w 537"/>
                  <a:gd name="T51" fmla="*/ 14 h 831"/>
                  <a:gd name="T52" fmla="*/ 515 w 537"/>
                  <a:gd name="T53" fmla="*/ 46 h 831"/>
                  <a:gd name="T54" fmla="*/ 518 w 537"/>
                  <a:gd name="T55" fmla="*/ 72 h 831"/>
                  <a:gd name="T56" fmla="*/ 520 w 537"/>
                  <a:gd name="T57" fmla="*/ 104 h 831"/>
                  <a:gd name="T58" fmla="*/ 523 w 537"/>
                  <a:gd name="T59" fmla="*/ 118 h 831"/>
                  <a:gd name="T60" fmla="*/ 523 w 537"/>
                  <a:gd name="T61" fmla="*/ 137 h 831"/>
                  <a:gd name="T62" fmla="*/ 523 w 537"/>
                  <a:gd name="T63" fmla="*/ 179 h 831"/>
                  <a:gd name="T64" fmla="*/ 527 w 537"/>
                  <a:gd name="T65" fmla="*/ 189 h 831"/>
                  <a:gd name="T66" fmla="*/ 528 w 537"/>
                  <a:gd name="T67" fmla="*/ 208 h 831"/>
                  <a:gd name="T68" fmla="*/ 528 w 537"/>
                  <a:gd name="T69" fmla="*/ 225 h 831"/>
                  <a:gd name="T70" fmla="*/ 530 w 537"/>
                  <a:gd name="T71" fmla="*/ 233 h 831"/>
                  <a:gd name="T72" fmla="*/ 527 w 537"/>
                  <a:gd name="T73" fmla="*/ 247 h 831"/>
                  <a:gd name="T74" fmla="*/ 493 w 537"/>
                  <a:gd name="T75" fmla="*/ 293 h 831"/>
                  <a:gd name="T76" fmla="*/ 457 w 537"/>
                  <a:gd name="T77" fmla="*/ 320 h 831"/>
                  <a:gd name="T78" fmla="*/ 374 w 537"/>
                  <a:gd name="T79" fmla="*/ 358 h 831"/>
                  <a:gd name="T80" fmla="*/ 324 w 537"/>
                  <a:gd name="T81" fmla="*/ 402 h 831"/>
                  <a:gd name="T82" fmla="*/ 306 w 537"/>
                  <a:gd name="T83" fmla="*/ 426 h 831"/>
                  <a:gd name="T84" fmla="*/ 292 w 537"/>
                  <a:gd name="T85" fmla="*/ 427 h 831"/>
                  <a:gd name="T86" fmla="*/ 246 w 537"/>
                  <a:gd name="T87" fmla="*/ 468 h 831"/>
                  <a:gd name="T88" fmla="*/ 226 w 537"/>
                  <a:gd name="T89" fmla="*/ 499 h 831"/>
                  <a:gd name="T90" fmla="*/ 234 w 537"/>
                  <a:gd name="T91" fmla="*/ 514 h 831"/>
                  <a:gd name="T92" fmla="*/ 236 w 537"/>
                  <a:gd name="T93" fmla="*/ 521 h 831"/>
                  <a:gd name="T94" fmla="*/ 243 w 537"/>
                  <a:gd name="T95" fmla="*/ 524 h 831"/>
                  <a:gd name="T96" fmla="*/ 246 w 537"/>
                  <a:gd name="T97" fmla="*/ 545 h 831"/>
                  <a:gd name="T98" fmla="*/ 260 w 537"/>
                  <a:gd name="T99" fmla="*/ 596 h 831"/>
                  <a:gd name="T100" fmla="*/ 268 w 537"/>
                  <a:gd name="T101" fmla="*/ 632 h 831"/>
                  <a:gd name="T102" fmla="*/ 258 w 537"/>
                  <a:gd name="T103" fmla="*/ 683 h 831"/>
                  <a:gd name="T104" fmla="*/ 262 w 537"/>
                  <a:gd name="T105" fmla="*/ 698 h 831"/>
                  <a:gd name="T106" fmla="*/ 127 w 537"/>
                  <a:gd name="T107" fmla="*/ 781 h 831"/>
                  <a:gd name="T108" fmla="*/ 132 w 537"/>
                  <a:gd name="T109" fmla="*/ 800 h 831"/>
                  <a:gd name="T110" fmla="*/ 221 w 537"/>
                  <a:gd name="T111" fmla="*/ 80 h 831"/>
                  <a:gd name="T112" fmla="*/ 136 w 537"/>
                  <a:gd name="T113" fmla="*/ 791 h 831"/>
                  <a:gd name="T114" fmla="*/ 525 w 537"/>
                  <a:gd name="T115" fmla="*/ 89 h 831"/>
                  <a:gd name="T116" fmla="*/ 238 w 537"/>
                  <a:gd name="T117" fmla="*/ 514 h 831"/>
                  <a:gd name="T118" fmla="*/ 523 w 537"/>
                  <a:gd name="T119" fmla="*/ 106 h 831"/>
                  <a:gd name="T120" fmla="*/ 126 w 537"/>
                  <a:gd name="T121" fmla="*/ 778 h 831"/>
                  <a:gd name="T122" fmla="*/ 535 w 537"/>
                  <a:gd name="T123" fmla="*/ 222 h 831"/>
                  <a:gd name="T124" fmla="*/ 333 w 537"/>
                  <a:gd name="T125" fmla="*/ 393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 h="831">
                    <a:moveTo>
                      <a:pt x="134" y="831"/>
                    </a:moveTo>
                    <a:lnTo>
                      <a:pt x="124" y="831"/>
                    </a:lnTo>
                    <a:lnTo>
                      <a:pt x="107" y="831"/>
                    </a:lnTo>
                    <a:lnTo>
                      <a:pt x="100" y="829"/>
                    </a:lnTo>
                    <a:lnTo>
                      <a:pt x="98" y="831"/>
                    </a:lnTo>
                    <a:lnTo>
                      <a:pt x="95" y="829"/>
                    </a:lnTo>
                    <a:lnTo>
                      <a:pt x="97" y="814"/>
                    </a:lnTo>
                    <a:lnTo>
                      <a:pt x="93" y="807"/>
                    </a:lnTo>
                    <a:lnTo>
                      <a:pt x="95" y="795"/>
                    </a:lnTo>
                    <a:lnTo>
                      <a:pt x="93" y="788"/>
                    </a:lnTo>
                    <a:lnTo>
                      <a:pt x="90" y="786"/>
                    </a:lnTo>
                    <a:lnTo>
                      <a:pt x="88" y="785"/>
                    </a:lnTo>
                    <a:lnTo>
                      <a:pt x="86" y="780"/>
                    </a:lnTo>
                    <a:lnTo>
                      <a:pt x="90" y="769"/>
                    </a:lnTo>
                    <a:lnTo>
                      <a:pt x="88" y="761"/>
                    </a:lnTo>
                    <a:lnTo>
                      <a:pt x="90" y="756"/>
                    </a:lnTo>
                    <a:lnTo>
                      <a:pt x="92" y="744"/>
                    </a:lnTo>
                    <a:lnTo>
                      <a:pt x="90" y="720"/>
                    </a:lnTo>
                    <a:lnTo>
                      <a:pt x="90" y="708"/>
                    </a:lnTo>
                    <a:lnTo>
                      <a:pt x="88" y="701"/>
                    </a:lnTo>
                    <a:lnTo>
                      <a:pt x="85" y="694"/>
                    </a:lnTo>
                    <a:lnTo>
                      <a:pt x="83" y="684"/>
                    </a:lnTo>
                    <a:lnTo>
                      <a:pt x="78" y="681"/>
                    </a:lnTo>
                    <a:lnTo>
                      <a:pt x="75" y="672"/>
                    </a:lnTo>
                    <a:lnTo>
                      <a:pt x="73" y="667"/>
                    </a:lnTo>
                    <a:lnTo>
                      <a:pt x="68" y="659"/>
                    </a:lnTo>
                    <a:lnTo>
                      <a:pt x="66" y="655"/>
                    </a:lnTo>
                    <a:lnTo>
                      <a:pt x="68" y="645"/>
                    </a:lnTo>
                    <a:lnTo>
                      <a:pt x="66" y="642"/>
                    </a:lnTo>
                    <a:lnTo>
                      <a:pt x="63" y="632"/>
                    </a:lnTo>
                    <a:lnTo>
                      <a:pt x="56" y="611"/>
                    </a:lnTo>
                    <a:lnTo>
                      <a:pt x="54" y="606"/>
                    </a:lnTo>
                    <a:lnTo>
                      <a:pt x="64" y="598"/>
                    </a:lnTo>
                    <a:lnTo>
                      <a:pt x="64" y="596"/>
                    </a:lnTo>
                    <a:lnTo>
                      <a:pt x="73" y="587"/>
                    </a:lnTo>
                    <a:lnTo>
                      <a:pt x="88" y="572"/>
                    </a:lnTo>
                    <a:lnTo>
                      <a:pt x="105" y="555"/>
                    </a:lnTo>
                    <a:lnTo>
                      <a:pt x="110" y="550"/>
                    </a:lnTo>
                    <a:lnTo>
                      <a:pt x="114" y="550"/>
                    </a:lnTo>
                    <a:lnTo>
                      <a:pt x="109" y="543"/>
                    </a:lnTo>
                    <a:lnTo>
                      <a:pt x="110" y="543"/>
                    </a:lnTo>
                    <a:lnTo>
                      <a:pt x="107" y="541"/>
                    </a:lnTo>
                    <a:lnTo>
                      <a:pt x="112" y="536"/>
                    </a:lnTo>
                    <a:lnTo>
                      <a:pt x="115" y="529"/>
                    </a:lnTo>
                    <a:lnTo>
                      <a:pt x="114" y="524"/>
                    </a:lnTo>
                    <a:lnTo>
                      <a:pt x="114" y="514"/>
                    </a:lnTo>
                    <a:lnTo>
                      <a:pt x="119" y="512"/>
                    </a:lnTo>
                    <a:lnTo>
                      <a:pt x="124" y="511"/>
                    </a:lnTo>
                    <a:lnTo>
                      <a:pt x="129" y="502"/>
                    </a:lnTo>
                    <a:lnTo>
                      <a:pt x="131" y="501"/>
                    </a:lnTo>
                    <a:lnTo>
                      <a:pt x="132" y="497"/>
                    </a:lnTo>
                    <a:lnTo>
                      <a:pt x="132" y="495"/>
                    </a:lnTo>
                    <a:lnTo>
                      <a:pt x="132" y="494"/>
                    </a:lnTo>
                    <a:lnTo>
                      <a:pt x="134" y="492"/>
                    </a:lnTo>
                    <a:lnTo>
                      <a:pt x="132" y="490"/>
                    </a:lnTo>
                    <a:lnTo>
                      <a:pt x="134" y="489"/>
                    </a:lnTo>
                    <a:lnTo>
                      <a:pt x="136" y="489"/>
                    </a:lnTo>
                    <a:lnTo>
                      <a:pt x="136" y="485"/>
                    </a:lnTo>
                    <a:lnTo>
                      <a:pt x="139" y="485"/>
                    </a:lnTo>
                    <a:lnTo>
                      <a:pt x="141" y="484"/>
                    </a:lnTo>
                    <a:lnTo>
                      <a:pt x="141" y="477"/>
                    </a:lnTo>
                    <a:lnTo>
                      <a:pt x="143" y="473"/>
                    </a:lnTo>
                    <a:lnTo>
                      <a:pt x="141" y="472"/>
                    </a:lnTo>
                    <a:lnTo>
                      <a:pt x="137" y="470"/>
                    </a:lnTo>
                    <a:lnTo>
                      <a:pt x="137" y="468"/>
                    </a:lnTo>
                    <a:lnTo>
                      <a:pt x="139" y="467"/>
                    </a:lnTo>
                    <a:lnTo>
                      <a:pt x="137" y="467"/>
                    </a:lnTo>
                    <a:lnTo>
                      <a:pt x="134" y="467"/>
                    </a:lnTo>
                    <a:lnTo>
                      <a:pt x="131" y="467"/>
                    </a:lnTo>
                    <a:lnTo>
                      <a:pt x="132" y="463"/>
                    </a:lnTo>
                    <a:lnTo>
                      <a:pt x="132" y="460"/>
                    </a:lnTo>
                    <a:lnTo>
                      <a:pt x="132" y="458"/>
                    </a:lnTo>
                    <a:lnTo>
                      <a:pt x="132" y="456"/>
                    </a:lnTo>
                    <a:lnTo>
                      <a:pt x="129" y="456"/>
                    </a:lnTo>
                    <a:lnTo>
                      <a:pt x="129" y="451"/>
                    </a:lnTo>
                    <a:lnTo>
                      <a:pt x="132" y="448"/>
                    </a:lnTo>
                    <a:lnTo>
                      <a:pt x="134" y="438"/>
                    </a:lnTo>
                    <a:lnTo>
                      <a:pt x="131" y="433"/>
                    </a:lnTo>
                    <a:lnTo>
                      <a:pt x="129" y="433"/>
                    </a:lnTo>
                    <a:lnTo>
                      <a:pt x="127" y="434"/>
                    </a:lnTo>
                    <a:lnTo>
                      <a:pt x="126" y="434"/>
                    </a:lnTo>
                    <a:lnTo>
                      <a:pt x="126" y="429"/>
                    </a:lnTo>
                    <a:lnTo>
                      <a:pt x="126" y="424"/>
                    </a:lnTo>
                    <a:lnTo>
                      <a:pt x="131" y="421"/>
                    </a:lnTo>
                    <a:lnTo>
                      <a:pt x="134" y="422"/>
                    </a:lnTo>
                    <a:lnTo>
                      <a:pt x="136" y="421"/>
                    </a:lnTo>
                    <a:lnTo>
                      <a:pt x="137" y="416"/>
                    </a:lnTo>
                    <a:lnTo>
                      <a:pt x="134" y="412"/>
                    </a:lnTo>
                    <a:lnTo>
                      <a:pt x="134" y="407"/>
                    </a:lnTo>
                    <a:lnTo>
                      <a:pt x="137" y="405"/>
                    </a:lnTo>
                    <a:lnTo>
                      <a:pt x="139" y="407"/>
                    </a:lnTo>
                    <a:lnTo>
                      <a:pt x="141" y="405"/>
                    </a:lnTo>
                    <a:lnTo>
                      <a:pt x="141" y="402"/>
                    </a:lnTo>
                    <a:lnTo>
                      <a:pt x="143" y="400"/>
                    </a:lnTo>
                    <a:lnTo>
                      <a:pt x="139" y="397"/>
                    </a:lnTo>
                    <a:lnTo>
                      <a:pt x="139" y="390"/>
                    </a:lnTo>
                    <a:lnTo>
                      <a:pt x="139" y="388"/>
                    </a:lnTo>
                    <a:lnTo>
                      <a:pt x="137" y="383"/>
                    </a:lnTo>
                    <a:lnTo>
                      <a:pt x="137" y="381"/>
                    </a:lnTo>
                    <a:lnTo>
                      <a:pt x="137" y="380"/>
                    </a:lnTo>
                    <a:lnTo>
                      <a:pt x="139" y="380"/>
                    </a:lnTo>
                    <a:lnTo>
                      <a:pt x="139" y="378"/>
                    </a:lnTo>
                    <a:lnTo>
                      <a:pt x="137" y="376"/>
                    </a:lnTo>
                    <a:lnTo>
                      <a:pt x="137" y="373"/>
                    </a:lnTo>
                    <a:lnTo>
                      <a:pt x="139" y="371"/>
                    </a:lnTo>
                    <a:lnTo>
                      <a:pt x="141" y="371"/>
                    </a:lnTo>
                    <a:lnTo>
                      <a:pt x="141" y="370"/>
                    </a:lnTo>
                    <a:lnTo>
                      <a:pt x="141" y="368"/>
                    </a:lnTo>
                    <a:lnTo>
                      <a:pt x="141" y="366"/>
                    </a:lnTo>
                    <a:lnTo>
                      <a:pt x="143" y="361"/>
                    </a:lnTo>
                    <a:lnTo>
                      <a:pt x="141" y="359"/>
                    </a:lnTo>
                    <a:lnTo>
                      <a:pt x="139" y="359"/>
                    </a:lnTo>
                    <a:lnTo>
                      <a:pt x="137" y="356"/>
                    </a:lnTo>
                    <a:lnTo>
                      <a:pt x="139" y="354"/>
                    </a:lnTo>
                    <a:lnTo>
                      <a:pt x="141" y="351"/>
                    </a:lnTo>
                    <a:lnTo>
                      <a:pt x="143" y="349"/>
                    </a:lnTo>
                    <a:lnTo>
                      <a:pt x="139" y="346"/>
                    </a:lnTo>
                    <a:lnTo>
                      <a:pt x="139" y="341"/>
                    </a:lnTo>
                    <a:lnTo>
                      <a:pt x="137" y="336"/>
                    </a:lnTo>
                    <a:lnTo>
                      <a:pt x="132" y="327"/>
                    </a:lnTo>
                    <a:lnTo>
                      <a:pt x="136" y="325"/>
                    </a:lnTo>
                    <a:lnTo>
                      <a:pt x="139" y="317"/>
                    </a:lnTo>
                    <a:lnTo>
                      <a:pt x="136" y="315"/>
                    </a:lnTo>
                    <a:lnTo>
                      <a:pt x="134" y="317"/>
                    </a:lnTo>
                    <a:lnTo>
                      <a:pt x="132" y="315"/>
                    </a:lnTo>
                    <a:lnTo>
                      <a:pt x="127" y="317"/>
                    </a:lnTo>
                    <a:lnTo>
                      <a:pt x="124" y="315"/>
                    </a:lnTo>
                    <a:lnTo>
                      <a:pt x="126" y="312"/>
                    </a:lnTo>
                    <a:lnTo>
                      <a:pt x="119" y="308"/>
                    </a:lnTo>
                    <a:lnTo>
                      <a:pt x="105" y="303"/>
                    </a:lnTo>
                    <a:lnTo>
                      <a:pt x="92" y="303"/>
                    </a:lnTo>
                    <a:lnTo>
                      <a:pt x="85" y="302"/>
                    </a:lnTo>
                    <a:lnTo>
                      <a:pt x="85" y="298"/>
                    </a:lnTo>
                    <a:lnTo>
                      <a:pt x="81" y="296"/>
                    </a:lnTo>
                    <a:lnTo>
                      <a:pt x="80" y="295"/>
                    </a:lnTo>
                    <a:lnTo>
                      <a:pt x="76" y="291"/>
                    </a:lnTo>
                    <a:lnTo>
                      <a:pt x="71" y="290"/>
                    </a:lnTo>
                    <a:lnTo>
                      <a:pt x="68" y="290"/>
                    </a:lnTo>
                    <a:lnTo>
                      <a:pt x="64" y="288"/>
                    </a:lnTo>
                    <a:lnTo>
                      <a:pt x="64" y="290"/>
                    </a:lnTo>
                    <a:lnTo>
                      <a:pt x="64" y="288"/>
                    </a:lnTo>
                    <a:lnTo>
                      <a:pt x="61" y="288"/>
                    </a:lnTo>
                    <a:lnTo>
                      <a:pt x="59" y="288"/>
                    </a:lnTo>
                    <a:lnTo>
                      <a:pt x="59" y="286"/>
                    </a:lnTo>
                    <a:lnTo>
                      <a:pt x="56" y="285"/>
                    </a:lnTo>
                    <a:lnTo>
                      <a:pt x="56" y="283"/>
                    </a:lnTo>
                    <a:lnTo>
                      <a:pt x="54" y="281"/>
                    </a:lnTo>
                    <a:lnTo>
                      <a:pt x="52" y="281"/>
                    </a:lnTo>
                    <a:lnTo>
                      <a:pt x="47" y="281"/>
                    </a:lnTo>
                    <a:lnTo>
                      <a:pt x="47" y="279"/>
                    </a:lnTo>
                    <a:lnTo>
                      <a:pt x="46" y="279"/>
                    </a:lnTo>
                    <a:lnTo>
                      <a:pt x="41" y="281"/>
                    </a:lnTo>
                    <a:lnTo>
                      <a:pt x="39" y="283"/>
                    </a:lnTo>
                    <a:lnTo>
                      <a:pt x="34" y="281"/>
                    </a:lnTo>
                    <a:lnTo>
                      <a:pt x="15" y="281"/>
                    </a:lnTo>
                    <a:lnTo>
                      <a:pt x="10" y="281"/>
                    </a:lnTo>
                    <a:lnTo>
                      <a:pt x="10" y="261"/>
                    </a:lnTo>
                    <a:lnTo>
                      <a:pt x="7" y="257"/>
                    </a:lnTo>
                    <a:lnTo>
                      <a:pt x="8" y="254"/>
                    </a:lnTo>
                    <a:lnTo>
                      <a:pt x="7" y="252"/>
                    </a:lnTo>
                    <a:lnTo>
                      <a:pt x="7" y="247"/>
                    </a:lnTo>
                    <a:lnTo>
                      <a:pt x="1" y="240"/>
                    </a:lnTo>
                    <a:lnTo>
                      <a:pt x="0" y="233"/>
                    </a:lnTo>
                    <a:lnTo>
                      <a:pt x="0" y="232"/>
                    </a:lnTo>
                    <a:lnTo>
                      <a:pt x="0" y="230"/>
                    </a:lnTo>
                    <a:lnTo>
                      <a:pt x="8" y="227"/>
                    </a:lnTo>
                    <a:lnTo>
                      <a:pt x="27" y="218"/>
                    </a:lnTo>
                    <a:lnTo>
                      <a:pt x="42" y="216"/>
                    </a:lnTo>
                    <a:lnTo>
                      <a:pt x="52" y="213"/>
                    </a:lnTo>
                    <a:lnTo>
                      <a:pt x="64" y="210"/>
                    </a:lnTo>
                    <a:lnTo>
                      <a:pt x="73" y="205"/>
                    </a:lnTo>
                    <a:lnTo>
                      <a:pt x="80" y="203"/>
                    </a:lnTo>
                    <a:lnTo>
                      <a:pt x="86" y="199"/>
                    </a:lnTo>
                    <a:lnTo>
                      <a:pt x="103" y="194"/>
                    </a:lnTo>
                    <a:lnTo>
                      <a:pt x="112" y="193"/>
                    </a:lnTo>
                    <a:lnTo>
                      <a:pt x="122" y="189"/>
                    </a:lnTo>
                    <a:lnTo>
                      <a:pt x="141" y="182"/>
                    </a:lnTo>
                    <a:lnTo>
                      <a:pt x="151" y="179"/>
                    </a:lnTo>
                    <a:lnTo>
                      <a:pt x="153" y="179"/>
                    </a:lnTo>
                    <a:lnTo>
                      <a:pt x="154" y="181"/>
                    </a:lnTo>
                    <a:lnTo>
                      <a:pt x="156" y="184"/>
                    </a:lnTo>
                    <a:lnTo>
                      <a:pt x="154" y="186"/>
                    </a:lnTo>
                    <a:lnTo>
                      <a:pt x="158" y="189"/>
                    </a:lnTo>
                    <a:lnTo>
                      <a:pt x="160" y="189"/>
                    </a:lnTo>
                    <a:lnTo>
                      <a:pt x="165" y="199"/>
                    </a:lnTo>
                    <a:lnTo>
                      <a:pt x="166" y="201"/>
                    </a:lnTo>
                    <a:lnTo>
                      <a:pt x="168" y="203"/>
                    </a:lnTo>
                    <a:lnTo>
                      <a:pt x="170" y="203"/>
                    </a:lnTo>
                    <a:lnTo>
                      <a:pt x="171" y="205"/>
                    </a:lnTo>
                    <a:lnTo>
                      <a:pt x="173" y="208"/>
                    </a:lnTo>
                    <a:lnTo>
                      <a:pt x="175" y="210"/>
                    </a:lnTo>
                    <a:lnTo>
                      <a:pt x="177" y="208"/>
                    </a:lnTo>
                    <a:lnTo>
                      <a:pt x="175" y="206"/>
                    </a:lnTo>
                    <a:lnTo>
                      <a:pt x="177" y="205"/>
                    </a:lnTo>
                    <a:lnTo>
                      <a:pt x="182" y="206"/>
                    </a:lnTo>
                    <a:lnTo>
                      <a:pt x="183" y="205"/>
                    </a:lnTo>
                    <a:lnTo>
                      <a:pt x="185" y="205"/>
                    </a:lnTo>
                    <a:lnTo>
                      <a:pt x="187" y="203"/>
                    </a:lnTo>
                    <a:lnTo>
                      <a:pt x="195" y="203"/>
                    </a:lnTo>
                    <a:lnTo>
                      <a:pt x="195" y="201"/>
                    </a:lnTo>
                    <a:lnTo>
                      <a:pt x="204" y="201"/>
                    </a:lnTo>
                    <a:lnTo>
                      <a:pt x="205" y="199"/>
                    </a:lnTo>
                    <a:lnTo>
                      <a:pt x="209" y="199"/>
                    </a:lnTo>
                    <a:lnTo>
                      <a:pt x="211" y="199"/>
                    </a:lnTo>
                    <a:lnTo>
                      <a:pt x="214" y="205"/>
                    </a:lnTo>
                    <a:lnTo>
                      <a:pt x="217" y="208"/>
                    </a:lnTo>
                    <a:lnTo>
                      <a:pt x="217" y="211"/>
                    </a:lnTo>
                    <a:lnTo>
                      <a:pt x="217" y="213"/>
                    </a:lnTo>
                    <a:lnTo>
                      <a:pt x="219" y="220"/>
                    </a:lnTo>
                    <a:lnTo>
                      <a:pt x="219" y="225"/>
                    </a:lnTo>
                    <a:lnTo>
                      <a:pt x="222" y="230"/>
                    </a:lnTo>
                    <a:lnTo>
                      <a:pt x="219" y="233"/>
                    </a:lnTo>
                    <a:lnTo>
                      <a:pt x="221" y="233"/>
                    </a:lnTo>
                    <a:lnTo>
                      <a:pt x="219" y="237"/>
                    </a:lnTo>
                    <a:lnTo>
                      <a:pt x="221" y="244"/>
                    </a:lnTo>
                    <a:lnTo>
                      <a:pt x="219" y="245"/>
                    </a:lnTo>
                    <a:lnTo>
                      <a:pt x="217" y="247"/>
                    </a:lnTo>
                    <a:lnTo>
                      <a:pt x="217" y="250"/>
                    </a:lnTo>
                    <a:lnTo>
                      <a:pt x="214" y="252"/>
                    </a:lnTo>
                    <a:lnTo>
                      <a:pt x="214" y="254"/>
                    </a:lnTo>
                    <a:lnTo>
                      <a:pt x="212" y="254"/>
                    </a:lnTo>
                    <a:lnTo>
                      <a:pt x="214" y="259"/>
                    </a:lnTo>
                    <a:lnTo>
                      <a:pt x="212" y="261"/>
                    </a:lnTo>
                    <a:lnTo>
                      <a:pt x="212" y="262"/>
                    </a:lnTo>
                    <a:lnTo>
                      <a:pt x="211" y="264"/>
                    </a:lnTo>
                    <a:lnTo>
                      <a:pt x="209" y="268"/>
                    </a:lnTo>
                    <a:lnTo>
                      <a:pt x="207" y="268"/>
                    </a:lnTo>
                    <a:lnTo>
                      <a:pt x="204" y="269"/>
                    </a:lnTo>
                    <a:lnTo>
                      <a:pt x="204" y="273"/>
                    </a:lnTo>
                    <a:lnTo>
                      <a:pt x="204" y="274"/>
                    </a:lnTo>
                    <a:lnTo>
                      <a:pt x="204" y="276"/>
                    </a:lnTo>
                    <a:lnTo>
                      <a:pt x="205" y="276"/>
                    </a:lnTo>
                    <a:lnTo>
                      <a:pt x="209" y="279"/>
                    </a:lnTo>
                    <a:lnTo>
                      <a:pt x="211" y="281"/>
                    </a:lnTo>
                    <a:lnTo>
                      <a:pt x="212" y="283"/>
                    </a:lnTo>
                    <a:lnTo>
                      <a:pt x="211" y="286"/>
                    </a:lnTo>
                    <a:lnTo>
                      <a:pt x="212" y="293"/>
                    </a:lnTo>
                    <a:lnTo>
                      <a:pt x="216" y="295"/>
                    </a:lnTo>
                    <a:lnTo>
                      <a:pt x="217" y="295"/>
                    </a:lnTo>
                    <a:lnTo>
                      <a:pt x="219" y="296"/>
                    </a:lnTo>
                    <a:lnTo>
                      <a:pt x="221" y="302"/>
                    </a:lnTo>
                    <a:lnTo>
                      <a:pt x="224" y="303"/>
                    </a:lnTo>
                    <a:lnTo>
                      <a:pt x="226" y="305"/>
                    </a:lnTo>
                    <a:lnTo>
                      <a:pt x="229" y="307"/>
                    </a:lnTo>
                    <a:lnTo>
                      <a:pt x="231" y="308"/>
                    </a:lnTo>
                    <a:lnTo>
                      <a:pt x="231" y="310"/>
                    </a:lnTo>
                    <a:lnTo>
                      <a:pt x="233" y="312"/>
                    </a:lnTo>
                    <a:lnTo>
                      <a:pt x="234" y="315"/>
                    </a:lnTo>
                    <a:lnTo>
                      <a:pt x="236" y="315"/>
                    </a:lnTo>
                    <a:lnTo>
                      <a:pt x="238" y="319"/>
                    </a:lnTo>
                    <a:lnTo>
                      <a:pt x="241" y="319"/>
                    </a:lnTo>
                    <a:lnTo>
                      <a:pt x="241" y="320"/>
                    </a:lnTo>
                    <a:lnTo>
                      <a:pt x="243" y="322"/>
                    </a:lnTo>
                    <a:lnTo>
                      <a:pt x="246" y="322"/>
                    </a:lnTo>
                    <a:lnTo>
                      <a:pt x="250" y="322"/>
                    </a:lnTo>
                    <a:lnTo>
                      <a:pt x="248" y="325"/>
                    </a:lnTo>
                    <a:lnTo>
                      <a:pt x="250" y="327"/>
                    </a:lnTo>
                    <a:lnTo>
                      <a:pt x="245" y="330"/>
                    </a:lnTo>
                    <a:lnTo>
                      <a:pt x="245" y="334"/>
                    </a:lnTo>
                    <a:lnTo>
                      <a:pt x="246" y="336"/>
                    </a:lnTo>
                    <a:lnTo>
                      <a:pt x="245" y="336"/>
                    </a:lnTo>
                    <a:lnTo>
                      <a:pt x="246" y="337"/>
                    </a:lnTo>
                    <a:lnTo>
                      <a:pt x="256" y="337"/>
                    </a:lnTo>
                    <a:lnTo>
                      <a:pt x="256" y="336"/>
                    </a:lnTo>
                    <a:lnTo>
                      <a:pt x="256" y="334"/>
                    </a:lnTo>
                    <a:lnTo>
                      <a:pt x="256" y="332"/>
                    </a:lnTo>
                    <a:lnTo>
                      <a:pt x="256" y="330"/>
                    </a:lnTo>
                    <a:lnTo>
                      <a:pt x="256" y="329"/>
                    </a:lnTo>
                    <a:lnTo>
                      <a:pt x="255" y="329"/>
                    </a:lnTo>
                    <a:lnTo>
                      <a:pt x="256" y="325"/>
                    </a:lnTo>
                    <a:lnTo>
                      <a:pt x="255" y="325"/>
                    </a:lnTo>
                    <a:lnTo>
                      <a:pt x="256" y="322"/>
                    </a:lnTo>
                    <a:lnTo>
                      <a:pt x="256" y="320"/>
                    </a:lnTo>
                    <a:lnTo>
                      <a:pt x="256" y="317"/>
                    </a:lnTo>
                    <a:lnTo>
                      <a:pt x="253" y="313"/>
                    </a:lnTo>
                    <a:lnTo>
                      <a:pt x="251" y="313"/>
                    </a:lnTo>
                    <a:lnTo>
                      <a:pt x="250" y="312"/>
                    </a:lnTo>
                    <a:lnTo>
                      <a:pt x="248" y="308"/>
                    </a:lnTo>
                    <a:lnTo>
                      <a:pt x="255" y="305"/>
                    </a:lnTo>
                    <a:lnTo>
                      <a:pt x="255" y="300"/>
                    </a:lnTo>
                    <a:lnTo>
                      <a:pt x="256" y="298"/>
                    </a:lnTo>
                    <a:lnTo>
                      <a:pt x="255" y="296"/>
                    </a:lnTo>
                    <a:lnTo>
                      <a:pt x="256" y="295"/>
                    </a:lnTo>
                    <a:lnTo>
                      <a:pt x="256" y="291"/>
                    </a:lnTo>
                    <a:lnTo>
                      <a:pt x="262" y="286"/>
                    </a:lnTo>
                    <a:lnTo>
                      <a:pt x="263" y="286"/>
                    </a:lnTo>
                    <a:lnTo>
                      <a:pt x="267" y="286"/>
                    </a:lnTo>
                    <a:lnTo>
                      <a:pt x="267" y="288"/>
                    </a:lnTo>
                    <a:lnTo>
                      <a:pt x="268" y="290"/>
                    </a:lnTo>
                    <a:lnTo>
                      <a:pt x="270" y="286"/>
                    </a:lnTo>
                    <a:lnTo>
                      <a:pt x="272" y="286"/>
                    </a:lnTo>
                    <a:lnTo>
                      <a:pt x="275" y="285"/>
                    </a:lnTo>
                    <a:lnTo>
                      <a:pt x="277" y="286"/>
                    </a:lnTo>
                    <a:lnTo>
                      <a:pt x="282" y="281"/>
                    </a:lnTo>
                    <a:lnTo>
                      <a:pt x="282" y="278"/>
                    </a:lnTo>
                    <a:lnTo>
                      <a:pt x="284" y="256"/>
                    </a:lnTo>
                    <a:lnTo>
                      <a:pt x="284" y="252"/>
                    </a:lnTo>
                    <a:lnTo>
                      <a:pt x="284" y="250"/>
                    </a:lnTo>
                    <a:lnTo>
                      <a:pt x="282" y="239"/>
                    </a:lnTo>
                    <a:lnTo>
                      <a:pt x="287" y="225"/>
                    </a:lnTo>
                    <a:lnTo>
                      <a:pt x="285" y="223"/>
                    </a:lnTo>
                    <a:lnTo>
                      <a:pt x="285" y="213"/>
                    </a:lnTo>
                    <a:lnTo>
                      <a:pt x="280" y="206"/>
                    </a:lnTo>
                    <a:lnTo>
                      <a:pt x="268" y="193"/>
                    </a:lnTo>
                    <a:lnTo>
                      <a:pt x="265" y="188"/>
                    </a:lnTo>
                    <a:lnTo>
                      <a:pt x="253" y="174"/>
                    </a:lnTo>
                    <a:lnTo>
                      <a:pt x="246" y="164"/>
                    </a:lnTo>
                    <a:lnTo>
                      <a:pt x="234" y="154"/>
                    </a:lnTo>
                    <a:lnTo>
                      <a:pt x="221" y="154"/>
                    </a:lnTo>
                    <a:lnTo>
                      <a:pt x="217" y="147"/>
                    </a:lnTo>
                    <a:lnTo>
                      <a:pt x="217" y="142"/>
                    </a:lnTo>
                    <a:lnTo>
                      <a:pt x="217" y="135"/>
                    </a:lnTo>
                    <a:lnTo>
                      <a:pt x="219" y="131"/>
                    </a:lnTo>
                    <a:lnTo>
                      <a:pt x="216" y="121"/>
                    </a:lnTo>
                    <a:lnTo>
                      <a:pt x="217" y="114"/>
                    </a:lnTo>
                    <a:lnTo>
                      <a:pt x="212" y="96"/>
                    </a:lnTo>
                    <a:lnTo>
                      <a:pt x="212" y="85"/>
                    </a:lnTo>
                    <a:lnTo>
                      <a:pt x="217" y="74"/>
                    </a:lnTo>
                    <a:lnTo>
                      <a:pt x="222" y="63"/>
                    </a:lnTo>
                    <a:lnTo>
                      <a:pt x="222" y="57"/>
                    </a:lnTo>
                    <a:lnTo>
                      <a:pt x="239" y="57"/>
                    </a:lnTo>
                    <a:lnTo>
                      <a:pt x="258" y="55"/>
                    </a:lnTo>
                    <a:lnTo>
                      <a:pt x="262" y="57"/>
                    </a:lnTo>
                    <a:lnTo>
                      <a:pt x="262" y="55"/>
                    </a:lnTo>
                    <a:lnTo>
                      <a:pt x="263" y="57"/>
                    </a:lnTo>
                    <a:lnTo>
                      <a:pt x="265" y="57"/>
                    </a:lnTo>
                    <a:lnTo>
                      <a:pt x="265" y="55"/>
                    </a:lnTo>
                    <a:lnTo>
                      <a:pt x="267" y="55"/>
                    </a:lnTo>
                    <a:lnTo>
                      <a:pt x="267" y="57"/>
                    </a:lnTo>
                    <a:lnTo>
                      <a:pt x="268" y="55"/>
                    </a:lnTo>
                    <a:lnTo>
                      <a:pt x="268" y="57"/>
                    </a:lnTo>
                    <a:lnTo>
                      <a:pt x="270" y="55"/>
                    </a:lnTo>
                    <a:lnTo>
                      <a:pt x="273" y="55"/>
                    </a:lnTo>
                    <a:lnTo>
                      <a:pt x="277" y="53"/>
                    </a:lnTo>
                    <a:lnTo>
                      <a:pt x="277" y="51"/>
                    </a:lnTo>
                    <a:lnTo>
                      <a:pt x="280" y="51"/>
                    </a:lnTo>
                    <a:lnTo>
                      <a:pt x="280" y="50"/>
                    </a:lnTo>
                    <a:lnTo>
                      <a:pt x="280" y="51"/>
                    </a:lnTo>
                    <a:lnTo>
                      <a:pt x="282" y="48"/>
                    </a:lnTo>
                    <a:lnTo>
                      <a:pt x="284" y="48"/>
                    </a:lnTo>
                    <a:lnTo>
                      <a:pt x="287" y="50"/>
                    </a:lnTo>
                    <a:lnTo>
                      <a:pt x="289" y="48"/>
                    </a:lnTo>
                    <a:lnTo>
                      <a:pt x="290" y="50"/>
                    </a:lnTo>
                    <a:lnTo>
                      <a:pt x="292" y="51"/>
                    </a:lnTo>
                    <a:lnTo>
                      <a:pt x="294" y="51"/>
                    </a:lnTo>
                    <a:lnTo>
                      <a:pt x="296" y="55"/>
                    </a:lnTo>
                    <a:lnTo>
                      <a:pt x="297" y="53"/>
                    </a:lnTo>
                    <a:lnTo>
                      <a:pt x="299" y="55"/>
                    </a:lnTo>
                    <a:lnTo>
                      <a:pt x="299" y="57"/>
                    </a:lnTo>
                    <a:lnTo>
                      <a:pt x="301" y="55"/>
                    </a:lnTo>
                    <a:lnTo>
                      <a:pt x="302" y="57"/>
                    </a:lnTo>
                    <a:lnTo>
                      <a:pt x="301" y="60"/>
                    </a:lnTo>
                    <a:lnTo>
                      <a:pt x="302" y="63"/>
                    </a:lnTo>
                    <a:lnTo>
                      <a:pt x="306" y="62"/>
                    </a:lnTo>
                    <a:lnTo>
                      <a:pt x="306" y="63"/>
                    </a:lnTo>
                    <a:lnTo>
                      <a:pt x="307" y="63"/>
                    </a:lnTo>
                    <a:lnTo>
                      <a:pt x="309" y="63"/>
                    </a:lnTo>
                    <a:lnTo>
                      <a:pt x="311" y="62"/>
                    </a:lnTo>
                    <a:lnTo>
                      <a:pt x="316" y="62"/>
                    </a:lnTo>
                    <a:lnTo>
                      <a:pt x="318" y="62"/>
                    </a:lnTo>
                    <a:lnTo>
                      <a:pt x="318" y="63"/>
                    </a:lnTo>
                    <a:lnTo>
                      <a:pt x="318" y="65"/>
                    </a:lnTo>
                    <a:lnTo>
                      <a:pt x="321" y="62"/>
                    </a:lnTo>
                    <a:lnTo>
                      <a:pt x="324" y="63"/>
                    </a:lnTo>
                    <a:lnTo>
                      <a:pt x="331" y="60"/>
                    </a:lnTo>
                    <a:lnTo>
                      <a:pt x="333" y="55"/>
                    </a:lnTo>
                    <a:lnTo>
                      <a:pt x="336" y="57"/>
                    </a:lnTo>
                    <a:lnTo>
                      <a:pt x="338" y="57"/>
                    </a:lnTo>
                    <a:lnTo>
                      <a:pt x="338" y="58"/>
                    </a:lnTo>
                    <a:lnTo>
                      <a:pt x="341" y="57"/>
                    </a:lnTo>
                    <a:lnTo>
                      <a:pt x="343" y="57"/>
                    </a:lnTo>
                    <a:lnTo>
                      <a:pt x="347" y="58"/>
                    </a:lnTo>
                    <a:lnTo>
                      <a:pt x="353" y="60"/>
                    </a:lnTo>
                    <a:lnTo>
                      <a:pt x="357" y="60"/>
                    </a:lnTo>
                    <a:lnTo>
                      <a:pt x="358" y="62"/>
                    </a:lnTo>
                    <a:lnTo>
                      <a:pt x="362" y="62"/>
                    </a:lnTo>
                    <a:lnTo>
                      <a:pt x="364" y="62"/>
                    </a:lnTo>
                    <a:lnTo>
                      <a:pt x="365" y="60"/>
                    </a:lnTo>
                    <a:lnTo>
                      <a:pt x="367" y="58"/>
                    </a:lnTo>
                    <a:lnTo>
                      <a:pt x="369" y="58"/>
                    </a:lnTo>
                    <a:lnTo>
                      <a:pt x="372" y="58"/>
                    </a:lnTo>
                    <a:lnTo>
                      <a:pt x="375" y="57"/>
                    </a:lnTo>
                    <a:lnTo>
                      <a:pt x="381" y="55"/>
                    </a:lnTo>
                    <a:lnTo>
                      <a:pt x="382" y="53"/>
                    </a:lnTo>
                    <a:lnTo>
                      <a:pt x="382" y="51"/>
                    </a:lnTo>
                    <a:lnTo>
                      <a:pt x="382" y="50"/>
                    </a:lnTo>
                    <a:lnTo>
                      <a:pt x="384" y="46"/>
                    </a:lnTo>
                    <a:lnTo>
                      <a:pt x="384" y="43"/>
                    </a:lnTo>
                    <a:lnTo>
                      <a:pt x="386" y="43"/>
                    </a:lnTo>
                    <a:lnTo>
                      <a:pt x="389" y="40"/>
                    </a:lnTo>
                    <a:lnTo>
                      <a:pt x="396" y="41"/>
                    </a:lnTo>
                    <a:lnTo>
                      <a:pt x="399" y="40"/>
                    </a:lnTo>
                    <a:lnTo>
                      <a:pt x="401" y="41"/>
                    </a:lnTo>
                    <a:lnTo>
                      <a:pt x="406" y="41"/>
                    </a:lnTo>
                    <a:lnTo>
                      <a:pt x="408" y="43"/>
                    </a:lnTo>
                    <a:lnTo>
                      <a:pt x="409" y="43"/>
                    </a:lnTo>
                    <a:lnTo>
                      <a:pt x="411" y="46"/>
                    </a:lnTo>
                    <a:lnTo>
                      <a:pt x="415" y="46"/>
                    </a:lnTo>
                    <a:lnTo>
                      <a:pt x="416" y="48"/>
                    </a:lnTo>
                    <a:lnTo>
                      <a:pt x="418" y="48"/>
                    </a:lnTo>
                    <a:lnTo>
                      <a:pt x="425" y="41"/>
                    </a:lnTo>
                    <a:lnTo>
                      <a:pt x="430" y="41"/>
                    </a:lnTo>
                    <a:lnTo>
                      <a:pt x="432" y="41"/>
                    </a:lnTo>
                    <a:lnTo>
                      <a:pt x="432" y="40"/>
                    </a:lnTo>
                    <a:lnTo>
                      <a:pt x="435" y="38"/>
                    </a:lnTo>
                    <a:lnTo>
                      <a:pt x="437" y="36"/>
                    </a:lnTo>
                    <a:lnTo>
                      <a:pt x="447" y="36"/>
                    </a:lnTo>
                    <a:lnTo>
                      <a:pt x="452" y="34"/>
                    </a:lnTo>
                    <a:lnTo>
                      <a:pt x="454" y="36"/>
                    </a:lnTo>
                    <a:lnTo>
                      <a:pt x="457" y="36"/>
                    </a:lnTo>
                    <a:lnTo>
                      <a:pt x="459" y="34"/>
                    </a:lnTo>
                    <a:lnTo>
                      <a:pt x="460" y="34"/>
                    </a:lnTo>
                    <a:lnTo>
                      <a:pt x="460" y="31"/>
                    </a:lnTo>
                    <a:lnTo>
                      <a:pt x="462" y="31"/>
                    </a:lnTo>
                    <a:lnTo>
                      <a:pt x="466" y="29"/>
                    </a:lnTo>
                    <a:lnTo>
                      <a:pt x="467" y="29"/>
                    </a:lnTo>
                    <a:lnTo>
                      <a:pt x="467" y="28"/>
                    </a:lnTo>
                    <a:lnTo>
                      <a:pt x="471" y="28"/>
                    </a:lnTo>
                    <a:lnTo>
                      <a:pt x="471" y="26"/>
                    </a:lnTo>
                    <a:lnTo>
                      <a:pt x="472" y="26"/>
                    </a:lnTo>
                    <a:lnTo>
                      <a:pt x="474" y="24"/>
                    </a:lnTo>
                    <a:lnTo>
                      <a:pt x="481" y="24"/>
                    </a:lnTo>
                    <a:lnTo>
                      <a:pt x="483" y="23"/>
                    </a:lnTo>
                    <a:lnTo>
                      <a:pt x="484" y="23"/>
                    </a:lnTo>
                    <a:lnTo>
                      <a:pt x="489" y="19"/>
                    </a:lnTo>
                    <a:lnTo>
                      <a:pt x="494" y="17"/>
                    </a:lnTo>
                    <a:lnTo>
                      <a:pt x="498" y="14"/>
                    </a:lnTo>
                    <a:lnTo>
                      <a:pt x="501" y="12"/>
                    </a:lnTo>
                    <a:lnTo>
                      <a:pt x="506" y="7"/>
                    </a:lnTo>
                    <a:lnTo>
                      <a:pt x="510" y="6"/>
                    </a:lnTo>
                    <a:lnTo>
                      <a:pt x="513" y="6"/>
                    </a:lnTo>
                    <a:lnTo>
                      <a:pt x="513" y="2"/>
                    </a:lnTo>
                    <a:lnTo>
                      <a:pt x="517" y="0"/>
                    </a:lnTo>
                    <a:lnTo>
                      <a:pt x="522" y="0"/>
                    </a:lnTo>
                    <a:lnTo>
                      <a:pt x="522" y="4"/>
                    </a:lnTo>
                    <a:lnTo>
                      <a:pt x="520" y="4"/>
                    </a:lnTo>
                    <a:lnTo>
                      <a:pt x="523" y="7"/>
                    </a:lnTo>
                    <a:lnTo>
                      <a:pt x="523" y="9"/>
                    </a:lnTo>
                    <a:lnTo>
                      <a:pt x="527" y="11"/>
                    </a:lnTo>
                    <a:lnTo>
                      <a:pt x="527" y="12"/>
                    </a:lnTo>
                    <a:lnTo>
                      <a:pt x="523" y="11"/>
                    </a:lnTo>
                    <a:lnTo>
                      <a:pt x="518" y="14"/>
                    </a:lnTo>
                    <a:lnTo>
                      <a:pt x="523" y="17"/>
                    </a:lnTo>
                    <a:lnTo>
                      <a:pt x="525" y="19"/>
                    </a:lnTo>
                    <a:lnTo>
                      <a:pt x="525" y="21"/>
                    </a:lnTo>
                    <a:lnTo>
                      <a:pt x="520" y="23"/>
                    </a:lnTo>
                    <a:lnTo>
                      <a:pt x="520" y="24"/>
                    </a:lnTo>
                    <a:lnTo>
                      <a:pt x="520" y="26"/>
                    </a:lnTo>
                    <a:lnTo>
                      <a:pt x="520" y="28"/>
                    </a:lnTo>
                    <a:lnTo>
                      <a:pt x="523" y="29"/>
                    </a:lnTo>
                    <a:lnTo>
                      <a:pt x="522" y="31"/>
                    </a:lnTo>
                    <a:lnTo>
                      <a:pt x="520" y="34"/>
                    </a:lnTo>
                    <a:lnTo>
                      <a:pt x="520" y="36"/>
                    </a:lnTo>
                    <a:lnTo>
                      <a:pt x="517" y="38"/>
                    </a:lnTo>
                    <a:lnTo>
                      <a:pt x="515" y="41"/>
                    </a:lnTo>
                    <a:lnTo>
                      <a:pt x="513" y="43"/>
                    </a:lnTo>
                    <a:lnTo>
                      <a:pt x="513" y="45"/>
                    </a:lnTo>
                    <a:lnTo>
                      <a:pt x="515" y="45"/>
                    </a:lnTo>
                    <a:lnTo>
                      <a:pt x="515" y="46"/>
                    </a:lnTo>
                    <a:lnTo>
                      <a:pt x="517" y="48"/>
                    </a:lnTo>
                    <a:lnTo>
                      <a:pt x="517" y="46"/>
                    </a:lnTo>
                    <a:lnTo>
                      <a:pt x="517" y="48"/>
                    </a:lnTo>
                    <a:lnTo>
                      <a:pt x="518" y="48"/>
                    </a:lnTo>
                    <a:lnTo>
                      <a:pt x="518" y="50"/>
                    </a:lnTo>
                    <a:lnTo>
                      <a:pt x="518" y="51"/>
                    </a:lnTo>
                    <a:lnTo>
                      <a:pt x="517" y="53"/>
                    </a:lnTo>
                    <a:lnTo>
                      <a:pt x="515" y="55"/>
                    </a:lnTo>
                    <a:lnTo>
                      <a:pt x="517" y="57"/>
                    </a:lnTo>
                    <a:lnTo>
                      <a:pt x="518" y="58"/>
                    </a:lnTo>
                    <a:lnTo>
                      <a:pt x="517" y="60"/>
                    </a:lnTo>
                    <a:lnTo>
                      <a:pt x="517" y="62"/>
                    </a:lnTo>
                    <a:lnTo>
                      <a:pt x="517" y="63"/>
                    </a:lnTo>
                    <a:lnTo>
                      <a:pt x="518" y="65"/>
                    </a:lnTo>
                    <a:lnTo>
                      <a:pt x="518" y="68"/>
                    </a:lnTo>
                    <a:lnTo>
                      <a:pt x="520" y="70"/>
                    </a:lnTo>
                    <a:lnTo>
                      <a:pt x="518" y="72"/>
                    </a:lnTo>
                    <a:lnTo>
                      <a:pt x="520" y="75"/>
                    </a:lnTo>
                    <a:lnTo>
                      <a:pt x="522" y="77"/>
                    </a:lnTo>
                    <a:lnTo>
                      <a:pt x="520" y="79"/>
                    </a:lnTo>
                    <a:lnTo>
                      <a:pt x="520" y="80"/>
                    </a:lnTo>
                    <a:lnTo>
                      <a:pt x="520" y="82"/>
                    </a:lnTo>
                    <a:lnTo>
                      <a:pt x="520" y="85"/>
                    </a:lnTo>
                    <a:lnTo>
                      <a:pt x="520" y="87"/>
                    </a:lnTo>
                    <a:lnTo>
                      <a:pt x="520" y="89"/>
                    </a:lnTo>
                    <a:lnTo>
                      <a:pt x="520" y="91"/>
                    </a:lnTo>
                    <a:lnTo>
                      <a:pt x="520" y="94"/>
                    </a:lnTo>
                    <a:lnTo>
                      <a:pt x="518" y="97"/>
                    </a:lnTo>
                    <a:lnTo>
                      <a:pt x="520" y="97"/>
                    </a:lnTo>
                    <a:lnTo>
                      <a:pt x="522" y="97"/>
                    </a:lnTo>
                    <a:lnTo>
                      <a:pt x="523" y="97"/>
                    </a:lnTo>
                    <a:lnTo>
                      <a:pt x="520" y="99"/>
                    </a:lnTo>
                    <a:lnTo>
                      <a:pt x="518" y="103"/>
                    </a:lnTo>
                    <a:lnTo>
                      <a:pt x="520" y="104"/>
                    </a:lnTo>
                    <a:lnTo>
                      <a:pt x="518" y="106"/>
                    </a:lnTo>
                    <a:lnTo>
                      <a:pt x="520" y="104"/>
                    </a:lnTo>
                    <a:lnTo>
                      <a:pt x="523" y="104"/>
                    </a:lnTo>
                    <a:lnTo>
                      <a:pt x="522" y="106"/>
                    </a:lnTo>
                    <a:lnTo>
                      <a:pt x="523" y="109"/>
                    </a:lnTo>
                    <a:lnTo>
                      <a:pt x="525" y="111"/>
                    </a:lnTo>
                    <a:lnTo>
                      <a:pt x="525" y="109"/>
                    </a:lnTo>
                    <a:lnTo>
                      <a:pt x="525" y="111"/>
                    </a:lnTo>
                    <a:lnTo>
                      <a:pt x="523" y="111"/>
                    </a:lnTo>
                    <a:lnTo>
                      <a:pt x="523" y="114"/>
                    </a:lnTo>
                    <a:lnTo>
                      <a:pt x="525" y="113"/>
                    </a:lnTo>
                    <a:lnTo>
                      <a:pt x="525" y="114"/>
                    </a:lnTo>
                    <a:lnTo>
                      <a:pt x="525" y="116"/>
                    </a:lnTo>
                    <a:lnTo>
                      <a:pt x="527" y="116"/>
                    </a:lnTo>
                    <a:lnTo>
                      <a:pt x="525" y="118"/>
                    </a:lnTo>
                    <a:lnTo>
                      <a:pt x="523" y="120"/>
                    </a:lnTo>
                    <a:lnTo>
                      <a:pt x="523" y="118"/>
                    </a:lnTo>
                    <a:lnTo>
                      <a:pt x="523" y="120"/>
                    </a:lnTo>
                    <a:lnTo>
                      <a:pt x="522" y="120"/>
                    </a:lnTo>
                    <a:lnTo>
                      <a:pt x="520" y="125"/>
                    </a:lnTo>
                    <a:lnTo>
                      <a:pt x="520" y="123"/>
                    </a:lnTo>
                    <a:lnTo>
                      <a:pt x="518" y="123"/>
                    </a:lnTo>
                    <a:lnTo>
                      <a:pt x="515" y="125"/>
                    </a:lnTo>
                    <a:lnTo>
                      <a:pt x="515" y="126"/>
                    </a:lnTo>
                    <a:lnTo>
                      <a:pt x="517" y="130"/>
                    </a:lnTo>
                    <a:lnTo>
                      <a:pt x="518" y="130"/>
                    </a:lnTo>
                    <a:lnTo>
                      <a:pt x="520" y="131"/>
                    </a:lnTo>
                    <a:lnTo>
                      <a:pt x="520" y="128"/>
                    </a:lnTo>
                    <a:lnTo>
                      <a:pt x="518" y="126"/>
                    </a:lnTo>
                    <a:lnTo>
                      <a:pt x="520" y="126"/>
                    </a:lnTo>
                    <a:lnTo>
                      <a:pt x="522" y="126"/>
                    </a:lnTo>
                    <a:lnTo>
                      <a:pt x="523" y="126"/>
                    </a:lnTo>
                    <a:lnTo>
                      <a:pt x="522" y="133"/>
                    </a:lnTo>
                    <a:lnTo>
                      <a:pt x="523" y="137"/>
                    </a:lnTo>
                    <a:lnTo>
                      <a:pt x="523" y="142"/>
                    </a:lnTo>
                    <a:lnTo>
                      <a:pt x="522" y="143"/>
                    </a:lnTo>
                    <a:lnTo>
                      <a:pt x="523" y="147"/>
                    </a:lnTo>
                    <a:lnTo>
                      <a:pt x="523" y="148"/>
                    </a:lnTo>
                    <a:lnTo>
                      <a:pt x="522" y="150"/>
                    </a:lnTo>
                    <a:lnTo>
                      <a:pt x="522" y="155"/>
                    </a:lnTo>
                    <a:lnTo>
                      <a:pt x="523" y="157"/>
                    </a:lnTo>
                    <a:lnTo>
                      <a:pt x="525" y="157"/>
                    </a:lnTo>
                    <a:lnTo>
                      <a:pt x="525" y="159"/>
                    </a:lnTo>
                    <a:lnTo>
                      <a:pt x="522" y="160"/>
                    </a:lnTo>
                    <a:lnTo>
                      <a:pt x="522" y="162"/>
                    </a:lnTo>
                    <a:lnTo>
                      <a:pt x="523" y="164"/>
                    </a:lnTo>
                    <a:lnTo>
                      <a:pt x="525" y="174"/>
                    </a:lnTo>
                    <a:lnTo>
                      <a:pt x="525" y="176"/>
                    </a:lnTo>
                    <a:lnTo>
                      <a:pt x="527" y="177"/>
                    </a:lnTo>
                    <a:lnTo>
                      <a:pt x="523" y="177"/>
                    </a:lnTo>
                    <a:lnTo>
                      <a:pt x="523" y="179"/>
                    </a:lnTo>
                    <a:lnTo>
                      <a:pt x="525" y="179"/>
                    </a:lnTo>
                    <a:lnTo>
                      <a:pt x="527" y="179"/>
                    </a:lnTo>
                    <a:lnTo>
                      <a:pt x="527" y="181"/>
                    </a:lnTo>
                    <a:lnTo>
                      <a:pt x="527" y="182"/>
                    </a:lnTo>
                    <a:lnTo>
                      <a:pt x="523" y="184"/>
                    </a:lnTo>
                    <a:lnTo>
                      <a:pt x="525" y="184"/>
                    </a:lnTo>
                    <a:lnTo>
                      <a:pt x="525" y="186"/>
                    </a:lnTo>
                    <a:lnTo>
                      <a:pt x="522" y="188"/>
                    </a:lnTo>
                    <a:lnTo>
                      <a:pt x="523" y="189"/>
                    </a:lnTo>
                    <a:lnTo>
                      <a:pt x="522" y="191"/>
                    </a:lnTo>
                    <a:lnTo>
                      <a:pt x="523" y="191"/>
                    </a:lnTo>
                    <a:lnTo>
                      <a:pt x="523" y="189"/>
                    </a:lnTo>
                    <a:lnTo>
                      <a:pt x="525" y="191"/>
                    </a:lnTo>
                    <a:lnTo>
                      <a:pt x="523" y="191"/>
                    </a:lnTo>
                    <a:lnTo>
                      <a:pt x="525" y="193"/>
                    </a:lnTo>
                    <a:lnTo>
                      <a:pt x="525" y="191"/>
                    </a:lnTo>
                    <a:lnTo>
                      <a:pt x="527" y="189"/>
                    </a:lnTo>
                    <a:lnTo>
                      <a:pt x="530" y="189"/>
                    </a:lnTo>
                    <a:lnTo>
                      <a:pt x="530" y="193"/>
                    </a:lnTo>
                    <a:lnTo>
                      <a:pt x="532" y="193"/>
                    </a:lnTo>
                    <a:lnTo>
                      <a:pt x="532" y="196"/>
                    </a:lnTo>
                    <a:lnTo>
                      <a:pt x="528" y="198"/>
                    </a:lnTo>
                    <a:lnTo>
                      <a:pt x="527" y="196"/>
                    </a:lnTo>
                    <a:lnTo>
                      <a:pt x="525" y="196"/>
                    </a:lnTo>
                    <a:lnTo>
                      <a:pt x="527" y="198"/>
                    </a:lnTo>
                    <a:lnTo>
                      <a:pt x="527" y="201"/>
                    </a:lnTo>
                    <a:lnTo>
                      <a:pt x="528" y="203"/>
                    </a:lnTo>
                    <a:lnTo>
                      <a:pt x="527" y="203"/>
                    </a:lnTo>
                    <a:lnTo>
                      <a:pt x="527" y="205"/>
                    </a:lnTo>
                    <a:lnTo>
                      <a:pt x="528" y="203"/>
                    </a:lnTo>
                    <a:lnTo>
                      <a:pt x="525" y="205"/>
                    </a:lnTo>
                    <a:lnTo>
                      <a:pt x="527" y="206"/>
                    </a:lnTo>
                    <a:lnTo>
                      <a:pt x="525" y="210"/>
                    </a:lnTo>
                    <a:lnTo>
                      <a:pt x="528" y="208"/>
                    </a:lnTo>
                    <a:lnTo>
                      <a:pt x="528" y="203"/>
                    </a:lnTo>
                    <a:lnTo>
                      <a:pt x="530" y="201"/>
                    </a:lnTo>
                    <a:lnTo>
                      <a:pt x="535" y="199"/>
                    </a:lnTo>
                    <a:lnTo>
                      <a:pt x="537" y="205"/>
                    </a:lnTo>
                    <a:lnTo>
                      <a:pt x="534" y="206"/>
                    </a:lnTo>
                    <a:lnTo>
                      <a:pt x="534" y="208"/>
                    </a:lnTo>
                    <a:lnTo>
                      <a:pt x="535" y="206"/>
                    </a:lnTo>
                    <a:lnTo>
                      <a:pt x="537" y="206"/>
                    </a:lnTo>
                    <a:lnTo>
                      <a:pt x="535" y="211"/>
                    </a:lnTo>
                    <a:lnTo>
                      <a:pt x="537" y="213"/>
                    </a:lnTo>
                    <a:lnTo>
                      <a:pt x="537" y="218"/>
                    </a:lnTo>
                    <a:lnTo>
                      <a:pt x="535" y="220"/>
                    </a:lnTo>
                    <a:lnTo>
                      <a:pt x="537" y="220"/>
                    </a:lnTo>
                    <a:lnTo>
                      <a:pt x="537" y="222"/>
                    </a:lnTo>
                    <a:lnTo>
                      <a:pt x="535" y="222"/>
                    </a:lnTo>
                    <a:lnTo>
                      <a:pt x="532" y="223"/>
                    </a:lnTo>
                    <a:lnTo>
                      <a:pt x="528" y="225"/>
                    </a:lnTo>
                    <a:lnTo>
                      <a:pt x="527" y="222"/>
                    </a:lnTo>
                    <a:lnTo>
                      <a:pt x="527" y="223"/>
                    </a:lnTo>
                    <a:lnTo>
                      <a:pt x="527" y="225"/>
                    </a:lnTo>
                    <a:lnTo>
                      <a:pt x="530" y="227"/>
                    </a:lnTo>
                    <a:lnTo>
                      <a:pt x="532" y="227"/>
                    </a:lnTo>
                    <a:lnTo>
                      <a:pt x="534" y="230"/>
                    </a:lnTo>
                    <a:lnTo>
                      <a:pt x="532" y="230"/>
                    </a:lnTo>
                    <a:lnTo>
                      <a:pt x="532" y="228"/>
                    </a:lnTo>
                    <a:lnTo>
                      <a:pt x="528" y="228"/>
                    </a:lnTo>
                    <a:lnTo>
                      <a:pt x="527" y="227"/>
                    </a:lnTo>
                    <a:lnTo>
                      <a:pt x="527" y="228"/>
                    </a:lnTo>
                    <a:lnTo>
                      <a:pt x="527" y="230"/>
                    </a:lnTo>
                    <a:lnTo>
                      <a:pt x="528" y="230"/>
                    </a:lnTo>
                    <a:lnTo>
                      <a:pt x="528" y="228"/>
                    </a:lnTo>
                    <a:lnTo>
                      <a:pt x="528" y="230"/>
                    </a:lnTo>
                    <a:lnTo>
                      <a:pt x="530" y="232"/>
                    </a:lnTo>
                    <a:lnTo>
                      <a:pt x="530" y="233"/>
                    </a:lnTo>
                    <a:lnTo>
                      <a:pt x="527" y="233"/>
                    </a:lnTo>
                    <a:lnTo>
                      <a:pt x="523" y="237"/>
                    </a:lnTo>
                    <a:lnTo>
                      <a:pt x="523" y="235"/>
                    </a:lnTo>
                    <a:lnTo>
                      <a:pt x="522" y="237"/>
                    </a:lnTo>
                    <a:lnTo>
                      <a:pt x="520" y="239"/>
                    </a:lnTo>
                    <a:lnTo>
                      <a:pt x="520" y="240"/>
                    </a:lnTo>
                    <a:lnTo>
                      <a:pt x="520" y="239"/>
                    </a:lnTo>
                    <a:lnTo>
                      <a:pt x="523" y="240"/>
                    </a:lnTo>
                    <a:lnTo>
                      <a:pt x="525" y="239"/>
                    </a:lnTo>
                    <a:lnTo>
                      <a:pt x="523" y="239"/>
                    </a:lnTo>
                    <a:lnTo>
                      <a:pt x="525" y="237"/>
                    </a:lnTo>
                    <a:lnTo>
                      <a:pt x="527" y="239"/>
                    </a:lnTo>
                    <a:lnTo>
                      <a:pt x="527" y="237"/>
                    </a:lnTo>
                    <a:lnTo>
                      <a:pt x="528" y="239"/>
                    </a:lnTo>
                    <a:lnTo>
                      <a:pt x="528" y="244"/>
                    </a:lnTo>
                    <a:lnTo>
                      <a:pt x="525" y="249"/>
                    </a:lnTo>
                    <a:lnTo>
                      <a:pt x="527" y="247"/>
                    </a:lnTo>
                    <a:lnTo>
                      <a:pt x="523" y="250"/>
                    </a:lnTo>
                    <a:lnTo>
                      <a:pt x="523" y="252"/>
                    </a:lnTo>
                    <a:lnTo>
                      <a:pt x="522" y="252"/>
                    </a:lnTo>
                    <a:lnTo>
                      <a:pt x="523" y="252"/>
                    </a:lnTo>
                    <a:lnTo>
                      <a:pt x="523" y="254"/>
                    </a:lnTo>
                    <a:lnTo>
                      <a:pt x="520" y="257"/>
                    </a:lnTo>
                    <a:lnTo>
                      <a:pt x="517" y="261"/>
                    </a:lnTo>
                    <a:lnTo>
                      <a:pt x="511" y="268"/>
                    </a:lnTo>
                    <a:lnTo>
                      <a:pt x="503" y="278"/>
                    </a:lnTo>
                    <a:lnTo>
                      <a:pt x="500" y="278"/>
                    </a:lnTo>
                    <a:lnTo>
                      <a:pt x="501" y="279"/>
                    </a:lnTo>
                    <a:lnTo>
                      <a:pt x="501" y="281"/>
                    </a:lnTo>
                    <a:lnTo>
                      <a:pt x="500" y="283"/>
                    </a:lnTo>
                    <a:lnTo>
                      <a:pt x="500" y="285"/>
                    </a:lnTo>
                    <a:lnTo>
                      <a:pt x="496" y="286"/>
                    </a:lnTo>
                    <a:lnTo>
                      <a:pt x="496" y="290"/>
                    </a:lnTo>
                    <a:lnTo>
                      <a:pt x="493" y="293"/>
                    </a:lnTo>
                    <a:lnTo>
                      <a:pt x="491" y="293"/>
                    </a:lnTo>
                    <a:lnTo>
                      <a:pt x="484" y="295"/>
                    </a:lnTo>
                    <a:lnTo>
                      <a:pt x="486" y="295"/>
                    </a:lnTo>
                    <a:lnTo>
                      <a:pt x="489" y="295"/>
                    </a:lnTo>
                    <a:lnTo>
                      <a:pt x="491" y="296"/>
                    </a:lnTo>
                    <a:lnTo>
                      <a:pt x="493" y="296"/>
                    </a:lnTo>
                    <a:lnTo>
                      <a:pt x="489" y="300"/>
                    </a:lnTo>
                    <a:lnTo>
                      <a:pt x="488" y="300"/>
                    </a:lnTo>
                    <a:lnTo>
                      <a:pt x="489" y="300"/>
                    </a:lnTo>
                    <a:lnTo>
                      <a:pt x="489" y="302"/>
                    </a:lnTo>
                    <a:lnTo>
                      <a:pt x="489" y="300"/>
                    </a:lnTo>
                    <a:lnTo>
                      <a:pt x="489" y="302"/>
                    </a:lnTo>
                    <a:lnTo>
                      <a:pt x="486" y="302"/>
                    </a:lnTo>
                    <a:lnTo>
                      <a:pt x="488" y="303"/>
                    </a:lnTo>
                    <a:lnTo>
                      <a:pt x="472" y="312"/>
                    </a:lnTo>
                    <a:lnTo>
                      <a:pt x="469" y="315"/>
                    </a:lnTo>
                    <a:lnTo>
                      <a:pt x="457" y="320"/>
                    </a:lnTo>
                    <a:lnTo>
                      <a:pt x="452" y="324"/>
                    </a:lnTo>
                    <a:lnTo>
                      <a:pt x="450" y="327"/>
                    </a:lnTo>
                    <a:lnTo>
                      <a:pt x="450" y="325"/>
                    </a:lnTo>
                    <a:lnTo>
                      <a:pt x="449" y="327"/>
                    </a:lnTo>
                    <a:lnTo>
                      <a:pt x="450" y="329"/>
                    </a:lnTo>
                    <a:lnTo>
                      <a:pt x="447" y="332"/>
                    </a:lnTo>
                    <a:lnTo>
                      <a:pt x="443" y="332"/>
                    </a:lnTo>
                    <a:lnTo>
                      <a:pt x="435" y="334"/>
                    </a:lnTo>
                    <a:lnTo>
                      <a:pt x="428" y="336"/>
                    </a:lnTo>
                    <a:lnTo>
                      <a:pt x="416" y="339"/>
                    </a:lnTo>
                    <a:lnTo>
                      <a:pt x="404" y="344"/>
                    </a:lnTo>
                    <a:lnTo>
                      <a:pt x="403" y="346"/>
                    </a:lnTo>
                    <a:lnTo>
                      <a:pt x="391" y="349"/>
                    </a:lnTo>
                    <a:lnTo>
                      <a:pt x="379" y="356"/>
                    </a:lnTo>
                    <a:lnTo>
                      <a:pt x="377" y="354"/>
                    </a:lnTo>
                    <a:lnTo>
                      <a:pt x="377" y="356"/>
                    </a:lnTo>
                    <a:lnTo>
                      <a:pt x="374" y="358"/>
                    </a:lnTo>
                    <a:lnTo>
                      <a:pt x="358" y="364"/>
                    </a:lnTo>
                    <a:lnTo>
                      <a:pt x="353" y="370"/>
                    </a:lnTo>
                    <a:lnTo>
                      <a:pt x="348" y="373"/>
                    </a:lnTo>
                    <a:lnTo>
                      <a:pt x="341" y="383"/>
                    </a:lnTo>
                    <a:lnTo>
                      <a:pt x="341" y="385"/>
                    </a:lnTo>
                    <a:lnTo>
                      <a:pt x="336" y="390"/>
                    </a:lnTo>
                    <a:lnTo>
                      <a:pt x="335" y="390"/>
                    </a:lnTo>
                    <a:lnTo>
                      <a:pt x="331" y="392"/>
                    </a:lnTo>
                    <a:lnTo>
                      <a:pt x="331" y="393"/>
                    </a:lnTo>
                    <a:lnTo>
                      <a:pt x="333" y="393"/>
                    </a:lnTo>
                    <a:lnTo>
                      <a:pt x="333" y="392"/>
                    </a:lnTo>
                    <a:lnTo>
                      <a:pt x="335" y="392"/>
                    </a:lnTo>
                    <a:lnTo>
                      <a:pt x="335" y="393"/>
                    </a:lnTo>
                    <a:lnTo>
                      <a:pt x="326" y="400"/>
                    </a:lnTo>
                    <a:lnTo>
                      <a:pt x="326" y="402"/>
                    </a:lnTo>
                    <a:lnTo>
                      <a:pt x="324" y="400"/>
                    </a:lnTo>
                    <a:lnTo>
                      <a:pt x="324" y="402"/>
                    </a:lnTo>
                    <a:lnTo>
                      <a:pt x="323" y="402"/>
                    </a:lnTo>
                    <a:lnTo>
                      <a:pt x="323" y="404"/>
                    </a:lnTo>
                    <a:lnTo>
                      <a:pt x="318" y="409"/>
                    </a:lnTo>
                    <a:lnTo>
                      <a:pt x="318" y="410"/>
                    </a:lnTo>
                    <a:lnTo>
                      <a:pt x="314" y="410"/>
                    </a:lnTo>
                    <a:lnTo>
                      <a:pt x="316" y="412"/>
                    </a:lnTo>
                    <a:lnTo>
                      <a:pt x="314" y="414"/>
                    </a:lnTo>
                    <a:lnTo>
                      <a:pt x="313" y="414"/>
                    </a:lnTo>
                    <a:lnTo>
                      <a:pt x="314" y="414"/>
                    </a:lnTo>
                    <a:lnTo>
                      <a:pt x="313" y="416"/>
                    </a:lnTo>
                    <a:lnTo>
                      <a:pt x="311" y="417"/>
                    </a:lnTo>
                    <a:lnTo>
                      <a:pt x="309" y="421"/>
                    </a:lnTo>
                    <a:lnTo>
                      <a:pt x="313" y="419"/>
                    </a:lnTo>
                    <a:lnTo>
                      <a:pt x="311" y="421"/>
                    </a:lnTo>
                    <a:lnTo>
                      <a:pt x="311" y="422"/>
                    </a:lnTo>
                    <a:lnTo>
                      <a:pt x="307" y="426"/>
                    </a:lnTo>
                    <a:lnTo>
                      <a:pt x="306" y="426"/>
                    </a:lnTo>
                    <a:lnTo>
                      <a:pt x="301" y="427"/>
                    </a:lnTo>
                    <a:lnTo>
                      <a:pt x="299" y="427"/>
                    </a:lnTo>
                    <a:lnTo>
                      <a:pt x="299" y="426"/>
                    </a:lnTo>
                    <a:lnTo>
                      <a:pt x="297" y="427"/>
                    </a:lnTo>
                    <a:lnTo>
                      <a:pt x="296" y="429"/>
                    </a:lnTo>
                    <a:lnTo>
                      <a:pt x="297" y="427"/>
                    </a:lnTo>
                    <a:lnTo>
                      <a:pt x="296" y="427"/>
                    </a:lnTo>
                    <a:lnTo>
                      <a:pt x="294" y="427"/>
                    </a:lnTo>
                    <a:lnTo>
                      <a:pt x="294" y="429"/>
                    </a:lnTo>
                    <a:lnTo>
                      <a:pt x="292" y="429"/>
                    </a:lnTo>
                    <a:lnTo>
                      <a:pt x="290" y="429"/>
                    </a:lnTo>
                    <a:lnTo>
                      <a:pt x="292" y="427"/>
                    </a:lnTo>
                    <a:lnTo>
                      <a:pt x="294" y="426"/>
                    </a:lnTo>
                    <a:lnTo>
                      <a:pt x="294" y="424"/>
                    </a:lnTo>
                    <a:lnTo>
                      <a:pt x="292" y="424"/>
                    </a:lnTo>
                    <a:lnTo>
                      <a:pt x="294" y="426"/>
                    </a:lnTo>
                    <a:lnTo>
                      <a:pt x="292" y="427"/>
                    </a:lnTo>
                    <a:lnTo>
                      <a:pt x="289" y="427"/>
                    </a:lnTo>
                    <a:lnTo>
                      <a:pt x="289" y="431"/>
                    </a:lnTo>
                    <a:lnTo>
                      <a:pt x="287" y="431"/>
                    </a:lnTo>
                    <a:lnTo>
                      <a:pt x="285" y="429"/>
                    </a:lnTo>
                    <a:lnTo>
                      <a:pt x="285" y="431"/>
                    </a:lnTo>
                    <a:lnTo>
                      <a:pt x="287" y="431"/>
                    </a:lnTo>
                    <a:lnTo>
                      <a:pt x="277" y="436"/>
                    </a:lnTo>
                    <a:lnTo>
                      <a:pt x="277" y="438"/>
                    </a:lnTo>
                    <a:lnTo>
                      <a:pt x="279" y="438"/>
                    </a:lnTo>
                    <a:lnTo>
                      <a:pt x="277" y="438"/>
                    </a:lnTo>
                    <a:lnTo>
                      <a:pt x="275" y="438"/>
                    </a:lnTo>
                    <a:lnTo>
                      <a:pt x="275" y="439"/>
                    </a:lnTo>
                    <a:lnTo>
                      <a:pt x="267" y="448"/>
                    </a:lnTo>
                    <a:lnTo>
                      <a:pt x="262" y="455"/>
                    </a:lnTo>
                    <a:lnTo>
                      <a:pt x="248" y="467"/>
                    </a:lnTo>
                    <a:lnTo>
                      <a:pt x="248" y="465"/>
                    </a:lnTo>
                    <a:lnTo>
                      <a:pt x="246" y="468"/>
                    </a:lnTo>
                    <a:lnTo>
                      <a:pt x="236" y="475"/>
                    </a:lnTo>
                    <a:lnTo>
                      <a:pt x="233" y="475"/>
                    </a:lnTo>
                    <a:lnTo>
                      <a:pt x="231" y="472"/>
                    </a:lnTo>
                    <a:lnTo>
                      <a:pt x="229" y="470"/>
                    </a:lnTo>
                    <a:lnTo>
                      <a:pt x="229" y="472"/>
                    </a:lnTo>
                    <a:lnTo>
                      <a:pt x="229" y="475"/>
                    </a:lnTo>
                    <a:lnTo>
                      <a:pt x="228" y="477"/>
                    </a:lnTo>
                    <a:lnTo>
                      <a:pt x="229" y="480"/>
                    </a:lnTo>
                    <a:lnTo>
                      <a:pt x="228" y="484"/>
                    </a:lnTo>
                    <a:lnTo>
                      <a:pt x="229" y="490"/>
                    </a:lnTo>
                    <a:lnTo>
                      <a:pt x="229" y="492"/>
                    </a:lnTo>
                    <a:lnTo>
                      <a:pt x="228" y="490"/>
                    </a:lnTo>
                    <a:lnTo>
                      <a:pt x="226" y="490"/>
                    </a:lnTo>
                    <a:lnTo>
                      <a:pt x="226" y="492"/>
                    </a:lnTo>
                    <a:lnTo>
                      <a:pt x="228" y="494"/>
                    </a:lnTo>
                    <a:lnTo>
                      <a:pt x="228" y="495"/>
                    </a:lnTo>
                    <a:lnTo>
                      <a:pt x="226" y="499"/>
                    </a:lnTo>
                    <a:lnTo>
                      <a:pt x="224" y="501"/>
                    </a:lnTo>
                    <a:lnTo>
                      <a:pt x="224" y="499"/>
                    </a:lnTo>
                    <a:lnTo>
                      <a:pt x="224" y="501"/>
                    </a:lnTo>
                    <a:lnTo>
                      <a:pt x="226" y="501"/>
                    </a:lnTo>
                    <a:lnTo>
                      <a:pt x="226" y="502"/>
                    </a:lnTo>
                    <a:lnTo>
                      <a:pt x="224" y="504"/>
                    </a:lnTo>
                    <a:lnTo>
                      <a:pt x="226" y="506"/>
                    </a:lnTo>
                    <a:lnTo>
                      <a:pt x="228" y="507"/>
                    </a:lnTo>
                    <a:lnTo>
                      <a:pt x="226" y="509"/>
                    </a:lnTo>
                    <a:lnTo>
                      <a:pt x="228" y="509"/>
                    </a:lnTo>
                    <a:lnTo>
                      <a:pt x="229" y="511"/>
                    </a:lnTo>
                    <a:lnTo>
                      <a:pt x="228" y="511"/>
                    </a:lnTo>
                    <a:lnTo>
                      <a:pt x="229" y="511"/>
                    </a:lnTo>
                    <a:lnTo>
                      <a:pt x="231" y="512"/>
                    </a:lnTo>
                    <a:lnTo>
                      <a:pt x="229" y="512"/>
                    </a:lnTo>
                    <a:lnTo>
                      <a:pt x="231" y="512"/>
                    </a:lnTo>
                    <a:lnTo>
                      <a:pt x="234" y="514"/>
                    </a:lnTo>
                    <a:lnTo>
                      <a:pt x="233" y="516"/>
                    </a:lnTo>
                    <a:lnTo>
                      <a:pt x="234" y="516"/>
                    </a:lnTo>
                    <a:lnTo>
                      <a:pt x="233" y="516"/>
                    </a:lnTo>
                    <a:lnTo>
                      <a:pt x="233" y="518"/>
                    </a:lnTo>
                    <a:lnTo>
                      <a:pt x="231" y="518"/>
                    </a:lnTo>
                    <a:lnTo>
                      <a:pt x="233" y="518"/>
                    </a:lnTo>
                    <a:lnTo>
                      <a:pt x="231" y="518"/>
                    </a:lnTo>
                    <a:lnTo>
                      <a:pt x="231" y="519"/>
                    </a:lnTo>
                    <a:lnTo>
                      <a:pt x="231" y="518"/>
                    </a:lnTo>
                    <a:lnTo>
                      <a:pt x="234" y="518"/>
                    </a:lnTo>
                    <a:lnTo>
                      <a:pt x="234" y="519"/>
                    </a:lnTo>
                    <a:lnTo>
                      <a:pt x="234" y="518"/>
                    </a:lnTo>
                    <a:lnTo>
                      <a:pt x="236" y="516"/>
                    </a:lnTo>
                    <a:lnTo>
                      <a:pt x="234" y="518"/>
                    </a:lnTo>
                    <a:lnTo>
                      <a:pt x="236" y="521"/>
                    </a:lnTo>
                    <a:lnTo>
                      <a:pt x="234" y="521"/>
                    </a:lnTo>
                    <a:lnTo>
                      <a:pt x="236" y="521"/>
                    </a:lnTo>
                    <a:lnTo>
                      <a:pt x="236" y="519"/>
                    </a:lnTo>
                    <a:lnTo>
                      <a:pt x="236" y="518"/>
                    </a:lnTo>
                    <a:lnTo>
                      <a:pt x="238" y="518"/>
                    </a:lnTo>
                    <a:lnTo>
                      <a:pt x="239" y="519"/>
                    </a:lnTo>
                    <a:lnTo>
                      <a:pt x="241" y="519"/>
                    </a:lnTo>
                    <a:lnTo>
                      <a:pt x="239" y="521"/>
                    </a:lnTo>
                    <a:lnTo>
                      <a:pt x="241" y="519"/>
                    </a:lnTo>
                    <a:lnTo>
                      <a:pt x="241" y="521"/>
                    </a:lnTo>
                    <a:lnTo>
                      <a:pt x="241" y="523"/>
                    </a:lnTo>
                    <a:lnTo>
                      <a:pt x="241" y="521"/>
                    </a:lnTo>
                    <a:lnTo>
                      <a:pt x="243" y="523"/>
                    </a:lnTo>
                    <a:lnTo>
                      <a:pt x="241" y="523"/>
                    </a:lnTo>
                    <a:lnTo>
                      <a:pt x="239" y="524"/>
                    </a:lnTo>
                    <a:lnTo>
                      <a:pt x="241" y="524"/>
                    </a:lnTo>
                    <a:lnTo>
                      <a:pt x="241" y="526"/>
                    </a:lnTo>
                    <a:lnTo>
                      <a:pt x="243" y="526"/>
                    </a:lnTo>
                    <a:lnTo>
                      <a:pt x="243" y="524"/>
                    </a:lnTo>
                    <a:lnTo>
                      <a:pt x="245" y="528"/>
                    </a:lnTo>
                    <a:lnTo>
                      <a:pt x="243" y="529"/>
                    </a:lnTo>
                    <a:lnTo>
                      <a:pt x="246" y="529"/>
                    </a:lnTo>
                    <a:lnTo>
                      <a:pt x="248" y="531"/>
                    </a:lnTo>
                    <a:lnTo>
                      <a:pt x="246" y="535"/>
                    </a:lnTo>
                    <a:lnTo>
                      <a:pt x="245" y="535"/>
                    </a:lnTo>
                    <a:lnTo>
                      <a:pt x="246" y="536"/>
                    </a:lnTo>
                    <a:lnTo>
                      <a:pt x="246" y="538"/>
                    </a:lnTo>
                    <a:lnTo>
                      <a:pt x="245" y="538"/>
                    </a:lnTo>
                    <a:lnTo>
                      <a:pt x="243" y="538"/>
                    </a:lnTo>
                    <a:lnTo>
                      <a:pt x="241" y="540"/>
                    </a:lnTo>
                    <a:lnTo>
                      <a:pt x="245" y="540"/>
                    </a:lnTo>
                    <a:lnTo>
                      <a:pt x="245" y="541"/>
                    </a:lnTo>
                    <a:lnTo>
                      <a:pt x="245" y="543"/>
                    </a:lnTo>
                    <a:lnTo>
                      <a:pt x="246" y="545"/>
                    </a:lnTo>
                    <a:lnTo>
                      <a:pt x="246" y="543"/>
                    </a:lnTo>
                    <a:lnTo>
                      <a:pt x="246" y="545"/>
                    </a:lnTo>
                    <a:lnTo>
                      <a:pt x="246" y="546"/>
                    </a:lnTo>
                    <a:lnTo>
                      <a:pt x="245" y="546"/>
                    </a:lnTo>
                    <a:lnTo>
                      <a:pt x="243" y="545"/>
                    </a:lnTo>
                    <a:lnTo>
                      <a:pt x="245" y="546"/>
                    </a:lnTo>
                    <a:lnTo>
                      <a:pt x="245" y="548"/>
                    </a:lnTo>
                    <a:lnTo>
                      <a:pt x="245" y="550"/>
                    </a:lnTo>
                    <a:lnTo>
                      <a:pt x="246" y="546"/>
                    </a:lnTo>
                    <a:lnTo>
                      <a:pt x="246" y="550"/>
                    </a:lnTo>
                    <a:lnTo>
                      <a:pt x="248" y="555"/>
                    </a:lnTo>
                    <a:lnTo>
                      <a:pt x="255" y="565"/>
                    </a:lnTo>
                    <a:lnTo>
                      <a:pt x="255" y="575"/>
                    </a:lnTo>
                    <a:lnTo>
                      <a:pt x="258" y="581"/>
                    </a:lnTo>
                    <a:lnTo>
                      <a:pt x="256" y="582"/>
                    </a:lnTo>
                    <a:lnTo>
                      <a:pt x="258" y="584"/>
                    </a:lnTo>
                    <a:lnTo>
                      <a:pt x="258" y="594"/>
                    </a:lnTo>
                    <a:lnTo>
                      <a:pt x="260" y="594"/>
                    </a:lnTo>
                    <a:lnTo>
                      <a:pt x="260" y="596"/>
                    </a:lnTo>
                    <a:lnTo>
                      <a:pt x="262" y="594"/>
                    </a:lnTo>
                    <a:lnTo>
                      <a:pt x="262" y="596"/>
                    </a:lnTo>
                    <a:lnTo>
                      <a:pt x="262" y="594"/>
                    </a:lnTo>
                    <a:lnTo>
                      <a:pt x="262" y="592"/>
                    </a:lnTo>
                    <a:lnTo>
                      <a:pt x="263" y="592"/>
                    </a:lnTo>
                    <a:lnTo>
                      <a:pt x="263" y="591"/>
                    </a:lnTo>
                    <a:lnTo>
                      <a:pt x="265" y="589"/>
                    </a:lnTo>
                    <a:lnTo>
                      <a:pt x="267" y="594"/>
                    </a:lnTo>
                    <a:lnTo>
                      <a:pt x="268" y="601"/>
                    </a:lnTo>
                    <a:lnTo>
                      <a:pt x="268" y="594"/>
                    </a:lnTo>
                    <a:lnTo>
                      <a:pt x="268" y="592"/>
                    </a:lnTo>
                    <a:lnTo>
                      <a:pt x="268" y="598"/>
                    </a:lnTo>
                    <a:lnTo>
                      <a:pt x="268" y="601"/>
                    </a:lnTo>
                    <a:lnTo>
                      <a:pt x="268" y="606"/>
                    </a:lnTo>
                    <a:lnTo>
                      <a:pt x="267" y="615"/>
                    </a:lnTo>
                    <a:lnTo>
                      <a:pt x="267" y="625"/>
                    </a:lnTo>
                    <a:lnTo>
                      <a:pt x="268" y="632"/>
                    </a:lnTo>
                    <a:lnTo>
                      <a:pt x="270" y="632"/>
                    </a:lnTo>
                    <a:lnTo>
                      <a:pt x="268" y="630"/>
                    </a:lnTo>
                    <a:lnTo>
                      <a:pt x="272" y="632"/>
                    </a:lnTo>
                    <a:lnTo>
                      <a:pt x="272" y="633"/>
                    </a:lnTo>
                    <a:lnTo>
                      <a:pt x="267" y="640"/>
                    </a:lnTo>
                    <a:lnTo>
                      <a:pt x="265" y="643"/>
                    </a:lnTo>
                    <a:lnTo>
                      <a:pt x="267" y="650"/>
                    </a:lnTo>
                    <a:lnTo>
                      <a:pt x="263" y="660"/>
                    </a:lnTo>
                    <a:lnTo>
                      <a:pt x="263" y="667"/>
                    </a:lnTo>
                    <a:lnTo>
                      <a:pt x="262" y="672"/>
                    </a:lnTo>
                    <a:lnTo>
                      <a:pt x="262" y="669"/>
                    </a:lnTo>
                    <a:lnTo>
                      <a:pt x="258" y="669"/>
                    </a:lnTo>
                    <a:lnTo>
                      <a:pt x="258" y="671"/>
                    </a:lnTo>
                    <a:lnTo>
                      <a:pt x="260" y="671"/>
                    </a:lnTo>
                    <a:lnTo>
                      <a:pt x="258" y="679"/>
                    </a:lnTo>
                    <a:lnTo>
                      <a:pt x="258" y="681"/>
                    </a:lnTo>
                    <a:lnTo>
                      <a:pt x="258" y="683"/>
                    </a:lnTo>
                    <a:lnTo>
                      <a:pt x="258" y="686"/>
                    </a:lnTo>
                    <a:lnTo>
                      <a:pt x="260" y="683"/>
                    </a:lnTo>
                    <a:lnTo>
                      <a:pt x="262" y="681"/>
                    </a:lnTo>
                    <a:lnTo>
                      <a:pt x="260" y="679"/>
                    </a:lnTo>
                    <a:lnTo>
                      <a:pt x="262" y="679"/>
                    </a:lnTo>
                    <a:lnTo>
                      <a:pt x="262" y="677"/>
                    </a:lnTo>
                    <a:lnTo>
                      <a:pt x="263" y="679"/>
                    </a:lnTo>
                    <a:lnTo>
                      <a:pt x="263" y="677"/>
                    </a:lnTo>
                    <a:lnTo>
                      <a:pt x="265" y="679"/>
                    </a:lnTo>
                    <a:lnTo>
                      <a:pt x="267" y="677"/>
                    </a:lnTo>
                    <a:lnTo>
                      <a:pt x="267" y="674"/>
                    </a:lnTo>
                    <a:lnTo>
                      <a:pt x="268" y="676"/>
                    </a:lnTo>
                    <a:lnTo>
                      <a:pt x="268" y="677"/>
                    </a:lnTo>
                    <a:lnTo>
                      <a:pt x="270" y="679"/>
                    </a:lnTo>
                    <a:lnTo>
                      <a:pt x="267" y="686"/>
                    </a:lnTo>
                    <a:lnTo>
                      <a:pt x="267" y="691"/>
                    </a:lnTo>
                    <a:lnTo>
                      <a:pt x="262" y="698"/>
                    </a:lnTo>
                    <a:lnTo>
                      <a:pt x="251" y="710"/>
                    </a:lnTo>
                    <a:lnTo>
                      <a:pt x="251" y="713"/>
                    </a:lnTo>
                    <a:lnTo>
                      <a:pt x="248" y="715"/>
                    </a:lnTo>
                    <a:lnTo>
                      <a:pt x="245" y="718"/>
                    </a:lnTo>
                    <a:lnTo>
                      <a:pt x="231" y="723"/>
                    </a:lnTo>
                    <a:lnTo>
                      <a:pt x="212" y="730"/>
                    </a:lnTo>
                    <a:lnTo>
                      <a:pt x="207" y="732"/>
                    </a:lnTo>
                    <a:lnTo>
                      <a:pt x="202" y="734"/>
                    </a:lnTo>
                    <a:lnTo>
                      <a:pt x="190" y="739"/>
                    </a:lnTo>
                    <a:lnTo>
                      <a:pt x="183" y="740"/>
                    </a:lnTo>
                    <a:lnTo>
                      <a:pt x="166" y="747"/>
                    </a:lnTo>
                    <a:lnTo>
                      <a:pt x="151" y="754"/>
                    </a:lnTo>
                    <a:lnTo>
                      <a:pt x="143" y="757"/>
                    </a:lnTo>
                    <a:lnTo>
                      <a:pt x="132" y="766"/>
                    </a:lnTo>
                    <a:lnTo>
                      <a:pt x="127" y="774"/>
                    </a:lnTo>
                    <a:lnTo>
                      <a:pt x="127" y="778"/>
                    </a:lnTo>
                    <a:lnTo>
                      <a:pt x="127" y="781"/>
                    </a:lnTo>
                    <a:lnTo>
                      <a:pt x="126" y="778"/>
                    </a:lnTo>
                    <a:lnTo>
                      <a:pt x="124" y="781"/>
                    </a:lnTo>
                    <a:lnTo>
                      <a:pt x="119" y="786"/>
                    </a:lnTo>
                    <a:lnTo>
                      <a:pt x="115" y="783"/>
                    </a:lnTo>
                    <a:lnTo>
                      <a:pt x="114" y="786"/>
                    </a:lnTo>
                    <a:lnTo>
                      <a:pt x="114" y="788"/>
                    </a:lnTo>
                    <a:lnTo>
                      <a:pt x="115" y="788"/>
                    </a:lnTo>
                    <a:lnTo>
                      <a:pt x="114" y="786"/>
                    </a:lnTo>
                    <a:lnTo>
                      <a:pt x="117" y="786"/>
                    </a:lnTo>
                    <a:lnTo>
                      <a:pt x="119" y="788"/>
                    </a:lnTo>
                    <a:lnTo>
                      <a:pt x="120" y="788"/>
                    </a:lnTo>
                    <a:lnTo>
                      <a:pt x="122" y="793"/>
                    </a:lnTo>
                    <a:lnTo>
                      <a:pt x="124" y="797"/>
                    </a:lnTo>
                    <a:lnTo>
                      <a:pt x="126" y="797"/>
                    </a:lnTo>
                    <a:lnTo>
                      <a:pt x="131" y="802"/>
                    </a:lnTo>
                    <a:lnTo>
                      <a:pt x="134" y="802"/>
                    </a:lnTo>
                    <a:lnTo>
                      <a:pt x="132" y="800"/>
                    </a:lnTo>
                    <a:lnTo>
                      <a:pt x="134" y="797"/>
                    </a:lnTo>
                    <a:lnTo>
                      <a:pt x="136" y="793"/>
                    </a:lnTo>
                    <a:lnTo>
                      <a:pt x="137" y="791"/>
                    </a:lnTo>
                    <a:lnTo>
                      <a:pt x="136" y="807"/>
                    </a:lnTo>
                    <a:lnTo>
                      <a:pt x="136" y="810"/>
                    </a:lnTo>
                    <a:lnTo>
                      <a:pt x="134" y="820"/>
                    </a:lnTo>
                    <a:lnTo>
                      <a:pt x="136" y="824"/>
                    </a:lnTo>
                    <a:lnTo>
                      <a:pt x="134" y="831"/>
                    </a:lnTo>
                    <a:close/>
                    <a:moveTo>
                      <a:pt x="228" y="79"/>
                    </a:moveTo>
                    <a:lnTo>
                      <a:pt x="226" y="82"/>
                    </a:lnTo>
                    <a:lnTo>
                      <a:pt x="228" y="82"/>
                    </a:lnTo>
                    <a:lnTo>
                      <a:pt x="229" y="80"/>
                    </a:lnTo>
                    <a:lnTo>
                      <a:pt x="228" y="79"/>
                    </a:lnTo>
                    <a:close/>
                    <a:moveTo>
                      <a:pt x="221" y="79"/>
                    </a:moveTo>
                    <a:lnTo>
                      <a:pt x="222" y="79"/>
                    </a:lnTo>
                    <a:lnTo>
                      <a:pt x="222" y="80"/>
                    </a:lnTo>
                    <a:lnTo>
                      <a:pt x="221" y="80"/>
                    </a:lnTo>
                    <a:lnTo>
                      <a:pt x="221" y="79"/>
                    </a:lnTo>
                    <a:close/>
                    <a:moveTo>
                      <a:pt x="267" y="567"/>
                    </a:moveTo>
                    <a:lnTo>
                      <a:pt x="265" y="574"/>
                    </a:lnTo>
                    <a:lnTo>
                      <a:pt x="263" y="570"/>
                    </a:lnTo>
                    <a:lnTo>
                      <a:pt x="263" y="569"/>
                    </a:lnTo>
                    <a:lnTo>
                      <a:pt x="263" y="567"/>
                    </a:lnTo>
                    <a:lnTo>
                      <a:pt x="265" y="565"/>
                    </a:lnTo>
                    <a:lnTo>
                      <a:pt x="265" y="562"/>
                    </a:lnTo>
                    <a:lnTo>
                      <a:pt x="265" y="560"/>
                    </a:lnTo>
                    <a:lnTo>
                      <a:pt x="267" y="562"/>
                    </a:lnTo>
                    <a:lnTo>
                      <a:pt x="267" y="565"/>
                    </a:lnTo>
                    <a:lnTo>
                      <a:pt x="267" y="567"/>
                    </a:lnTo>
                    <a:close/>
                    <a:moveTo>
                      <a:pt x="137" y="791"/>
                    </a:moveTo>
                    <a:lnTo>
                      <a:pt x="137" y="788"/>
                    </a:lnTo>
                    <a:lnTo>
                      <a:pt x="136" y="788"/>
                    </a:lnTo>
                    <a:lnTo>
                      <a:pt x="136" y="790"/>
                    </a:lnTo>
                    <a:lnTo>
                      <a:pt x="136" y="791"/>
                    </a:lnTo>
                    <a:lnTo>
                      <a:pt x="134" y="790"/>
                    </a:lnTo>
                    <a:lnTo>
                      <a:pt x="136" y="788"/>
                    </a:lnTo>
                    <a:lnTo>
                      <a:pt x="137" y="786"/>
                    </a:lnTo>
                    <a:lnTo>
                      <a:pt x="139" y="786"/>
                    </a:lnTo>
                    <a:lnTo>
                      <a:pt x="137" y="791"/>
                    </a:lnTo>
                    <a:close/>
                    <a:moveTo>
                      <a:pt x="527" y="94"/>
                    </a:moveTo>
                    <a:lnTo>
                      <a:pt x="525" y="96"/>
                    </a:lnTo>
                    <a:lnTo>
                      <a:pt x="525" y="97"/>
                    </a:lnTo>
                    <a:lnTo>
                      <a:pt x="523" y="99"/>
                    </a:lnTo>
                    <a:lnTo>
                      <a:pt x="523" y="97"/>
                    </a:lnTo>
                    <a:lnTo>
                      <a:pt x="522" y="96"/>
                    </a:lnTo>
                    <a:lnTo>
                      <a:pt x="523" y="96"/>
                    </a:lnTo>
                    <a:lnTo>
                      <a:pt x="525" y="96"/>
                    </a:lnTo>
                    <a:lnTo>
                      <a:pt x="523" y="94"/>
                    </a:lnTo>
                    <a:lnTo>
                      <a:pt x="527" y="94"/>
                    </a:lnTo>
                    <a:close/>
                    <a:moveTo>
                      <a:pt x="525" y="87"/>
                    </a:moveTo>
                    <a:lnTo>
                      <a:pt x="525" y="89"/>
                    </a:lnTo>
                    <a:lnTo>
                      <a:pt x="525" y="91"/>
                    </a:lnTo>
                    <a:lnTo>
                      <a:pt x="523" y="87"/>
                    </a:lnTo>
                    <a:lnTo>
                      <a:pt x="525" y="87"/>
                    </a:lnTo>
                    <a:close/>
                    <a:moveTo>
                      <a:pt x="262" y="577"/>
                    </a:moveTo>
                    <a:lnTo>
                      <a:pt x="265" y="577"/>
                    </a:lnTo>
                    <a:lnTo>
                      <a:pt x="265" y="581"/>
                    </a:lnTo>
                    <a:lnTo>
                      <a:pt x="262" y="581"/>
                    </a:lnTo>
                    <a:lnTo>
                      <a:pt x="262" y="577"/>
                    </a:lnTo>
                    <a:close/>
                    <a:moveTo>
                      <a:pt x="238" y="514"/>
                    </a:moveTo>
                    <a:lnTo>
                      <a:pt x="239" y="516"/>
                    </a:lnTo>
                    <a:lnTo>
                      <a:pt x="238" y="516"/>
                    </a:lnTo>
                    <a:lnTo>
                      <a:pt x="239" y="516"/>
                    </a:lnTo>
                    <a:lnTo>
                      <a:pt x="239" y="518"/>
                    </a:lnTo>
                    <a:lnTo>
                      <a:pt x="236" y="518"/>
                    </a:lnTo>
                    <a:lnTo>
                      <a:pt x="236" y="516"/>
                    </a:lnTo>
                    <a:lnTo>
                      <a:pt x="236" y="514"/>
                    </a:lnTo>
                    <a:lnTo>
                      <a:pt x="238" y="514"/>
                    </a:lnTo>
                    <a:close/>
                    <a:moveTo>
                      <a:pt x="530" y="28"/>
                    </a:moveTo>
                    <a:lnTo>
                      <a:pt x="527" y="29"/>
                    </a:lnTo>
                    <a:lnTo>
                      <a:pt x="525" y="28"/>
                    </a:lnTo>
                    <a:lnTo>
                      <a:pt x="527" y="29"/>
                    </a:lnTo>
                    <a:lnTo>
                      <a:pt x="530" y="28"/>
                    </a:lnTo>
                    <a:close/>
                    <a:moveTo>
                      <a:pt x="525" y="97"/>
                    </a:moveTo>
                    <a:lnTo>
                      <a:pt x="525" y="101"/>
                    </a:lnTo>
                    <a:lnTo>
                      <a:pt x="525" y="97"/>
                    </a:lnTo>
                    <a:close/>
                    <a:moveTo>
                      <a:pt x="527" y="17"/>
                    </a:moveTo>
                    <a:lnTo>
                      <a:pt x="528" y="17"/>
                    </a:lnTo>
                    <a:lnTo>
                      <a:pt x="528" y="21"/>
                    </a:lnTo>
                    <a:lnTo>
                      <a:pt x="527" y="21"/>
                    </a:lnTo>
                    <a:lnTo>
                      <a:pt x="527" y="17"/>
                    </a:lnTo>
                    <a:close/>
                    <a:moveTo>
                      <a:pt x="523" y="104"/>
                    </a:moveTo>
                    <a:lnTo>
                      <a:pt x="525" y="104"/>
                    </a:lnTo>
                    <a:lnTo>
                      <a:pt x="525" y="106"/>
                    </a:lnTo>
                    <a:lnTo>
                      <a:pt x="523" y="106"/>
                    </a:lnTo>
                    <a:lnTo>
                      <a:pt x="523" y="104"/>
                    </a:lnTo>
                    <a:close/>
                    <a:moveTo>
                      <a:pt x="527" y="34"/>
                    </a:moveTo>
                    <a:lnTo>
                      <a:pt x="530" y="34"/>
                    </a:lnTo>
                    <a:lnTo>
                      <a:pt x="530" y="36"/>
                    </a:lnTo>
                    <a:lnTo>
                      <a:pt x="527" y="36"/>
                    </a:lnTo>
                    <a:lnTo>
                      <a:pt x="527" y="34"/>
                    </a:lnTo>
                    <a:close/>
                    <a:moveTo>
                      <a:pt x="527" y="16"/>
                    </a:moveTo>
                    <a:lnTo>
                      <a:pt x="528" y="16"/>
                    </a:lnTo>
                    <a:lnTo>
                      <a:pt x="528" y="17"/>
                    </a:lnTo>
                    <a:lnTo>
                      <a:pt x="527" y="17"/>
                    </a:lnTo>
                    <a:lnTo>
                      <a:pt x="527" y="16"/>
                    </a:lnTo>
                    <a:close/>
                    <a:moveTo>
                      <a:pt x="335" y="390"/>
                    </a:moveTo>
                    <a:lnTo>
                      <a:pt x="336" y="390"/>
                    </a:lnTo>
                    <a:lnTo>
                      <a:pt x="336" y="392"/>
                    </a:lnTo>
                    <a:lnTo>
                      <a:pt x="335" y="392"/>
                    </a:lnTo>
                    <a:lnTo>
                      <a:pt x="335" y="390"/>
                    </a:lnTo>
                    <a:close/>
                    <a:moveTo>
                      <a:pt x="126" y="778"/>
                    </a:moveTo>
                    <a:lnTo>
                      <a:pt x="126" y="780"/>
                    </a:lnTo>
                    <a:lnTo>
                      <a:pt x="126" y="778"/>
                    </a:lnTo>
                    <a:close/>
                    <a:moveTo>
                      <a:pt x="523" y="77"/>
                    </a:moveTo>
                    <a:lnTo>
                      <a:pt x="525" y="77"/>
                    </a:lnTo>
                    <a:lnTo>
                      <a:pt x="523" y="77"/>
                    </a:lnTo>
                    <a:close/>
                    <a:moveTo>
                      <a:pt x="523" y="36"/>
                    </a:moveTo>
                    <a:lnTo>
                      <a:pt x="527" y="36"/>
                    </a:lnTo>
                    <a:lnTo>
                      <a:pt x="523" y="36"/>
                    </a:lnTo>
                    <a:close/>
                    <a:moveTo>
                      <a:pt x="268" y="591"/>
                    </a:moveTo>
                    <a:lnTo>
                      <a:pt x="268" y="592"/>
                    </a:lnTo>
                    <a:lnTo>
                      <a:pt x="268" y="591"/>
                    </a:lnTo>
                    <a:close/>
                    <a:moveTo>
                      <a:pt x="525" y="108"/>
                    </a:moveTo>
                    <a:lnTo>
                      <a:pt x="527" y="108"/>
                    </a:lnTo>
                    <a:lnTo>
                      <a:pt x="527" y="109"/>
                    </a:lnTo>
                    <a:lnTo>
                      <a:pt x="525" y="109"/>
                    </a:lnTo>
                    <a:lnTo>
                      <a:pt x="525" y="108"/>
                    </a:lnTo>
                    <a:close/>
                    <a:moveTo>
                      <a:pt x="535" y="222"/>
                    </a:moveTo>
                    <a:lnTo>
                      <a:pt x="537" y="222"/>
                    </a:lnTo>
                    <a:lnTo>
                      <a:pt x="537" y="223"/>
                    </a:lnTo>
                    <a:lnTo>
                      <a:pt x="535" y="223"/>
                    </a:lnTo>
                    <a:lnTo>
                      <a:pt x="535" y="222"/>
                    </a:lnTo>
                    <a:close/>
                    <a:moveTo>
                      <a:pt x="124" y="783"/>
                    </a:moveTo>
                    <a:lnTo>
                      <a:pt x="124" y="785"/>
                    </a:lnTo>
                    <a:lnTo>
                      <a:pt x="124" y="783"/>
                    </a:lnTo>
                    <a:close/>
                    <a:moveTo>
                      <a:pt x="263" y="582"/>
                    </a:moveTo>
                    <a:lnTo>
                      <a:pt x="263" y="584"/>
                    </a:lnTo>
                    <a:lnTo>
                      <a:pt x="263" y="582"/>
                    </a:lnTo>
                    <a:close/>
                    <a:moveTo>
                      <a:pt x="246" y="540"/>
                    </a:moveTo>
                    <a:lnTo>
                      <a:pt x="248" y="540"/>
                    </a:lnTo>
                    <a:lnTo>
                      <a:pt x="248" y="541"/>
                    </a:lnTo>
                    <a:lnTo>
                      <a:pt x="246" y="541"/>
                    </a:lnTo>
                    <a:lnTo>
                      <a:pt x="246" y="540"/>
                    </a:lnTo>
                    <a:close/>
                    <a:moveTo>
                      <a:pt x="331" y="393"/>
                    </a:moveTo>
                    <a:lnTo>
                      <a:pt x="333" y="393"/>
                    </a:lnTo>
                    <a:lnTo>
                      <a:pt x="331" y="393"/>
                    </a:lnTo>
                    <a:close/>
                    <a:moveTo>
                      <a:pt x="525" y="23"/>
                    </a:moveTo>
                    <a:lnTo>
                      <a:pt x="527" y="23"/>
                    </a:lnTo>
                    <a:lnTo>
                      <a:pt x="525" y="23"/>
                    </a:lnTo>
                    <a:close/>
                    <a:moveTo>
                      <a:pt x="246" y="543"/>
                    </a:moveTo>
                    <a:lnTo>
                      <a:pt x="246" y="545"/>
                    </a:lnTo>
                    <a:lnTo>
                      <a:pt x="246" y="543"/>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48" name="Freeform 44">
                <a:extLst>
                  <a:ext uri="{FF2B5EF4-FFF2-40B4-BE49-F238E27FC236}">
                    <a16:creationId xmlns:a16="http://schemas.microsoft.com/office/drawing/2014/main" id="{E7CB3445-034D-4305-A940-3F79419460D9}"/>
                  </a:ext>
                </a:extLst>
              </p:cNvPr>
              <p:cNvSpPr>
                <a:spLocks noEditPoints="1"/>
              </p:cNvSpPr>
              <p:nvPr/>
            </p:nvSpPr>
            <p:spPr bwMode="gray">
              <a:xfrm>
                <a:off x="5519738" y="4818063"/>
                <a:ext cx="1087437" cy="966788"/>
              </a:xfrm>
              <a:custGeom>
                <a:avLst/>
                <a:gdLst>
                  <a:gd name="T0" fmla="*/ 649 w 685"/>
                  <a:gd name="T1" fmla="*/ 27 h 609"/>
                  <a:gd name="T2" fmla="*/ 668 w 685"/>
                  <a:gd name="T3" fmla="*/ 30 h 609"/>
                  <a:gd name="T4" fmla="*/ 678 w 685"/>
                  <a:gd name="T5" fmla="*/ 39 h 609"/>
                  <a:gd name="T6" fmla="*/ 675 w 685"/>
                  <a:gd name="T7" fmla="*/ 42 h 609"/>
                  <a:gd name="T8" fmla="*/ 663 w 685"/>
                  <a:gd name="T9" fmla="*/ 46 h 609"/>
                  <a:gd name="T10" fmla="*/ 651 w 685"/>
                  <a:gd name="T11" fmla="*/ 54 h 609"/>
                  <a:gd name="T12" fmla="*/ 639 w 685"/>
                  <a:gd name="T13" fmla="*/ 51 h 609"/>
                  <a:gd name="T14" fmla="*/ 622 w 685"/>
                  <a:gd name="T15" fmla="*/ 59 h 609"/>
                  <a:gd name="T16" fmla="*/ 610 w 685"/>
                  <a:gd name="T17" fmla="*/ 73 h 609"/>
                  <a:gd name="T18" fmla="*/ 597 w 685"/>
                  <a:gd name="T19" fmla="*/ 66 h 609"/>
                  <a:gd name="T20" fmla="*/ 587 w 685"/>
                  <a:gd name="T21" fmla="*/ 56 h 609"/>
                  <a:gd name="T22" fmla="*/ 493 w 685"/>
                  <a:gd name="T23" fmla="*/ 69 h 609"/>
                  <a:gd name="T24" fmla="*/ 469 w 685"/>
                  <a:gd name="T25" fmla="*/ 173 h 609"/>
                  <a:gd name="T26" fmla="*/ 418 w 685"/>
                  <a:gd name="T27" fmla="*/ 263 h 609"/>
                  <a:gd name="T28" fmla="*/ 418 w 685"/>
                  <a:gd name="T29" fmla="*/ 362 h 609"/>
                  <a:gd name="T30" fmla="*/ 418 w 685"/>
                  <a:gd name="T31" fmla="*/ 490 h 609"/>
                  <a:gd name="T32" fmla="*/ 405 w 685"/>
                  <a:gd name="T33" fmla="*/ 583 h 609"/>
                  <a:gd name="T34" fmla="*/ 383 w 685"/>
                  <a:gd name="T35" fmla="*/ 597 h 609"/>
                  <a:gd name="T36" fmla="*/ 371 w 685"/>
                  <a:gd name="T37" fmla="*/ 607 h 609"/>
                  <a:gd name="T38" fmla="*/ 338 w 685"/>
                  <a:gd name="T39" fmla="*/ 605 h 609"/>
                  <a:gd name="T40" fmla="*/ 316 w 685"/>
                  <a:gd name="T41" fmla="*/ 599 h 609"/>
                  <a:gd name="T42" fmla="*/ 298 w 685"/>
                  <a:gd name="T43" fmla="*/ 595 h 609"/>
                  <a:gd name="T44" fmla="*/ 284 w 685"/>
                  <a:gd name="T45" fmla="*/ 583 h 609"/>
                  <a:gd name="T46" fmla="*/ 281 w 685"/>
                  <a:gd name="T47" fmla="*/ 571 h 609"/>
                  <a:gd name="T48" fmla="*/ 262 w 685"/>
                  <a:gd name="T49" fmla="*/ 563 h 609"/>
                  <a:gd name="T50" fmla="*/ 255 w 685"/>
                  <a:gd name="T51" fmla="*/ 573 h 609"/>
                  <a:gd name="T52" fmla="*/ 240 w 685"/>
                  <a:gd name="T53" fmla="*/ 588 h 609"/>
                  <a:gd name="T54" fmla="*/ 192 w 685"/>
                  <a:gd name="T55" fmla="*/ 544 h 609"/>
                  <a:gd name="T56" fmla="*/ 179 w 685"/>
                  <a:gd name="T57" fmla="*/ 515 h 609"/>
                  <a:gd name="T58" fmla="*/ 170 w 685"/>
                  <a:gd name="T59" fmla="*/ 495 h 609"/>
                  <a:gd name="T60" fmla="*/ 172 w 685"/>
                  <a:gd name="T61" fmla="*/ 483 h 609"/>
                  <a:gd name="T62" fmla="*/ 165 w 685"/>
                  <a:gd name="T63" fmla="*/ 462 h 609"/>
                  <a:gd name="T64" fmla="*/ 158 w 685"/>
                  <a:gd name="T65" fmla="*/ 428 h 609"/>
                  <a:gd name="T66" fmla="*/ 146 w 685"/>
                  <a:gd name="T67" fmla="*/ 379 h 609"/>
                  <a:gd name="T68" fmla="*/ 139 w 685"/>
                  <a:gd name="T69" fmla="*/ 325 h 609"/>
                  <a:gd name="T70" fmla="*/ 136 w 685"/>
                  <a:gd name="T71" fmla="*/ 301 h 609"/>
                  <a:gd name="T72" fmla="*/ 141 w 685"/>
                  <a:gd name="T73" fmla="*/ 289 h 609"/>
                  <a:gd name="T74" fmla="*/ 112 w 685"/>
                  <a:gd name="T75" fmla="*/ 245 h 609"/>
                  <a:gd name="T76" fmla="*/ 85 w 685"/>
                  <a:gd name="T77" fmla="*/ 199 h 609"/>
                  <a:gd name="T78" fmla="*/ 66 w 685"/>
                  <a:gd name="T79" fmla="*/ 158 h 609"/>
                  <a:gd name="T80" fmla="*/ 31 w 685"/>
                  <a:gd name="T81" fmla="*/ 90 h 609"/>
                  <a:gd name="T82" fmla="*/ 2 w 685"/>
                  <a:gd name="T83" fmla="*/ 42 h 609"/>
                  <a:gd name="T84" fmla="*/ 22 w 685"/>
                  <a:gd name="T85" fmla="*/ 10 h 609"/>
                  <a:gd name="T86" fmla="*/ 43 w 685"/>
                  <a:gd name="T87" fmla="*/ 15 h 609"/>
                  <a:gd name="T88" fmla="*/ 63 w 685"/>
                  <a:gd name="T89" fmla="*/ 3 h 609"/>
                  <a:gd name="T90" fmla="*/ 109 w 685"/>
                  <a:gd name="T91" fmla="*/ 20 h 609"/>
                  <a:gd name="T92" fmla="*/ 126 w 685"/>
                  <a:gd name="T93" fmla="*/ 22 h 609"/>
                  <a:gd name="T94" fmla="*/ 252 w 685"/>
                  <a:gd name="T95" fmla="*/ 22 h 609"/>
                  <a:gd name="T96" fmla="*/ 342 w 685"/>
                  <a:gd name="T97" fmla="*/ 27 h 609"/>
                  <a:gd name="T98" fmla="*/ 360 w 685"/>
                  <a:gd name="T99" fmla="*/ 41 h 609"/>
                  <a:gd name="T100" fmla="*/ 383 w 685"/>
                  <a:gd name="T101" fmla="*/ 44 h 609"/>
                  <a:gd name="T102" fmla="*/ 398 w 685"/>
                  <a:gd name="T103" fmla="*/ 46 h 609"/>
                  <a:gd name="T104" fmla="*/ 420 w 685"/>
                  <a:gd name="T105" fmla="*/ 47 h 609"/>
                  <a:gd name="T106" fmla="*/ 442 w 685"/>
                  <a:gd name="T107" fmla="*/ 47 h 609"/>
                  <a:gd name="T108" fmla="*/ 462 w 685"/>
                  <a:gd name="T109" fmla="*/ 54 h 609"/>
                  <a:gd name="T110" fmla="*/ 491 w 685"/>
                  <a:gd name="T111" fmla="*/ 54 h 609"/>
                  <a:gd name="T112" fmla="*/ 593 w 685"/>
                  <a:gd name="T113" fmla="*/ 3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5" h="609">
                    <a:moveTo>
                      <a:pt x="593" y="34"/>
                    </a:moveTo>
                    <a:lnTo>
                      <a:pt x="614" y="30"/>
                    </a:lnTo>
                    <a:lnTo>
                      <a:pt x="634" y="25"/>
                    </a:lnTo>
                    <a:lnTo>
                      <a:pt x="634" y="27"/>
                    </a:lnTo>
                    <a:lnTo>
                      <a:pt x="638" y="27"/>
                    </a:lnTo>
                    <a:lnTo>
                      <a:pt x="641" y="25"/>
                    </a:lnTo>
                    <a:lnTo>
                      <a:pt x="644" y="27"/>
                    </a:lnTo>
                    <a:lnTo>
                      <a:pt x="648" y="29"/>
                    </a:lnTo>
                    <a:lnTo>
                      <a:pt x="649" y="27"/>
                    </a:lnTo>
                    <a:lnTo>
                      <a:pt x="649" y="29"/>
                    </a:lnTo>
                    <a:lnTo>
                      <a:pt x="656" y="27"/>
                    </a:lnTo>
                    <a:lnTo>
                      <a:pt x="660" y="29"/>
                    </a:lnTo>
                    <a:lnTo>
                      <a:pt x="661" y="27"/>
                    </a:lnTo>
                    <a:lnTo>
                      <a:pt x="661" y="29"/>
                    </a:lnTo>
                    <a:lnTo>
                      <a:pt x="663" y="29"/>
                    </a:lnTo>
                    <a:lnTo>
                      <a:pt x="666" y="29"/>
                    </a:lnTo>
                    <a:lnTo>
                      <a:pt x="666" y="30"/>
                    </a:lnTo>
                    <a:lnTo>
                      <a:pt x="668" y="30"/>
                    </a:lnTo>
                    <a:lnTo>
                      <a:pt x="672" y="30"/>
                    </a:lnTo>
                    <a:lnTo>
                      <a:pt x="672" y="32"/>
                    </a:lnTo>
                    <a:lnTo>
                      <a:pt x="675" y="32"/>
                    </a:lnTo>
                    <a:lnTo>
                      <a:pt x="673" y="34"/>
                    </a:lnTo>
                    <a:lnTo>
                      <a:pt x="675" y="34"/>
                    </a:lnTo>
                    <a:lnTo>
                      <a:pt x="677" y="35"/>
                    </a:lnTo>
                    <a:lnTo>
                      <a:pt x="677" y="37"/>
                    </a:lnTo>
                    <a:lnTo>
                      <a:pt x="678" y="37"/>
                    </a:lnTo>
                    <a:lnTo>
                      <a:pt x="678" y="39"/>
                    </a:lnTo>
                    <a:lnTo>
                      <a:pt x="680" y="37"/>
                    </a:lnTo>
                    <a:lnTo>
                      <a:pt x="680" y="39"/>
                    </a:lnTo>
                    <a:lnTo>
                      <a:pt x="682" y="41"/>
                    </a:lnTo>
                    <a:lnTo>
                      <a:pt x="683" y="41"/>
                    </a:lnTo>
                    <a:lnTo>
                      <a:pt x="685" y="42"/>
                    </a:lnTo>
                    <a:lnTo>
                      <a:pt x="680" y="42"/>
                    </a:lnTo>
                    <a:lnTo>
                      <a:pt x="678" y="44"/>
                    </a:lnTo>
                    <a:lnTo>
                      <a:pt x="675" y="44"/>
                    </a:lnTo>
                    <a:lnTo>
                      <a:pt x="675" y="42"/>
                    </a:lnTo>
                    <a:lnTo>
                      <a:pt x="673" y="44"/>
                    </a:lnTo>
                    <a:lnTo>
                      <a:pt x="672" y="44"/>
                    </a:lnTo>
                    <a:lnTo>
                      <a:pt x="670" y="42"/>
                    </a:lnTo>
                    <a:lnTo>
                      <a:pt x="672" y="42"/>
                    </a:lnTo>
                    <a:lnTo>
                      <a:pt x="670" y="42"/>
                    </a:lnTo>
                    <a:lnTo>
                      <a:pt x="668" y="44"/>
                    </a:lnTo>
                    <a:lnTo>
                      <a:pt x="666" y="42"/>
                    </a:lnTo>
                    <a:lnTo>
                      <a:pt x="665" y="46"/>
                    </a:lnTo>
                    <a:lnTo>
                      <a:pt x="663" y="46"/>
                    </a:lnTo>
                    <a:lnTo>
                      <a:pt x="661" y="46"/>
                    </a:lnTo>
                    <a:lnTo>
                      <a:pt x="660" y="46"/>
                    </a:lnTo>
                    <a:lnTo>
                      <a:pt x="660" y="47"/>
                    </a:lnTo>
                    <a:lnTo>
                      <a:pt x="658" y="47"/>
                    </a:lnTo>
                    <a:lnTo>
                      <a:pt x="656" y="49"/>
                    </a:lnTo>
                    <a:lnTo>
                      <a:pt x="655" y="49"/>
                    </a:lnTo>
                    <a:lnTo>
                      <a:pt x="655" y="51"/>
                    </a:lnTo>
                    <a:lnTo>
                      <a:pt x="653" y="52"/>
                    </a:lnTo>
                    <a:lnTo>
                      <a:pt x="651" y="54"/>
                    </a:lnTo>
                    <a:lnTo>
                      <a:pt x="649" y="56"/>
                    </a:lnTo>
                    <a:lnTo>
                      <a:pt x="648" y="56"/>
                    </a:lnTo>
                    <a:lnTo>
                      <a:pt x="646" y="56"/>
                    </a:lnTo>
                    <a:lnTo>
                      <a:pt x="646" y="54"/>
                    </a:lnTo>
                    <a:lnTo>
                      <a:pt x="646" y="52"/>
                    </a:lnTo>
                    <a:lnTo>
                      <a:pt x="644" y="52"/>
                    </a:lnTo>
                    <a:lnTo>
                      <a:pt x="644" y="51"/>
                    </a:lnTo>
                    <a:lnTo>
                      <a:pt x="643" y="51"/>
                    </a:lnTo>
                    <a:lnTo>
                      <a:pt x="639" y="51"/>
                    </a:lnTo>
                    <a:lnTo>
                      <a:pt x="636" y="54"/>
                    </a:lnTo>
                    <a:lnTo>
                      <a:pt x="634" y="54"/>
                    </a:lnTo>
                    <a:lnTo>
                      <a:pt x="631" y="54"/>
                    </a:lnTo>
                    <a:lnTo>
                      <a:pt x="629" y="54"/>
                    </a:lnTo>
                    <a:lnTo>
                      <a:pt x="629" y="56"/>
                    </a:lnTo>
                    <a:lnTo>
                      <a:pt x="627" y="58"/>
                    </a:lnTo>
                    <a:lnTo>
                      <a:pt x="624" y="58"/>
                    </a:lnTo>
                    <a:lnTo>
                      <a:pt x="624" y="59"/>
                    </a:lnTo>
                    <a:lnTo>
                      <a:pt x="622" y="59"/>
                    </a:lnTo>
                    <a:lnTo>
                      <a:pt x="621" y="63"/>
                    </a:lnTo>
                    <a:lnTo>
                      <a:pt x="619" y="63"/>
                    </a:lnTo>
                    <a:lnTo>
                      <a:pt x="617" y="63"/>
                    </a:lnTo>
                    <a:lnTo>
                      <a:pt x="617" y="64"/>
                    </a:lnTo>
                    <a:lnTo>
                      <a:pt x="617" y="66"/>
                    </a:lnTo>
                    <a:lnTo>
                      <a:pt x="615" y="66"/>
                    </a:lnTo>
                    <a:lnTo>
                      <a:pt x="614" y="69"/>
                    </a:lnTo>
                    <a:lnTo>
                      <a:pt x="612" y="69"/>
                    </a:lnTo>
                    <a:lnTo>
                      <a:pt x="610" y="73"/>
                    </a:lnTo>
                    <a:lnTo>
                      <a:pt x="607" y="75"/>
                    </a:lnTo>
                    <a:lnTo>
                      <a:pt x="605" y="75"/>
                    </a:lnTo>
                    <a:lnTo>
                      <a:pt x="604" y="76"/>
                    </a:lnTo>
                    <a:lnTo>
                      <a:pt x="602" y="78"/>
                    </a:lnTo>
                    <a:lnTo>
                      <a:pt x="598" y="76"/>
                    </a:lnTo>
                    <a:lnTo>
                      <a:pt x="600" y="76"/>
                    </a:lnTo>
                    <a:lnTo>
                      <a:pt x="598" y="75"/>
                    </a:lnTo>
                    <a:lnTo>
                      <a:pt x="598" y="71"/>
                    </a:lnTo>
                    <a:lnTo>
                      <a:pt x="597" y="66"/>
                    </a:lnTo>
                    <a:lnTo>
                      <a:pt x="595" y="64"/>
                    </a:lnTo>
                    <a:lnTo>
                      <a:pt x="593" y="64"/>
                    </a:lnTo>
                    <a:lnTo>
                      <a:pt x="593" y="63"/>
                    </a:lnTo>
                    <a:lnTo>
                      <a:pt x="590" y="63"/>
                    </a:lnTo>
                    <a:lnTo>
                      <a:pt x="592" y="61"/>
                    </a:lnTo>
                    <a:lnTo>
                      <a:pt x="590" y="61"/>
                    </a:lnTo>
                    <a:lnTo>
                      <a:pt x="590" y="59"/>
                    </a:lnTo>
                    <a:lnTo>
                      <a:pt x="587" y="58"/>
                    </a:lnTo>
                    <a:lnTo>
                      <a:pt x="587" y="56"/>
                    </a:lnTo>
                    <a:lnTo>
                      <a:pt x="588" y="56"/>
                    </a:lnTo>
                    <a:lnTo>
                      <a:pt x="587" y="54"/>
                    </a:lnTo>
                    <a:lnTo>
                      <a:pt x="585" y="52"/>
                    </a:lnTo>
                    <a:lnTo>
                      <a:pt x="575" y="52"/>
                    </a:lnTo>
                    <a:lnTo>
                      <a:pt x="558" y="56"/>
                    </a:lnTo>
                    <a:lnTo>
                      <a:pt x="546" y="59"/>
                    </a:lnTo>
                    <a:lnTo>
                      <a:pt x="532" y="61"/>
                    </a:lnTo>
                    <a:lnTo>
                      <a:pt x="510" y="66"/>
                    </a:lnTo>
                    <a:lnTo>
                      <a:pt x="493" y="69"/>
                    </a:lnTo>
                    <a:lnTo>
                      <a:pt x="469" y="69"/>
                    </a:lnTo>
                    <a:lnTo>
                      <a:pt x="469" y="78"/>
                    </a:lnTo>
                    <a:lnTo>
                      <a:pt x="469" y="95"/>
                    </a:lnTo>
                    <a:lnTo>
                      <a:pt x="469" y="112"/>
                    </a:lnTo>
                    <a:lnTo>
                      <a:pt x="469" y="115"/>
                    </a:lnTo>
                    <a:lnTo>
                      <a:pt x="469" y="138"/>
                    </a:lnTo>
                    <a:lnTo>
                      <a:pt x="469" y="155"/>
                    </a:lnTo>
                    <a:lnTo>
                      <a:pt x="469" y="163"/>
                    </a:lnTo>
                    <a:lnTo>
                      <a:pt x="469" y="173"/>
                    </a:lnTo>
                    <a:lnTo>
                      <a:pt x="469" y="175"/>
                    </a:lnTo>
                    <a:lnTo>
                      <a:pt x="469" y="200"/>
                    </a:lnTo>
                    <a:lnTo>
                      <a:pt x="469" y="204"/>
                    </a:lnTo>
                    <a:lnTo>
                      <a:pt x="469" y="234"/>
                    </a:lnTo>
                    <a:lnTo>
                      <a:pt x="469" y="255"/>
                    </a:lnTo>
                    <a:lnTo>
                      <a:pt x="454" y="255"/>
                    </a:lnTo>
                    <a:lnTo>
                      <a:pt x="432" y="255"/>
                    </a:lnTo>
                    <a:lnTo>
                      <a:pt x="418" y="255"/>
                    </a:lnTo>
                    <a:lnTo>
                      <a:pt x="418" y="263"/>
                    </a:lnTo>
                    <a:lnTo>
                      <a:pt x="418" y="275"/>
                    </a:lnTo>
                    <a:lnTo>
                      <a:pt x="418" y="297"/>
                    </a:lnTo>
                    <a:lnTo>
                      <a:pt x="418" y="304"/>
                    </a:lnTo>
                    <a:lnTo>
                      <a:pt x="418" y="318"/>
                    </a:lnTo>
                    <a:lnTo>
                      <a:pt x="418" y="321"/>
                    </a:lnTo>
                    <a:lnTo>
                      <a:pt x="418" y="335"/>
                    </a:lnTo>
                    <a:lnTo>
                      <a:pt x="418" y="348"/>
                    </a:lnTo>
                    <a:lnTo>
                      <a:pt x="418" y="350"/>
                    </a:lnTo>
                    <a:lnTo>
                      <a:pt x="418" y="362"/>
                    </a:lnTo>
                    <a:lnTo>
                      <a:pt x="418" y="389"/>
                    </a:lnTo>
                    <a:lnTo>
                      <a:pt x="418" y="394"/>
                    </a:lnTo>
                    <a:lnTo>
                      <a:pt x="418" y="396"/>
                    </a:lnTo>
                    <a:lnTo>
                      <a:pt x="418" y="413"/>
                    </a:lnTo>
                    <a:lnTo>
                      <a:pt x="418" y="434"/>
                    </a:lnTo>
                    <a:lnTo>
                      <a:pt x="418" y="439"/>
                    </a:lnTo>
                    <a:lnTo>
                      <a:pt x="418" y="457"/>
                    </a:lnTo>
                    <a:lnTo>
                      <a:pt x="418" y="473"/>
                    </a:lnTo>
                    <a:lnTo>
                      <a:pt x="418" y="490"/>
                    </a:lnTo>
                    <a:lnTo>
                      <a:pt x="418" y="507"/>
                    </a:lnTo>
                    <a:lnTo>
                      <a:pt x="418" y="527"/>
                    </a:lnTo>
                    <a:lnTo>
                      <a:pt x="418" y="534"/>
                    </a:lnTo>
                    <a:lnTo>
                      <a:pt x="418" y="547"/>
                    </a:lnTo>
                    <a:lnTo>
                      <a:pt x="418" y="559"/>
                    </a:lnTo>
                    <a:lnTo>
                      <a:pt x="418" y="582"/>
                    </a:lnTo>
                    <a:lnTo>
                      <a:pt x="413" y="582"/>
                    </a:lnTo>
                    <a:lnTo>
                      <a:pt x="410" y="585"/>
                    </a:lnTo>
                    <a:lnTo>
                      <a:pt x="405" y="583"/>
                    </a:lnTo>
                    <a:lnTo>
                      <a:pt x="401" y="587"/>
                    </a:lnTo>
                    <a:lnTo>
                      <a:pt x="400" y="585"/>
                    </a:lnTo>
                    <a:lnTo>
                      <a:pt x="396" y="587"/>
                    </a:lnTo>
                    <a:lnTo>
                      <a:pt x="394" y="588"/>
                    </a:lnTo>
                    <a:lnTo>
                      <a:pt x="393" y="590"/>
                    </a:lnTo>
                    <a:lnTo>
                      <a:pt x="393" y="593"/>
                    </a:lnTo>
                    <a:lnTo>
                      <a:pt x="391" y="595"/>
                    </a:lnTo>
                    <a:lnTo>
                      <a:pt x="388" y="597"/>
                    </a:lnTo>
                    <a:lnTo>
                      <a:pt x="383" y="597"/>
                    </a:lnTo>
                    <a:lnTo>
                      <a:pt x="381" y="597"/>
                    </a:lnTo>
                    <a:lnTo>
                      <a:pt x="381" y="600"/>
                    </a:lnTo>
                    <a:lnTo>
                      <a:pt x="381" y="604"/>
                    </a:lnTo>
                    <a:lnTo>
                      <a:pt x="383" y="605"/>
                    </a:lnTo>
                    <a:lnTo>
                      <a:pt x="381" y="605"/>
                    </a:lnTo>
                    <a:lnTo>
                      <a:pt x="377" y="607"/>
                    </a:lnTo>
                    <a:lnTo>
                      <a:pt x="376" y="609"/>
                    </a:lnTo>
                    <a:lnTo>
                      <a:pt x="372" y="609"/>
                    </a:lnTo>
                    <a:lnTo>
                      <a:pt x="371" y="607"/>
                    </a:lnTo>
                    <a:lnTo>
                      <a:pt x="369" y="607"/>
                    </a:lnTo>
                    <a:lnTo>
                      <a:pt x="367" y="604"/>
                    </a:lnTo>
                    <a:lnTo>
                      <a:pt x="364" y="604"/>
                    </a:lnTo>
                    <a:lnTo>
                      <a:pt x="354" y="602"/>
                    </a:lnTo>
                    <a:lnTo>
                      <a:pt x="349" y="602"/>
                    </a:lnTo>
                    <a:lnTo>
                      <a:pt x="345" y="604"/>
                    </a:lnTo>
                    <a:lnTo>
                      <a:pt x="343" y="605"/>
                    </a:lnTo>
                    <a:lnTo>
                      <a:pt x="342" y="604"/>
                    </a:lnTo>
                    <a:lnTo>
                      <a:pt x="338" y="605"/>
                    </a:lnTo>
                    <a:lnTo>
                      <a:pt x="335" y="604"/>
                    </a:lnTo>
                    <a:lnTo>
                      <a:pt x="330" y="604"/>
                    </a:lnTo>
                    <a:lnTo>
                      <a:pt x="330" y="605"/>
                    </a:lnTo>
                    <a:lnTo>
                      <a:pt x="328" y="605"/>
                    </a:lnTo>
                    <a:lnTo>
                      <a:pt x="326" y="605"/>
                    </a:lnTo>
                    <a:lnTo>
                      <a:pt x="321" y="604"/>
                    </a:lnTo>
                    <a:lnTo>
                      <a:pt x="320" y="604"/>
                    </a:lnTo>
                    <a:lnTo>
                      <a:pt x="316" y="600"/>
                    </a:lnTo>
                    <a:lnTo>
                      <a:pt x="316" y="599"/>
                    </a:lnTo>
                    <a:lnTo>
                      <a:pt x="315" y="599"/>
                    </a:lnTo>
                    <a:lnTo>
                      <a:pt x="313" y="599"/>
                    </a:lnTo>
                    <a:lnTo>
                      <a:pt x="306" y="599"/>
                    </a:lnTo>
                    <a:lnTo>
                      <a:pt x="304" y="597"/>
                    </a:lnTo>
                    <a:lnTo>
                      <a:pt x="304" y="599"/>
                    </a:lnTo>
                    <a:lnTo>
                      <a:pt x="303" y="597"/>
                    </a:lnTo>
                    <a:lnTo>
                      <a:pt x="299" y="599"/>
                    </a:lnTo>
                    <a:lnTo>
                      <a:pt x="298" y="599"/>
                    </a:lnTo>
                    <a:lnTo>
                      <a:pt x="298" y="595"/>
                    </a:lnTo>
                    <a:lnTo>
                      <a:pt x="296" y="593"/>
                    </a:lnTo>
                    <a:lnTo>
                      <a:pt x="294" y="595"/>
                    </a:lnTo>
                    <a:lnTo>
                      <a:pt x="291" y="595"/>
                    </a:lnTo>
                    <a:lnTo>
                      <a:pt x="287" y="597"/>
                    </a:lnTo>
                    <a:lnTo>
                      <a:pt x="289" y="588"/>
                    </a:lnTo>
                    <a:lnTo>
                      <a:pt x="287" y="588"/>
                    </a:lnTo>
                    <a:lnTo>
                      <a:pt x="286" y="588"/>
                    </a:lnTo>
                    <a:lnTo>
                      <a:pt x="286" y="585"/>
                    </a:lnTo>
                    <a:lnTo>
                      <a:pt x="284" y="583"/>
                    </a:lnTo>
                    <a:lnTo>
                      <a:pt x="284" y="582"/>
                    </a:lnTo>
                    <a:lnTo>
                      <a:pt x="286" y="582"/>
                    </a:lnTo>
                    <a:lnTo>
                      <a:pt x="287" y="580"/>
                    </a:lnTo>
                    <a:lnTo>
                      <a:pt x="287" y="578"/>
                    </a:lnTo>
                    <a:lnTo>
                      <a:pt x="286" y="576"/>
                    </a:lnTo>
                    <a:lnTo>
                      <a:pt x="286" y="575"/>
                    </a:lnTo>
                    <a:lnTo>
                      <a:pt x="284" y="571"/>
                    </a:lnTo>
                    <a:lnTo>
                      <a:pt x="282" y="571"/>
                    </a:lnTo>
                    <a:lnTo>
                      <a:pt x="281" y="571"/>
                    </a:lnTo>
                    <a:lnTo>
                      <a:pt x="277" y="571"/>
                    </a:lnTo>
                    <a:lnTo>
                      <a:pt x="275" y="570"/>
                    </a:lnTo>
                    <a:lnTo>
                      <a:pt x="277" y="565"/>
                    </a:lnTo>
                    <a:lnTo>
                      <a:pt x="274" y="565"/>
                    </a:lnTo>
                    <a:lnTo>
                      <a:pt x="270" y="561"/>
                    </a:lnTo>
                    <a:lnTo>
                      <a:pt x="267" y="563"/>
                    </a:lnTo>
                    <a:lnTo>
                      <a:pt x="265" y="563"/>
                    </a:lnTo>
                    <a:lnTo>
                      <a:pt x="264" y="563"/>
                    </a:lnTo>
                    <a:lnTo>
                      <a:pt x="262" y="563"/>
                    </a:lnTo>
                    <a:lnTo>
                      <a:pt x="260" y="565"/>
                    </a:lnTo>
                    <a:lnTo>
                      <a:pt x="260" y="568"/>
                    </a:lnTo>
                    <a:lnTo>
                      <a:pt x="258" y="568"/>
                    </a:lnTo>
                    <a:lnTo>
                      <a:pt x="260" y="570"/>
                    </a:lnTo>
                    <a:lnTo>
                      <a:pt x="257" y="571"/>
                    </a:lnTo>
                    <a:lnTo>
                      <a:pt x="258" y="571"/>
                    </a:lnTo>
                    <a:lnTo>
                      <a:pt x="258" y="573"/>
                    </a:lnTo>
                    <a:lnTo>
                      <a:pt x="257" y="573"/>
                    </a:lnTo>
                    <a:lnTo>
                      <a:pt x="255" y="573"/>
                    </a:lnTo>
                    <a:lnTo>
                      <a:pt x="255" y="575"/>
                    </a:lnTo>
                    <a:lnTo>
                      <a:pt x="257" y="578"/>
                    </a:lnTo>
                    <a:lnTo>
                      <a:pt x="255" y="580"/>
                    </a:lnTo>
                    <a:lnTo>
                      <a:pt x="255" y="583"/>
                    </a:lnTo>
                    <a:lnTo>
                      <a:pt x="253" y="585"/>
                    </a:lnTo>
                    <a:lnTo>
                      <a:pt x="250" y="583"/>
                    </a:lnTo>
                    <a:lnTo>
                      <a:pt x="248" y="585"/>
                    </a:lnTo>
                    <a:lnTo>
                      <a:pt x="247" y="587"/>
                    </a:lnTo>
                    <a:lnTo>
                      <a:pt x="240" y="588"/>
                    </a:lnTo>
                    <a:lnTo>
                      <a:pt x="240" y="590"/>
                    </a:lnTo>
                    <a:lnTo>
                      <a:pt x="240" y="592"/>
                    </a:lnTo>
                    <a:lnTo>
                      <a:pt x="233" y="588"/>
                    </a:lnTo>
                    <a:lnTo>
                      <a:pt x="218" y="573"/>
                    </a:lnTo>
                    <a:lnTo>
                      <a:pt x="206" y="565"/>
                    </a:lnTo>
                    <a:lnTo>
                      <a:pt x="201" y="558"/>
                    </a:lnTo>
                    <a:lnTo>
                      <a:pt x="201" y="554"/>
                    </a:lnTo>
                    <a:lnTo>
                      <a:pt x="194" y="547"/>
                    </a:lnTo>
                    <a:lnTo>
                      <a:pt x="192" y="544"/>
                    </a:lnTo>
                    <a:lnTo>
                      <a:pt x="192" y="542"/>
                    </a:lnTo>
                    <a:lnTo>
                      <a:pt x="189" y="537"/>
                    </a:lnTo>
                    <a:lnTo>
                      <a:pt x="187" y="534"/>
                    </a:lnTo>
                    <a:lnTo>
                      <a:pt x="184" y="530"/>
                    </a:lnTo>
                    <a:lnTo>
                      <a:pt x="184" y="529"/>
                    </a:lnTo>
                    <a:lnTo>
                      <a:pt x="180" y="525"/>
                    </a:lnTo>
                    <a:lnTo>
                      <a:pt x="179" y="519"/>
                    </a:lnTo>
                    <a:lnTo>
                      <a:pt x="179" y="517"/>
                    </a:lnTo>
                    <a:lnTo>
                      <a:pt x="179" y="515"/>
                    </a:lnTo>
                    <a:lnTo>
                      <a:pt x="179" y="513"/>
                    </a:lnTo>
                    <a:lnTo>
                      <a:pt x="177" y="512"/>
                    </a:lnTo>
                    <a:lnTo>
                      <a:pt x="177" y="505"/>
                    </a:lnTo>
                    <a:lnTo>
                      <a:pt x="173" y="503"/>
                    </a:lnTo>
                    <a:lnTo>
                      <a:pt x="173" y="502"/>
                    </a:lnTo>
                    <a:lnTo>
                      <a:pt x="172" y="498"/>
                    </a:lnTo>
                    <a:lnTo>
                      <a:pt x="172" y="495"/>
                    </a:lnTo>
                    <a:lnTo>
                      <a:pt x="170" y="496"/>
                    </a:lnTo>
                    <a:lnTo>
                      <a:pt x="170" y="495"/>
                    </a:lnTo>
                    <a:lnTo>
                      <a:pt x="170" y="490"/>
                    </a:lnTo>
                    <a:lnTo>
                      <a:pt x="170" y="491"/>
                    </a:lnTo>
                    <a:lnTo>
                      <a:pt x="172" y="490"/>
                    </a:lnTo>
                    <a:lnTo>
                      <a:pt x="173" y="493"/>
                    </a:lnTo>
                    <a:lnTo>
                      <a:pt x="173" y="490"/>
                    </a:lnTo>
                    <a:lnTo>
                      <a:pt x="173" y="491"/>
                    </a:lnTo>
                    <a:lnTo>
                      <a:pt x="175" y="488"/>
                    </a:lnTo>
                    <a:lnTo>
                      <a:pt x="173" y="488"/>
                    </a:lnTo>
                    <a:lnTo>
                      <a:pt x="172" y="483"/>
                    </a:lnTo>
                    <a:lnTo>
                      <a:pt x="172" y="481"/>
                    </a:lnTo>
                    <a:lnTo>
                      <a:pt x="170" y="478"/>
                    </a:lnTo>
                    <a:lnTo>
                      <a:pt x="165" y="476"/>
                    </a:lnTo>
                    <a:lnTo>
                      <a:pt x="163" y="474"/>
                    </a:lnTo>
                    <a:lnTo>
                      <a:pt x="163" y="469"/>
                    </a:lnTo>
                    <a:lnTo>
                      <a:pt x="163" y="468"/>
                    </a:lnTo>
                    <a:lnTo>
                      <a:pt x="162" y="466"/>
                    </a:lnTo>
                    <a:lnTo>
                      <a:pt x="163" y="464"/>
                    </a:lnTo>
                    <a:lnTo>
                      <a:pt x="165" y="462"/>
                    </a:lnTo>
                    <a:lnTo>
                      <a:pt x="163" y="457"/>
                    </a:lnTo>
                    <a:lnTo>
                      <a:pt x="162" y="454"/>
                    </a:lnTo>
                    <a:lnTo>
                      <a:pt x="162" y="451"/>
                    </a:lnTo>
                    <a:lnTo>
                      <a:pt x="156" y="445"/>
                    </a:lnTo>
                    <a:lnTo>
                      <a:pt x="158" y="444"/>
                    </a:lnTo>
                    <a:lnTo>
                      <a:pt x="158" y="439"/>
                    </a:lnTo>
                    <a:lnTo>
                      <a:pt x="160" y="435"/>
                    </a:lnTo>
                    <a:lnTo>
                      <a:pt x="156" y="432"/>
                    </a:lnTo>
                    <a:lnTo>
                      <a:pt x="158" y="428"/>
                    </a:lnTo>
                    <a:lnTo>
                      <a:pt x="156" y="427"/>
                    </a:lnTo>
                    <a:lnTo>
                      <a:pt x="155" y="423"/>
                    </a:lnTo>
                    <a:lnTo>
                      <a:pt x="160" y="411"/>
                    </a:lnTo>
                    <a:lnTo>
                      <a:pt x="155" y="403"/>
                    </a:lnTo>
                    <a:lnTo>
                      <a:pt x="155" y="400"/>
                    </a:lnTo>
                    <a:lnTo>
                      <a:pt x="153" y="396"/>
                    </a:lnTo>
                    <a:lnTo>
                      <a:pt x="145" y="384"/>
                    </a:lnTo>
                    <a:lnTo>
                      <a:pt x="146" y="381"/>
                    </a:lnTo>
                    <a:lnTo>
                      <a:pt x="146" y="379"/>
                    </a:lnTo>
                    <a:lnTo>
                      <a:pt x="141" y="369"/>
                    </a:lnTo>
                    <a:lnTo>
                      <a:pt x="138" y="359"/>
                    </a:lnTo>
                    <a:lnTo>
                      <a:pt x="138" y="355"/>
                    </a:lnTo>
                    <a:lnTo>
                      <a:pt x="141" y="352"/>
                    </a:lnTo>
                    <a:lnTo>
                      <a:pt x="139" y="345"/>
                    </a:lnTo>
                    <a:lnTo>
                      <a:pt x="141" y="338"/>
                    </a:lnTo>
                    <a:lnTo>
                      <a:pt x="136" y="326"/>
                    </a:lnTo>
                    <a:lnTo>
                      <a:pt x="138" y="325"/>
                    </a:lnTo>
                    <a:lnTo>
                      <a:pt x="139" y="325"/>
                    </a:lnTo>
                    <a:lnTo>
                      <a:pt x="138" y="325"/>
                    </a:lnTo>
                    <a:lnTo>
                      <a:pt x="139" y="325"/>
                    </a:lnTo>
                    <a:lnTo>
                      <a:pt x="138" y="326"/>
                    </a:lnTo>
                    <a:lnTo>
                      <a:pt x="139" y="326"/>
                    </a:lnTo>
                    <a:lnTo>
                      <a:pt x="139" y="323"/>
                    </a:lnTo>
                    <a:lnTo>
                      <a:pt x="136" y="311"/>
                    </a:lnTo>
                    <a:lnTo>
                      <a:pt x="136" y="304"/>
                    </a:lnTo>
                    <a:lnTo>
                      <a:pt x="136" y="303"/>
                    </a:lnTo>
                    <a:lnTo>
                      <a:pt x="136" y="301"/>
                    </a:lnTo>
                    <a:lnTo>
                      <a:pt x="138" y="299"/>
                    </a:lnTo>
                    <a:lnTo>
                      <a:pt x="136" y="304"/>
                    </a:lnTo>
                    <a:lnTo>
                      <a:pt x="139" y="304"/>
                    </a:lnTo>
                    <a:lnTo>
                      <a:pt x="138" y="308"/>
                    </a:lnTo>
                    <a:lnTo>
                      <a:pt x="139" y="304"/>
                    </a:lnTo>
                    <a:lnTo>
                      <a:pt x="141" y="301"/>
                    </a:lnTo>
                    <a:lnTo>
                      <a:pt x="143" y="296"/>
                    </a:lnTo>
                    <a:lnTo>
                      <a:pt x="141" y="294"/>
                    </a:lnTo>
                    <a:lnTo>
                      <a:pt x="141" y="289"/>
                    </a:lnTo>
                    <a:lnTo>
                      <a:pt x="141" y="286"/>
                    </a:lnTo>
                    <a:lnTo>
                      <a:pt x="141" y="284"/>
                    </a:lnTo>
                    <a:lnTo>
                      <a:pt x="138" y="279"/>
                    </a:lnTo>
                    <a:lnTo>
                      <a:pt x="136" y="274"/>
                    </a:lnTo>
                    <a:lnTo>
                      <a:pt x="134" y="270"/>
                    </a:lnTo>
                    <a:lnTo>
                      <a:pt x="129" y="263"/>
                    </a:lnTo>
                    <a:lnTo>
                      <a:pt x="129" y="262"/>
                    </a:lnTo>
                    <a:lnTo>
                      <a:pt x="117" y="248"/>
                    </a:lnTo>
                    <a:lnTo>
                      <a:pt x="112" y="245"/>
                    </a:lnTo>
                    <a:lnTo>
                      <a:pt x="114" y="243"/>
                    </a:lnTo>
                    <a:lnTo>
                      <a:pt x="114" y="241"/>
                    </a:lnTo>
                    <a:lnTo>
                      <a:pt x="109" y="234"/>
                    </a:lnTo>
                    <a:lnTo>
                      <a:pt x="107" y="231"/>
                    </a:lnTo>
                    <a:lnTo>
                      <a:pt x="100" y="221"/>
                    </a:lnTo>
                    <a:lnTo>
                      <a:pt x="99" y="217"/>
                    </a:lnTo>
                    <a:lnTo>
                      <a:pt x="94" y="211"/>
                    </a:lnTo>
                    <a:lnTo>
                      <a:pt x="92" y="207"/>
                    </a:lnTo>
                    <a:lnTo>
                      <a:pt x="85" y="199"/>
                    </a:lnTo>
                    <a:lnTo>
                      <a:pt x="83" y="194"/>
                    </a:lnTo>
                    <a:lnTo>
                      <a:pt x="83" y="189"/>
                    </a:lnTo>
                    <a:lnTo>
                      <a:pt x="82" y="185"/>
                    </a:lnTo>
                    <a:lnTo>
                      <a:pt x="77" y="177"/>
                    </a:lnTo>
                    <a:lnTo>
                      <a:pt x="77" y="170"/>
                    </a:lnTo>
                    <a:lnTo>
                      <a:pt x="75" y="166"/>
                    </a:lnTo>
                    <a:lnTo>
                      <a:pt x="75" y="165"/>
                    </a:lnTo>
                    <a:lnTo>
                      <a:pt x="71" y="161"/>
                    </a:lnTo>
                    <a:lnTo>
                      <a:pt x="66" y="158"/>
                    </a:lnTo>
                    <a:lnTo>
                      <a:pt x="66" y="153"/>
                    </a:lnTo>
                    <a:lnTo>
                      <a:pt x="58" y="139"/>
                    </a:lnTo>
                    <a:lnTo>
                      <a:pt x="56" y="136"/>
                    </a:lnTo>
                    <a:lnTo>
                      <a:pt x="49" y="126"/>
                    </a:lnTo>
                    <a:lnTo>
                      <a:pt x="49" y="119"/>
                    </a:lnTo>
                    <a:lnTo>
                      <a:pt x="43" y="107"/>
                    </a:lnTo>
                    <a:lnTo>
                      <a:pt x="39" y="104"/>
                    </a:lnTo>
                    <a:lnTo>
                      <a:pt x="37" y="98"/>
                    </a:lnTo>
                    <a:lnTo>
                      <a:pt x="31" y="90"/>
                    </a:lnTo>
                    <a:lnTo>
                      <a:pt x="15" y="78"/>
                    </a:lnTo>
                    <a:lnTo>
                      <a:pt x="15" y="76"/>
                    </a:lnTo>
                    <a:lnTo>
                      <a:pt x="14" y="71"/>
                    </a:lnTo>
                    <a:lnTo>
                      <a:pt x="12" y="68"/>
                    </a:lnTo>
                    <a:lnTo>
                      <a:pt x="12" y="66"/>
                    </a:lnTo>
                    <a:lnTo>
                      <a:pt x="7" y="59"/>
                    </a:lnTo>
                    <a:lnTo>
                      <a:pt x="3" y="52"/>
                    </a:lnTo>
                    <a:lnTo>
                      <a:pt x="3" y="47"/>
                    </a:lnTo>
                    <a:lnTo>
                      <a:pt x="2" y="42"/>
                    </a:lnTo>
                    <a:lnTo>
                      <a:pt x="0" y="32"/>
                    </a:lnTo>
                    <a:lnTo>
                      <a:pt x="0" y="25"/>
                    </a:lnTo>
                    <a:lnTo>
                      <a:pt x="2" y="20"/>
                    </a:lnTo>
                    <a:lnTo>
                      <a:pt x="2" y="15"/>
                    </a:lnTo>
                    <a:lnTo>
                      <a:pt x="3" y="15"/>
                    </a:lnTo>
                    <a:lnTo>
                      <a:pt x="10" y="12"/>
                    </a:lnTo>
                    <a:lnTo>
                      <a:pt x="17" y="10"/>
                    </a:lnTo>
                    <a:lnTo>
                      <a:pt x="19" y="10"/>
                    </a:lnTo>
                    <a:lnTo>
                      <a:pt x="22" y="10"/>
                    </a:lnTo>
                    <a:lnTo>
                      <a:pt x="22" y="12"/>
                    </a:lnTo>
                    <a:lnTo>
                      <a:pt x="26" y="13"/>
                    </a:lnTo>
                    <a:lnTo>
                      <a:pt x="31" y="13"/>
                    </a:lnTo>
                    <a:lnTo>
                      <a:pt x="32" y="13"/>
                    </a:lnTo>
                    <a:lnTo>
                      <a:pt x="34" y="12"/>
                    </a:lnTo>
                    <a:lnTo>
                      <a:pt x="36" y="13"/>
                    </a:lnTo>
                    <a:lnTo>
                      <a:pt x="36" y="15"/>
                    </a:lnTo>
                    <a:lnTo>
                      <a:pt x="37" y="15"/>
                    </a:lnTo>
                    <a:lnTo>
                      <a:pt x="43" y="15"/>
                    </a:lnTo>
                    <a:lnTo>
                      <a:pt x="43" y="13"/>
                    </a:lnTo>
                    <a:lnTo>
                      <a:pt x="44" y="13"/>
                    </a:lnTo>
                    <a:lnTo>
                      <a:pt x="48" y="10"/>
                    </a:lnTo>
                    <a:lnTo>
                      <a:pt x="49" y="10"/>
                    </a:lnTo>
                    <a:lnTo>
                      <a:pt x="51" y="10"/>
                    </a:lnTo>
                    <a:lnTo>
                      <a:pt x="54" y="8"/>
                    </a:lnTo>
                    <a:lnTo>
                      <a:pt x="54" y="7"/>
                    </a:lnTo>
                    <a:lnTo>
                      <a:pt x="58" y="5"/>
                    </a:lnTo>
                    <a:lnTo>
                      <a:pt x="63" y="3"/>
                    </a:lnTo>
                    <a:lnTo>
                      <a:pt x="63" y="1"/>
                    </a:lnTo>
                    <a:lnTo>
                      <a:pt x="73" y="0"/>
                    </a:lnTo>
                    <a:lnTo>
                      <a:pt x="77" y="1"/>
                    </a:lnTo>
                    <a:lnTo>
                      <a:pt x="82" y="1"/>
                    </a:lnTo>
                    <a:lnTo>
                      <a:pt x="87" y="3"/>
                    </a:lnTo>
                    <a:lnTo>
                      <a:pt x="90" y="7"/>
                    </a:lnTo>
                    <a:lnTo>
                      <a:pt x="90" y="8"/>
                    </a:lnTo>
                    <a:lnTo>
                      <a:pt x="99" y="15"/>
                    </a:lnTo>
                    <a:lnTo>
                      <a:pt x="109" y="20"/>
                    </a:lnTo>
                    <a:lnTo>
                      <a:pt x="111" y="24"/>
                    </a:lnTo>
                    <a:lnTo>
                      <a:pt x="112" y="24"/>
                    </a:lnTo>
                    <a:lnTo>
                      <a:pt x="114" y="24"/>
                    </a:lnTo>
                    <a:lnTo>
                      <a:pt x="116" y="24"/>
                    </a:lnTo>
                    <a:lnTo>
                      <a:pt x="119" y="24"/>
                    </a:lnTo>
                    <a:lnTo>
                      <a:pt x="121" y="24"/>
                    </a:lnTo>
                    <a:lnTo>
                      <a:pt x="122" y="24"/>
                    </a:lnTo>
                    <a:lnTo>
                      <a:pt x="126" y="24"/>
                    </a:lnTo>
                    <a:lnTo>
                      <a:pt x="126" y="22"/>
                    </a:lnTo>
                    <a:lnTo>
                      <a:pt x="148" y="22"/>
                    </a:lnTo>
                    <a:lnTo>
                      <a:pt x="156" y="22"/>
                    </a:lnTo>
                    <a:lnTo>
                      <a:pt x="173" y="22"/>
                    </a:lnTo>
                    <a:lnTo>
                      <a:pt x="184" y="22"/>
                    </a:lnTo>
                    <a:lnTo>
                      <a:pt x="199" y="22"/>
                    </a:lnTo>
                    <a:lnTo>
                      <a:pt x="211" y="22"/>
                    </a:lnTo>
                    <a:lnTo>
                      <a:pt x="224" y="22"/>
                    </a:lnTo>
                    <a:lnTo>
                      <a:pt x="233" y="22"/>
                    </a:lnTo>
                    <a:lnTo>
                      <a:pt x="252" y="22"/>
                    </a:lnTo>
                    <a:lnTo>
                      <a:pt x="265" y="22"/>
                    </a:lnTo>
                    <a:lnTo>
                      <a:pt x="281" y="22"/>
                    </a:lnTo>
                    <a:lnTo>
                      <a:pt x="286" y="22"/>
                    </a:lnTo>
                    <a:lnTo>
                      <a:pt x="287" y="22"/>
                    </a:lnTo>
                    <a:lnTo>
                      <a:pt x="299" y="22"/>
                    </a:lnTo>
                    <a:lnTo>
                      <a:pt x="318" y="22"/>
                    </a:lnTo>
                    <a:lnTo>
                      <a:pt x="338" y="22"/>
                    </a:lnTo>
                    <a:lnTo>
                      <a:pt x="342" y="25"/>
                    </a:lnTo>
                    <a:lnTo>
                      <a:pt x="342" y="27"/>
                    </a:lnTo>
                    <a:lnTo>
                      <a:pt x="345" y="29"/>
                    </a:lnTo>
                    <a:lnTo>
                      <a:pt x="345" y="32"/>
                    </a:lnTo>
                    <a:lnTo>
                      <a:pt x="347" y="32"/>
                    </a:lnTo>
                    <a:lnTo>
                      <a:pt x="349" y="32"/>
                    </a:lnTo>
                    <a:lnTo>
                      <a:pt x="349" y="34"/>
                    </a:lnTo>
                    <a:lnTo>
                      <a:pt x="355" y="39"/>
                    </a:lnTo>
                    <a:lnTo>
                      <a:pt x="357" y="39"/>
                    </a:lnTo>
                    <a:lnTo>
                      <a:pt x="357" y="41"/>
                    </a:lnTo>
                    <a:lnTo>
                      <a:pt x="360" y="41"/>
                    </a:lnTo>
                    <a:lnTo>
                      <a:pt x="360" y="42"/>
                    </a:lnTo>
                    <a:lnTo>
                      <a:pt x="364" y="44"/>
                    </a:lnTo>
                    <a:lnTo>
                      <a:pt x="374" y="44"/>
                    </a:lnTo>
                    <a:lnTo>
                      <a:pt x="374" y="42"/>
                    </a:lnTo>
                    <a:lnTo>
                      <a:pt x="376" y="44"/>
                    </a:lnTo>
                    <a:lnTo>
                      <a:pt x="377" y="42"/>
                    </a:lnTo>
                    <a:lnTo>
                      <a:pt x="379" y="44"/>
                    </a:lnTo>
                    <a:lnTo>
                      <a:pt x="381" y="44"/>
                    </a:lnTo>
                    <a:lnTo>
                      <a:pt x="383" y="44"/>
                    </a:lnTo>
                    <a:lnTo>
                      <a:pt x="384" y="44"/>
                    </a:lnTo>
                    <a:lnTo>
                      <a:pt x="384" y="46"/>
                    </a:lnTo>
                    <a:lnTo>
                      <a:pt x="386" y="46"/>
                    </a:lnTo>
                    <a:lnTo>
                      <a:pt x="389" y="46"/>
                    </a:lnTo>
                    <a:lnTo>
                      <a:pt x="391" y="46"/>
                    </a:lnTo>
                    <a:lnTo>
                      <a:pt x="393" y="46"/>
                    </a:lnTo>
                    <a:lnTo>
                      <a:pt x="394" y="46"/>
                    </a:lnTo>
                    <a:lnTo>
                      <a:pt x="396" y="46"/>
                    </a:lnTo>
                    <a:lnTo>
                      <a:pt x="398" y="46"/>
                    </a:lnTo>
                    <a:lnTo>
                      <a:pt x="400" y="46"/>
                    </a:lnTo>
                    <a:lnTo>
                      <a:pt x="401" y="46"/>
                    </a:lnTo>
                    <a:lnTo>
                      <a:pt x="403" y="47"/>
                    </a:lnTo>
                    <a:lnTo>
                      <a:pt x="405" y="46"/>
                    </a:lnTo>
                    <a:lnTo>
                      <a:pt x="406" y="47"/>
                    </a:lnTo>
                    <a:lnTo>
                      <a:pt x="410" y="46"/>
                    </a:lnTo>
                    <a:lnTo>
                      <a:pt x="411" y="47"/>
                    </a:lnTo>
                    <a:lnTo>
                      <a:pt x="415" y="46"/>
                    </a:lnTo>
                    <a:lnTo>
                      <a:pt x="420" y="47"/>
                    </a:lnTo>
                    <a:lnTo>
                      <a:pt x="422" y="47"/>
                    </a:lnTo>
                    <a:lnTo>
                      <a:pt x="423" y="47"/>
                    </a:lnTo>
                    <a:lnTo>
                      <a:pt x="427" y="46"/>
                    </a:lnTo>
                    <a:lnTo>
                      <a:pt x="432" y="47"/>
                    </a:lnTo>
                    <a:lnTo>
                      <a:pt x="432" y="46"/>
                    </a:lnTo>
                    <a:lnTo>
                      <a:pt x="434" y="46"/>
                    </a:lnTo>
                    <a:lnTo>
                      <a:pt x="435" y="46"/>
                    </a:lnTo>
                    <a:lnTo>
                      <a:pt x="437" y="47"/>
                    </a:lnTo>
                    <a:lnTo>
                      <a:pt x="442" y="47"/>
                    </a:lnTo>
                    <a:lnTo>
                      <a:pt x="442" y="51"/>
                    </a:lnTo>
                    <a:lnTo>
                      <a:pt x="444" y="51"/>
                    </a:lnTo>
                    <a:lnTo>
                      <a:pt x="445" y="52"/>
                    </a:lnTo>
                    <a:lnTo>
                      <a:pt x="451" y="51"/>
                    </a:lnTo>
                    <a:lnTo>
                      <a:pt x="454" y="52"/>
                    </a:lnTo>
                    <a:lnTo>
                      <a:pt x="456" y="52"/>
                    </a:lnTo>
                    <a:lnTo>
                      <a:pt x="456" y="54"/>
                    </a:lnTo>
                    <a:lnTo>
                      <a:pt x="461" y="54"/>
                    </a:lnTo>
                    <a:lnTo>
                      <a:pt x="462" y="54"/>
                    </a:lnTo>
                    <a:lnTo>
                      <a:pt x="462" y="52"/>
                    </a:lnTo>
                    <a:lnTo>
                      <a:pt x="468" y="51"/>
                    </a:lnTo>
                    <a:lnTo>
                      <a:pt x="474" y="51"/>
                    </a:lnTo>
                    <a:lnTo>
                      <a:pt x="478" y="49"/>
                    </a:lnTo>
                    <a:lnTo>
                      <a:pt x="481" y="49"/>
                    </a:lnTo>
                    <a:lnTo>
                      <a:pt x="481" y="51"/>
                    </a:lnTo>
                    <a:lnTo>
                      <a:pt x="486" y="52"/>
                    </a:lnTo>
                    <a:lnTo>
                      <a:pt x="488" y="52"/>
                    </a:lnTo>
                    <a:lnTo>
                      <a:pt x="491" y="54"/>
                    </a:lnTo>
                    <a:lnTo>
                      <a:pt x="493" y="54"/>
                    </a:lnTo>
                    <a:lnTo>
                      <a:pt x="512" y="51"/>
                    </a:lnTo>
                    <a:lnTo>
                      <a:pt x="520" y="49"/>
                    </a:lnTo>
                    <a:lnTo>
                      <a:pt x="534" y="46"/>
                    </a:lnTo>
                    <a:lnTo>
                      <a:pt x="539" y="44"/>
                    </a:lnTo>
                    <a:lnTo>
                      <a:pt x="551" y="42"/>
                    </a:lnTo>
                    <a:lnTo>
                      <a:pt x="570" y="39"/>
                    </a:lnTo>
                    <a:lnTo>
                      <a:pt x="590" y="35"/>
                    </a:lnTo>
                    <a:lnTo>
                      <a:pt x="593" y="34"/>
                    </a:lnTo>
                    <a:close/>
                    <a:moveTo>
                      <a:pt x="175" y="508"/>
                    </a:moveTo>
                    <a:lnTo>
                      <a:pt x="175" y="510"/>
                    </a:lnTo>
                    <a:lnTo>
                      <a:pt x="175" y="508"/>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200" b="1" kern="1200" dirty="0">
                    <a:latin typeface="Arial" charset="0"/>
                    <a:ea typeface="+mn-ea"/>
                    <a:cs typeface="+mn-cs"/>
                  </a:rPr>
                  <a:t>   </a:t>
                </a:r>
              </a:p>
              <a:p>
                <a:pPr fontAlgn="base">
                  <a:spcBef>
                    <a:spcPct val="0"/>
                  </a:spcBef>
                  <a:spcAft>
                    <a:spcPct val="0"/>
                  </a:spcAft>
                  <a:buClrTx/>
                  <a:buFontTx/>
                  <a:buNone/>
                </a:pPr>
                <a:r>
                  <a:rPr lang="en-US" sz="1200" b="1" kern="1200" dirty="0">
                    <a:latin typeface="Arial" charset="0"/>
                    <a:ea typeface="+mn-ea"/>
                    <a:cs typeface="+mn-cs"/>
                  </a:rPr>
                  <a:t>    5</a:t>
                </a:r>
              </a:p>
            </p:txBody>
          </p:sp>
          <p:sp>
            <p:nvSpPr>
              <p:cNvPr id="249" name="Freeform 45">
                <a:extLst>
                  <a:ext uri="{FF2B5EF4-FFF2-40B4-BE49-F238E27FC236}">
                    <a16:creationId xmlns:a16="http://schemas.microsoft.com/office/drawing/2014/main" id="{E1ACFCA0-E800-43EF-BD0B-8AAB30075702}"/>
                  </a:ext>
                </a:extLst>
              </p:cNvPr>
              <p:cNvSpPr>
                <a:spLocks/>
              </p:cNvSpPr>
              <p:nvPr/>
            </p:nvSpPr>
            <p:spPr bwMode="gray">
              <a:xfrm>
                <a:off x="4589463" y="1560513"/>
                <a:ext cx="1273175" cy="950913"/>
              </a:xfrm>
              <a:custGeom>
                <a:avLst/>
                <a:gdLst>
                  <a:gd name="T0" fmla="*/ 766 w 802"/>
                  <a:gd name="T1" fmla="*/ 106 h 599"/>
                  <a:gd name="T2" fmla="*/ 782 w 802"/>
                  <a:gd name="T3" fmla="*/ 140 h 599"/>
                  <a:gd name="T4" fmla="*/ 790 w 802"/>
                  <a:gd name="T5" fmla="*/ 181 h 599"/>
                  <a:gd name="T6" fmla="*/ 776 w 802"/>
                  <a:gd name="T7" fmla="*/ 337 h 599"/>
                  <a:gd name="T8" fmla="*/ 700 w 802"/>
                  <a:gd name="T9" fmla="*/ 426 h 599"/>
                  <a:gd name="T10" fmla="*/ 688 w 802"/>
                  <a:gd name="T11" fmla="*/ 448 h 599"/>
                  <a:gd name="T12" fmla="*/ 674 w 802"/>
                  <a:gd name="T13" fmla="*/ 460 h 599"/>
                  <a:gd name="T14" fmla="*/ 668 w 802"/>
                  <a:gd name="T15" fmla="*/ 497 h 599"/>
                  <a:gd name="T16" fmla="*/ 663 w 802"/>
                  <a:gd name="T17" fmla="*/ 505 h 599"/>
                  <a:gd name="T18" fmla="*/ 657 w 802"/>
                  <a:gd name="T19" fmla="*/ 505 h 599"/>
                  <a:gd name="T20" fmla="*/ 654 w 802"/>
                  <a:gd name="T21" fmla="*/ 505 h 599"/>
                  <a:gd name="T22" fmla="*/ 646 w 802"/>
                  <a:gd name="T23" fmla="*/ 509 h 599"/>
                  <a:gd name="T24" fmla="*/ 640 w 802"/>
                  <a:gd name="T25" fmla="*/ 512 h 599"/>
                  <a:gd name="T26" fmla="*/ 637 w 802"/>
                  <a:gd name="T27" fmla="*/ 517 h 599"/>
                  <a:gd name="T28" fmla="*/ 632 w 802"/>
                  <a:gd name="T29" fmla="*/ 519 h 599"/>
                  <a:gd name="T30" fmla="*/ 625 w 802"/>
                  <a:gd name="T31" fmla="*/ 526 h 599"/>
                  <a:gd name="T32" fmla="*/ 613 w 802"/>
                  <a:gd name="T33" fmla="*/ 529 h 599"/>
                  <a:gd name="T34" fmla="*/ 601 w 802"/>
                  <a:gd name="T35" fmla="*/ 526 h 599"/>
                  <a:gd name="T36" fmla="*/ 562 w 802"/>
                  <a:gd name="T37" fmla="*/ 514 h 599"/>
                  <a:gd name="T38" fmla="*/ 501 w 802"/>
                  <a:gd name="T39" fmla="*/ 524 h 599"/>
                  <a:gd name="T40" fmla="*/ 445 w 802"/>
                  <a:gd name="T41" fmla="*/ 541 h 599"/>
                  <a:gd name="T42" fmla="*/ 418 w 802"/>
                  <a:gd name="T43" fmla="*/ 531 h 599"/>
                  <a:gd name="T44" fmla="*/ 389 w 802"/>
                  <a:gd name="T45" fmla="*/ 516 h 599"/>
                  <a:gd name="T46" fmla="*/ 357 w 802"/>
                  <a:gd name="T47" fmla="*/ 528 h 599"/>
                  <a:gd name="T48" fmla="*/ 340 w 802"/>
                  <a:gd name="T49" fmla="*/ 529 h 599"/>
                  <a:gd name="T50" fmla="*/ 324 w 802"/>
                  <a:gd name="T51" fmla="*/ 507 h 599"/>
                  <a:gd name="T52" fmla="*/ 304 w 802"/>
                  <a:gd name="T53" fmla="*/ 500 h 599"/>
                  <a:gd name="T54" fmla="*/ 256 w 802"/>
                  <a:gd name="T55" fmla="*/ 497 h 599"/>
                  <a:gd name="T56" fmla="*/ 204 w 802"/>
                  <a:gd name="T57" fmla="*/ 511 h 599"/>
                  <a:gd name="T58" fmla="*/ 176 w 802"/>
                  <a:gd name="T59" fmla="*/ 558 h 599"/>
                  <a:gd name="T60" fmla="*/ 175 w 802"/>
                  <a:gd name="T61" fmla="*/ 592 h 599"/>
                  <a:gd name="T62" fmla="*/ 171 w 802"/>
                  <a:gd name="T63" fmla="*/ 599 h 599"/>
                  <a:gd name="T64" fmla="*/ 166 w 802"/>
                  <a:gd name="T65" fmla="*/ 591 h 599"/>
                  <a:gd name="T66" fmla="*/ 148 w 802"/>
                  <a:gd name="T67" fmla="*/ 575 h 599"/>
                  <a:gd name="T68" fmla="*/ 136 w 802"/>
                  <a:gd name="T69" fmla="*/ 565 h 599"/>
                  <a:gd name="T70" fmla="*/ 127 w 802"/>
                  <a:gd name="T71" fmla="*/ 568 h 599"/>
                  <a:gd name="T72" fmla="*/ 117 w 802"/>
                  <a:gd name="T73" fmla="*/ 570 h 599"/>
                  <a:gd name="T74" fmla="*/ 112 w 802"/>
                  <a:gd name="T75" fmla="*/ 574 h 599"/>
                  <a:gd name="T76" fmla="*/ 117 w 802"/>
                  <a:gd name="T77" fmla="*/ 585 h 599"/>
                  <a:gd name="T78" fmla="*/ 97 w 802"/>
                  <a:gd name="T79" fmla="*/ 567 h 599"/>
                  <a:gd name="T80" fmla="*/ 105 w 802"/>
                  <a:gd name="T81" fmla="*/ 558 h 599"/>
                  <a:gd name="T82" fmla="*/ 98 w 802"/>
                  <a:gd name="T83" fmla="*/ 548 h 599"/>
                  <a:gd name="T84" fmla="*/ 86 w 802"/>
                  <a:gd name="T85" fmla="*/ 553 h 599"/>
                  <a:gd name="T86" fmla="*/ 42 w 802"/>
                  <a:gd name="T87" fmla="*/ 534 h 599"/>
                  <a:gd name="T88" fmla="*/ 54 w 802"/>
                  <a:gd name="T89" fmla="*/ 514 h 599"/>
                  <a:gd name="T90" fmla="*/ 47 w 802"/>
                  <a:gd name="T91" fmla="*/ 511 h 599"/>
                  <a:gd name="T92" fmla="*/ 34 w 802"/>
                  <a:gd name="T93" fmla="*/ 502 h 599"/>
                  <a:gd name="T94" fmla="*/ 23 w 802"/>
                  <a:gd name="T95" fmla="*/ 499 h 599"/>
                  <a:gd name="T96" fmla="*/ 13 w 802"/>
                  <a:gd name="T97" fmla="*/ 483 h 599"/>
                  <a:gd name="T98" fmla="*/ 12 w 802"/>
                  <a:gd name="T99" fmla="*/ 473 h 599"/>
                  <a:gd name="T100" fmla="*/ 6 w 802"/>
                  <a:gd name="T101" fmla="*/ 465 h 599"/>
                  <a:gd name="T102" fmla="*/ 3 w 802"/>
                  <a:gd name="T103" fmla="*/ 439 h 599"/>
                  <a:gd name="T104" fmla="*/ 18 w 802"/>
                  <a:gd name="T105" fmla="*/ 434 h 599"/>
                  <a:gd name="T106" fmla="*/ 59 w 802"/>
                  <a:gd name="T107" fmla="*/ 419 h 599"/>
                  <a:gd name="T108" fmla="*/ 146 w 802"/>
                  <a:gd name="T109" fmla="*/ 415 h 599"/>
                  <a:gd name="T110" fmla="*/ 180 w 802"/>
                  <a:gd name="T111" fmla="*/ 400 h 599"/>
                  <a:gd name="T112" fmla="*/ 193 w 802"/>
                  <a:gd name="T113" fmla="*/ 380 h 599"/>
                  <a:gd name="T114" fmla="*/ 207 w 802"/>
                  <a:gd name="T115" fmla="*/ 247 h 599"/>
                  <a:gd name="T116" fmla="*/ 319 w 802"/>
                  <a:gd name="T117" fmla="*/ 179 h 599"/>
                  <a:gd name="T118" fmla="*/ 600 w 802"/>
                  <a:gd name="T119" fmla="*/ 0 h 599"/>
                  <a:gd name="T120" fmla="*/ 710 w 802"/>
                  <a:gd name="T121" fmla="*/ 44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599">
                    <a:moveTo>
                      <a:pt x="751" y="27"/>
                    </a:moveTo>
                    <a:lnTo>
                      <a:pt x="758" y="58"/>
                    </a:lnTo>
                    <a:lnTo>
                      <a:pt x="761" y="79"/>
                    </a:lnTo>
                    <a:lnTo>
                      <a:pt x="761" y="104"/>
                    </a:lnTo>
                    <a:lnTo>
                      <a:pt x="766" y="106"/>
                    </a:lnTo>
                    <a:lnTo>
                      <a:pt x="768" y="109"/>
                    </a:lnTo>
                    <a:lnTo>
                      <a:pt x="775" y="118"/>
                    </a:lnTo>
                    <a:lnTo>
                      <a:pt x="783" y="130"/>
                    </a:lnTo>
                    <a:lnTo>
                      <a:pt x="778" y="135"/>
                    </a:lnTo>
                    <a:lnTo>
                      <a:pt x="782" y="140"/>
                    </a:lnTo>
                    <a:lnTo>
                      <a:pt x="785" y="141"/>
                    </a:lnTo>
                    <a:lnTo>
                      <a:pt x="788" y="147"/>
                    </a:lnTo>
                    <a:lnTo>
                      <a:pt x="795" y="155"/>
                    </a:lnTo>
                    <a:lnTo>
                      <a:pt x="802" y="162"/>
                    </a:lnTo>
                    <a:lnTo>
                      <a:pt x="790" y="181"/>
                    </a:lnTo>
                    <a:lnTo>
                      <a:pt x="790" y="182"/>
                    </a:lnTo>
                    <a:lnTo>
                      <a:pt x="782" y="242"/>
                    </a:lnTo>
                    <a:lnTo>
                      <a:pt x="780" y="281"/>
                    </a:lnTo>
                    <a:lnTo>
                      <a:pt x="778" y="323"/>
                    </a:lnTo>
                    <a:lnTo>
                      <a:pt x="776" y="337"/>
                    </a:lnTo>
                    <a:lnTo>
                      <a:pt x="773" y="340"/>
                    </a:lnTo>
                    <a:lnTo>
                      <a:pt x="751" y="363"/>
                    </a:lnTo>
                    <a:lnTo>
                      <a:pt x="719" y="397"/>
                    </a:lnTo>
                    <a:lnTo>
                      <a:pt x="707" y="414"/>
                    </a:lnTo>
                    <a:lnTo>
                      <a:pt x="700" y="426"/>
                    </a:lnTo>
                    <a:lnTo>
                      <a:pt x="693" y="431"/>
                    </a:lnTo>
                    <a:lnTo>
                      <a:pt x="690" y="439"/>
                    </a:lnTo>
                    <a:lnTo>
                      <a:pt x="691" y="446"/>
                    </a:lnTo>
                    <a:lnTo>
                      <a:pt x="690" y="448"/>
                    </a:lnTo>
                    <a:lnTo>
                      <a:pt x="688" y="448"/>
                    </a:lnTo>
                    <a:lnTo>
                      <a:pt x="685" y="451"/>
                    </a:lnTo>
                    <a:lnTo>
                      <a:pt x="685" y="456"/>
                    </a:lnTo>
                    <a:lnTo>
                      <a:pt x="683" y="458"/>
                    </a:lnTo>
                    <a:lnTo>
                      <a:pt x="680" y="458"/>
                    </a:lnTo>
                    <a:lnTo>
                      <a:pt x="674" y="460"/>
                    </a:lnTo>
                    <a:lnTo>
                      <a:pt x="674" y="465"/>
                    </a:lnTo>
                    <a:lnTo>
                      <a:pt x="676" y="477"/>
                    </a:lnTo>
                    <a:lnTo>
                      <a:pt x="680" y="485"/>
                    </a:lnTo>
                    <a:lnTo>
                      <a:pt x="683" y="499"/>
                    </a:lnTo>
                    <a:lnTo>
                      <a:pt x="668" y="497"/>
                    </a:lnTo>
                    <a:lnTo>
                      <a:pt x="664" y="502"/>
                    </a:lnTo>
                    <a:lnTo>
                      <a:pt x="663" y="502"/>
                    </a:lnTo>
                    <a:lnTo>
                      <a:pt x="663" y="504"/>
                    </a:lnTo>
                    <a:lnTo>
                      <a:pt x="661" y="504"/>
                    </a:lnTo>
                    <a:lnTo>
                      <a:pt x="663" y="505"/>
                    </a:lnTo>
                    <a:lnTo>
                      <a:pt x="661" y="505"/>
                    </a:lnTo>
                    <a:lnTo>
                      <a:pt x="661" y="507"/>
                    </a:lnTo>
                    <a:lnTo>
                      <a:pt x="659" y="507"/>
                    </a:lnTo>
                    <a:lnTo>
                      <a:pt x="657" y="507"/>
                    </a:lnTo>
                    <a:lnTo>
                      <a:pt x="657" y="505"/>
                    </a:lnTo>
                    <a:lnTo>
                      <a:pt x="656" y="507"/>
                    </a:lnTo>
                    <a:lnTo>
                      <a:pt x="654" y="507"/>
                    </a:lnTo>
                    <a:lnTo>
                      <a:pt x="652" y="507"/>
                    </a:lnTo>
                    <a:lnTo>
                      <a:pt x="654" y="507"/>
                    </a:lnTo>
                    <a:lnTo>
                      <a:pt x="654" y="505"/>
                    </a:lnTo>
                    <a:lnTo>
                      <a:pt x="652" y="507"/>
                    </a:lnTo>
                    <a:lnTo>
                      <a:pt x="651" y="507"/>
                    </a:lnTo>
                    <a:lnTo>
                      <a:pt x="647" y="507"/>
                    </a:lnTo>
                    <a:lnTo>
                      <a:pt x="647" y="509"/>
                    </a:lnTo>
                    <a:lnTo>
                      <a:pt x="646" y="509"/>
                    </a:lnTo>
                    <a:lnTo>
                      <a:pt x="644" y="509"/>
                    </a:lnTo>
                    <a:lnTo>
                      <a:pt x="644" y="511"/>
                    </a:lnTo>
                    <a:lnTo>
                      <a:pt x="642" y="509"/>
                    </a:lnTo>
                    <a:lnTo>
                      <a:pt x="642" y="511"/>
                    </a:lnTo>
                    <a:lnTo>
                      <a:pt x="640" y="512"/>
                    </a:lnTo>
                    <a:lnTo>
                      <a:pt x="642" y="514"/>
                    </a:lnTo>
                    <a:lnTo>
                      <a:pt x="639" y="514"/>
                    </a:lnTo>
                    <a:lnTo>
                      <a:pt x="640" y="514"/>
                    </a:lnTo>
                    <a:lnTo>
                      <a:pt x="637" y="516"/>
                    </a:lnTo>
                    <a:lnTo>
                      <a:pt x="637" y="517"/>
                    </a:lnTo>
                    <a:lnTo>
                      <a:pt x="635" y="517"/>
                    </a:lnTo>
                    <a:lnTo>
                      <a:pt x="635" y="519"/>
                    </a:lnTo>
                    <a:lnTo>
                      <a:pt x="635" y="517"/>
                    </a:lnTo>
                    <a:lnTo>
                      <a:pt x="634" y="519"/>
                    </a:lnTo>
                    <a:lnTo>
                      <a:pt x="632" y="519"/>
                    </a:lnTo>
                    <a:lnTo>
                      <a:pt x="630" y="519"/>
                    </a:lnTo>
                    <a:lnTo>
                      <a:pt x="629" y="522"/>
                    </a:lnTo>
                    <a:lnTo>
                      <a:pt x="627" y="522"/>
                    </a:lnTo>
                    <a:lnTo>
                      <a:pt x="627" y="526"/>
                    </a:lnTo>
                    <a:lnTo>
                      <a:pt x="625" y="526"/>
                    </a:lnTo>
                    <a:lnTo>
                      <a:pt x="623" y="528"/>
                    </a:lnTo>
                    <a:lnTo>
                      <a:pt x="625" y="529"/>
                    </a:lnTo>
                    <a:lnTo>
                      <a:pt x="623" y="531"/>
                    </a:lnTo>
                    <a:lnTo>
                      <a:pt x="615" y="529"/>
                    </a:lnTo>
                    <a:lnTo>
                      <a:pt x="613" y="529"/>
                    </a:lnTo>
                    <a:lnTo>
                      <a:pt x="612" y="528"/>
                    </a:lnTo>
                    <a:lnTo>
                      <a:pt x="610" y="528"/>
                    </a:lnTo>
                    <a:lnTo>
                      <a:pt x="608" y="528"/>
                    </a:lnTo>
                    <a:lnTo>
                      <a:pt x="606" y="528"/>
                    </a:lnTo>
                    <a:lnTo>
                      <a:pt x="601" y="526"/>
                    </a:lnTo>
                    <a:lnTo>
                      <a:pt x="600" y="524"/>
                    </a:lnTo>
                    <a:lnTo>
                      <a:pt x="593" y="521"/>
                    </a:lnTo>
                    <a:lnTo>
                      <a:pt x="584" y="519"/>
                    </a:lnTo>
                    <a:lnTo>
                      <a:pt x="576" y="516"/>
                    </a:lnTo>
                    <a:lnTo>
                      <a:pt x="562" y="514"/>
                    </a:lnTo>
                    <a:lnTo>
                      <a:pt x="538" y="516"/>
                    </a:lnTo>
                    <a:lnTo>
                      <a:pt x="532" y="516"/>
                    </a:lnTo>
                    <a:lnTo>
                      <a:pt x="521" y="519"/>
                    </a:lnTo>
                    <a:lnTo>
                      <a:pt x="508" y="521"/>
                    </a:lnTo>
                    <a:lnTo>
                      <a:pt x="501" y="524"/>
                    </a:lnTo>
                    <a:lnTo>
                      <a:pt x="498" y="526"/>
                    </a:lnTo>
                    <a:lnTo>
                      <a:pt x="486" y="538"/>
                    </a:lnTo>
                    <a:lnTo>
                      <a:pt x="481" y="543"/>
                    </a:lnTo>
                    <a:lnTo>
                      <a:pt x="465" y="543"/>
                    </a:lnTo>
                    <a:lnTo>
                      <a:pt x="445" y="541"/>
                    </a:lnTo>
                    <a:lnTo>
                      <a:pt x="430" y="536"/>
                    </a:lnTo>
                    <a:lnTo>
                      <a:pt x="428" y="534"/>
                    </a:lnTo>
                    <a:lnTo>
                      <a:pt x="423" y="531"/>
                    </a:lnTo>
                    <a:lnTo>
                      <a:pt x="421" y="529"/>
                    </a:lnTo>
                    <a:lnTo>
                      <a:pt x="418" y="531"/>
                    </a:lnTo>
                    <a:lnTo>
                      <a:pt x="409" y="522"/>
                    </a:lnTo>
                    <a:lnTo>
                      <a:pt x="408" y="522"/>
                    </a:lnTo>
                    <a:lnTo>
                      <a:pt x="404" y="519"/>
                    </a:lnTo>
                    <a:lnTo>
                      <a:pt x="401" y="519"/>
                    </a:lnTo>
                    <a:lnTo>
                      <a:pt x="389" y="516"/>
                    </a:lnTo>
                    <a:lnTo>
                      <a:pt x="387" y="516"/>
                    </a:lnTo>
                    <a:lnTo>
                      <a:pt x="379" y="522"/>
                    </a:lnTo>
                    <a:lnTo>
                      <a:pt x="367" y="529"/>
                    </a:lnTo>
                    <a:lnTo>
                      <a:pt x="363" y="529"/>
                    </a:lnTo>
                    <a:lnTo>
                      <a:pt x="357" y="528"/>
                    </a:lnTo>
                    <a:lnTo>
                      <a:pt x="352" y="533"/>
                    </a:lnTo>
                    <a:lnTo>
                      <a:pt x="350" y="534"/>
                    </a:lnTo>
                    <a:lnTo>
                      <a:pt x="343" y="533"/>
                    </a:lnTo>
                    <a:lnTo>
                      <a:pt x="341" y="531"/>
                    </a:lnTo>
                    <a:lnTo>
                      <a:pt x="340" y="529"/>
                    </a:lnTo>
                    <a:lnTo>
                      <a:pt x="338" y="529"/>
                    </a:lnTo>
                    <a:lnTo>
                      <a:pt x="338" y="528"/>
                    </a:lnTo>
                    <a:lnTo>
                      <a:pt x="329" y="516"/>
                    </a:lnTo>
                    <a:lnTo>
                      <a:pt x="324" y="509"/>
                    </a:lnTo>
                    <a:lnTo>
                      <a:pt x="324" y="507"/>
                    </a:lnTo>
                    <a:lnTo>
                      <a:pt x="321" y="505"/>
                    </a:lnTo>
                    <a:lnTo>
                      <a:pt x="319" y="505"/>
                    </a:lnTo>
                    <a:lnTo>
                      <a:pt x="318" y="504"/>
                    </a:lnTo>
                    <a:lnTo>
                      <a:pt x="311" y="499"/>
                    </a:lnTo>
                    <a:lnTo>
                      <a:pt x="304" y="500"/>
                    </a:lnTo>
                    <a:lnTo>
                      <a:pt x="289" y="495"/>
                    </a:lnTo>
                    <a:lnTo>
                      <a:pt x="272" y="490"/>
                    </a:lnTo>
                    <a:lnTo>
                      <a:pt x="263" y="492"/>
                    </a:lnTo>
                    <a:lnTo>
                      <a:pt x="260" y="495"/>
                    </a:lnTo>
                    <a:lnTo>
                      <a:pt x="256" y="497"/>
                    </a:lnTo>
                    <a:lnTo>
                      <a:pt x="243" y="497"/>
                    </a:lnTo>
                    <a:lnTo>
                      <a:pt x="241" y="497"/>
                    </a:lnTo>
                    <a:lnTo>
                      <a:pt x="238" y="495"/>
                    </a:lnTo>
                    <a:lnTo>
                      <a:pt x="217" y="499"/>
                    </a:lnTo>
                    <a:lnTo>
                      <a:pt x="204" y="511"/>
                    </a:lnTo>
                    <a:lnTo>
                      <a:pt x="200" y="511"/>
                    </a:lnTo>
                    <a:lnTo>
                      <a:pt x="200" y="526"/>
                    </a:lnTo>
                    <a:lnTo>
                      <a:pt x="199" y="534"/>
                    </a:lnTo>
                    <a:lnTo>
                      <a:pt x="192" y="546"/>
                    </a:lnTo>
                    <a:lnTo>
                      <a:pt x="176" y="558"/>
                    </a:lnTo>
                    <a:lnTo>
                      <a:pt x="176" y="570"/>
                    </a:lnTo>
                    <a:lnTo>
                      <a:pt x="176" y="579"/>
                    </a:lnTo>
                    <a:lnTo>
                      <a:pt x="178" y="585"/>
                    </a:lnTo>
                    <a:lnTo>
                      <a:pt x="175" y="589"/>
                    </a:lnTo>
                    <a:lnTo>
                      <a:pt x="175" y="592"/>
                    </a:lnTo>
                    <a:lnTo>
                      <a:pt x="178" y="594"/>
                    </a:lnTo>
                    <a:lnTo>
                      <a:pt x="178" y="597"/>
                    </a:lnTo>
                    <a:lnTo>
                      <a:pt x="176" y="599"/>
                    </a:lnTo>
                    <a:lnTo>
                      <a:pt x="175" y="599"/>
                    </a:lnTo>
                    <a:lnTo>
                      <a:pt x="171" y="599"/>
                    </a:lnTo>
                    <a:lnTo>
                      <a:pt x="173" y="596"/>
                    </a:lnTo>
                    <a:lnTo>
                      <a:pt x="171" y="596"/>
                    </a:lnTo>
                    <a:lnTo>
                      <a:pt x="170" y="594"/>
                    </a:lnTo>
                    <a:lnTo>
                      <a:pt x="168" y="592"/>
                    </a:lnTo>
                    <a:lnTo>
                      <a:pt x="166" y="591"/>
                    </a:lnTo>
                    <a:lnTo>
                      <a:pt x="159" y="591"/>
                    </a:lnTo>
                    <a:lnTo>
                      <a:pt x="156" y="585"/>
                    </a:lnTo>
                    <a:lnTo>
                      <a:pt x="158" y="584"/>
                    </a:lnTo>
                    <a:lnTo>
                      <a:pt x="151" y="577"/>
                    </a:lnTo>
                    <a:lnTo>
                      <a:pt x="148" y="575"/>
                    </a:lnTo>
                    <a:lnTo>
                      <a:pt x="144" y="570"/>
                    </a:lnTo>
                    <a:lnTo>
                      <a:pt x="142" y="570"/>
                    </a:lnTo>
                    <a:lnTo>
                      <a:pt x="137" y="565"/>
                    </a:lnTo>
                    <a:lnTo>
                      <a:pt x="136" y="563"/>
                    </a:lnTo>
                    <a:lnTo>
                      <a:pt x="136" y="565"/>
                    </a:lnTo>
                    <a:lnTo>
                      <a:pt x="132" y="565"/>
                    </a:lnTo>
                    <a:lnTo>
                      <a:pt x="132" y="567"/>
                    </a:lnTo>
                    <a:lnTo>
                      <a:pt x="131" y="567"/>
                    </a:lnTo>
                    <a:lnTo>
                      <a:pt x="127" y="570"/>
                    </a:lnTo>
                    <a:lnTo>
                      <a:pt x="127" y="568"/>
                    </a:lnTo>
                    <a:lnTo>
                      <a:pt x="124" y="568"/>
                    </a:lnTo>
                    <a:lnTo>
                      <a:pt x="122" y="570"/>
                    </a:lnTo>
                    <a:lnTo>
                      <a:pt x="120" y="570"/>
                    </a:lnTo>
                    <a:lnTo>
                      <a:pt x="119" y="572"/>
                    </a:lnTo>
                    <a:lnTo>
                      <a:pt x="117" y="570"/>
                    </a:lnTo>
                    <a:lnTo>
                      <a:pt x="117" y="572"/>
                    </a:lnTo>
                    <a:lnTo>
                      <a:pt x="115" y="572"/>
                    </a:lnTo>
                    <a:lnTo>
                      <a:pt x="112" y="572"/>
                    </a:lnTo>
                    <a:lnTo>
                      <a:pt x="114" y="574"/>
                    </a:lnTo>
                    <a:lnTo>
                      <a:pt x="112" y="574"/>
                    </a:lnTo>
                    <a:lnTo>
                      <a:pt x="114" y="575"/>
                    </a:lnTo>
                    <a:lnTo>
                      <a:pt x="112" y="575"/>
                    </a:lnTo>
                    <a:lnTo>
                      <a:pt x="114" y="577"/>
                    </a:lnTo>
                    <a:lnTo>
                      <a:pt x="114" y="579"/>
                    </a:lnTo>
                    <a:lnTo>
                      <a:pt x="117" y="585"/>
                    </a:lnTo>
                    <a:lnTo>
                      <a:pt x="115" y="585"/>
                    </a:lnTo>
                    <a:lnTo>
                      <a:pt x="115" y="587"/>
                    </a:lnTo>
                    <a:lnTo>
                      <a:pt x="114" y="587"/>
                    </a:lnTo>
                    <a:lnTo>
                      <a:pt x="114" y="589"/>
                    </a:lnTo>
                    <a:lnTo>
                      <a:pt x="97" y="567"/>
                    </a:lnTo>
                    <a:lnTo>
                      <a:pt x="98" y="565"/>
                    </a:lnTo>
                    <a:lnTo>
                      <a:pt x="102" y="563"/>
                    </a:lnTo>
                    <a:lnTo>
                      <a:pt x="107" y="563"/>
                    </a:lnTo>
                    <a:lnTo>
                      <a:pt x="107" y="560"/>
                    </a:lnTo>
                    <a:lnTo>
                      <a:pt x="105" y="558"/>
                    </a:lnTo>
                    <a:lnTo>
                      <a:pt x="105" y="555"/>
                    </a:lnTo>
                    <a:lnTo>
                      <a:pt x="103" y="553"/>
                    </a:lnTo>
                    <a:lnTo>
                      <a:pt x="102" y="551"/>
                    </a:lnTo>
                    <a:lnTo>
                      <a:pt x="102" y="550"/>
                    </a:lnTo>
                    <a:lnTo>
                      <a:pt x="98" y="548"/>
                    </a:lnTo>
                    <a:lnTo>
                      <a:pt x="93" y="548"/>
                    </a:lnTo>
                    <a:lnTo>
                      <a:pt x="91" y="546"/>
                    </a:lnTo>
                    <a:lnTo>
                      <a:pt x="91" y="550"/>
                    </a:lnTo>
                    <a:lnTo>
                      <a:pt x="90" y="550"/>
                    </a:lnTo>
                    <a:lnTo>
                      <a:pt x="86" y="553"/>
                    </a:lnTo>
                    <a:lnTo>
                      <a:pt x="71" y="553"/>
                    </a:lnTo>
                    <a:lnTo>
                      <a:pt x="71" y="551"/>
                    </a:lnTo>
                    <a:lnTo>
                      <a:pt x="59" y="543"/>
                    </a:lnTo>
                    <a:lnTo>
                      <a:pt x="49" y="534"/>
                    </a:lnTo>
                    <a:lnTo>
                      <a:pt x="42" y="534"/>
                    </a:lnTo>
                    <a:lnTo>
                      <a:pt x="42" y="516"/>
                    </a:lnTo>
                    <a:lnTo>
                      <a:pt x="46" y="516"/>
                    </a:lnTo>
                    <a:lnTo>
                      <a:pt x="49" y="517"/>
                    </a:lnTo>
                    <a:lnTo>
                      <a:pt x="52" y="517"/>
                    </a:lnTo>
                    <a:lnTo>
                      <a:pt x="54" y="514"/>
                    </a:lnTo>
                    <a:lnTo>
                      <a:pt x="54" y="516"/>
                    </a:lnTo>
                    <a:lnTo>
                      <a:pt x="57" y="516"/>
                    </a:lnTo>
                    <a:lnTo>
                      <a:pt x="56" y="514"/>
                    </a:lnTo>
                    <a:lnTo>
                      <a:pt x="49" y="512"/>
                    </a:lnTo>
                    <a:lnTo>
                      <a:pt x="47" y="511"/>
                    </a:lnTo>
                    <a:lnTo>
                      <a:pt x="44" y="509"/>
                    </a:lnTo>
                    <a:lnTo>
                      <a:pt x="44" y="507"/>
                    </a:lnTo>
                    <a:lnTo>
                      <a:pt x="42" y="504"/>
                    </a:lnTo>
                    <a:lnTo>
                      <a:pt x="37" y="502"/>
                    </a:lnTo>
                    <a:lnTo>
                      <a:pt x="34" y="502"/>
                    </a:lnTo>
                    <a:lnTo>
                      <a:pt x="32" y="502"/>
                    </a:lnTo>
                    <a:lnTo>
                      <a:pt x="32" y="500"/>
                    </a:lnTo>
                    <a:lnTo>
                      <a:pt x="30" y="499"/>
                    </a:lnTo>
                    <a:lnTo>
                      <a:pt x="25" y="499"/>
                    </a:lnTo>
                    <a:lnTo>
                      <a:pt x="23" y="499"/>
                    </a:lnTo>
                    <a:lnTo>
                      <a:pt x="23" y="495"/>
                    </a:lnTo>
                    <a:lnTo>
                      <a:pt x="22" y="494"/>
                    </a:lnTo>
                    <a:lnTo>
                      <a:pt x="17" y="488"/>
                    </a:lnTo>
                    <a:lnTo>
                      <a:pt x="15" y="485"/>
                    </a:lnTo>
                    <a:lnTo>
                      <a:pt x="13" y="483"/>
                    </a:lnTo>
                    <a:lnTo>
                      <a:pt x="13" y="482"/>
                    </a:lnTo>
                    <a:lnTo>
                      <a:pt x="12" y="480"/>
                    </a:lnTo>
                    <a:lnTo>
                      <a:pt x="12" y="478"/>
                    </a:lnTo>
                    <a:lnTo>
                      <a:pt x="10" y="477"/>
                    </a:lnTo>
                    <a:lnTo>
                      <a:pt x="12" y="473"/>
                    </a:lnTo>
                    <a:lnTo>
                      <a:pt x="12" y="471"/>
                    </a:lnTo>
                    <a:lnTo>
                      <a:pt x="12" y="470"/>
                    </a:lnTo>
                    <a:lnTo>
                      <a:pt x="12" y="468"/>
                    </a:lnTo>
                    <a:lnTo>
                      <a:pt x="8" y="465"/>
                    </a:lnTo>
                    <a:lnTo>
                      <a:pt x="6" y="465"/>
                    </a:lnTo>
                    <a:lnTo>
                      <a:pt x="1" y="460"/>
                    </a:lnTo>
                    <a:lnTo>
                      <a:pt x="0" y="456"/>
                    </a:lnTo>
                    <a:lnTo>
                      <a:pt x="3" y="444"/>
                    </a:lnTo>
                    <a:lnTo>
                      <a:pt x="1" y="441"/>
                    </a:lnTo>
                    <a:lnTo>
                      <a:pt x="3" y="439"/>
                    </a:lnTo>
                    <a:lnTo>
                      <a:pt x="3" y="437"/>
                    </a:lnTo>
                    <a:lnTo>
                      <a:pt x="3" y="432"/>
                    </a:lnTo>
                    <a:lnTo>
                      <a:pt x="12" y="434"/>
                    </a:lnTo>
                    <a:lnTo>
                      <a:pt x="18" y="432"/>
                    </a:lnTo>
                    <a:lnTo>
                      <a:pt x="18" y="434"/>
                    </a:lnTo>
                    <a:lnTo>
                      <a:pt x="27" y="436"/>
                    </a:lnTo>
                    <a:lnTo>
                      <a:pt x="30" y="434"/>
                    </a:lnTo>
                    <a:lnTo>
                      <a:pt x="40" y="434"/>
                    </a:lnTo>
                    <a:lnTo>
                      <a:pt x="57" y="419"/>
                    </a:lnTo>
                    <a:lnTo>
                      <a:pt x="59" y="419"/>
                    </a:lnTo>
                    <a:lnTo>
                      <a:pt x="74" y="417"/>
                    </a:lnTo>
                    <a:lnTo>
                      <a:pt x="86" y="417"/>
                    </a:lnTo>
                    <a:lnTo>
                      <a:pt x="122" y="414"/>
                    </a:lnTo>
                    <a:lnTo>
                      <a:pt x="129" y="414"/>
                    </a:lnTo>
                    <a:lnTo>
                      <a:pt x="146" y="415"/>
                    </a:lnTo>
                    <a:lnTo>
                      <a:pt x="170" y="415"/>
                    </a:lnTo>
                    <a:lnTo>
                      <a:pt x="171" y="415"/>
                    </a:lnTo>
                    <a:lnTo>
                      <a:pt x="171" y="409"/>
                    </a:lnTo>
                    <a:lnTo>
                      <a:pt x="175" y="407"/>
                    </a:lnTo>
                    <a:lnTo>
                      <a:pt x="180" y="400"/>
                    </a:lnTo>
                    <a:lnTo>
                      <a:pt x="187" y="398"/>
                    </a:lnTo>
                    <a:lnTo>
                      <a:pt x="188" y="395"/>
                    </a:lnTo>
                    <a:lnTo>
                      <a:pt x="190" y="386"/>
                    </a:lnTo>
                    <a:lnTo>
                      <a:pt x="193" y="383"/>
                    </a:lnTo>
                    <a:lnTo>
                      <a:pt x="193" y="380"/>
                    </a:lnTo>
                    <a:lnTo>
                      <a:pt x="197" y="364"/>
                    </a:lnTo>
                    <a:lnTo>
                      <a:pt x="197" y="335"/>
                    </a:lnTo>
                    <a:lnTo>
                      <a:pt x="207" y="332"/>
                    </a:lnTo>
                    <a:lnTo>
                      <a:pt x="207" y="281"/>
                    </a:lnTo>
                    <a:lnTo>
                      <a:pt x="207" y="247"/>
                    </a:lnTo>
                    <a:lnTo>
                      <a:pt x="205" y="223"/>
                    </a:lnTo>
                    <a:lnTo>
                      <a:pt x="229" y="218"/>
                    </a:lnTo>
                    <a:lnTo>
                      <a:pt x="287" y="208"/>
                    </a:lnTo>
                    <a:lnTo>
                      <a:pt x="289" y="204"/>
                    </a:lnTo>
                    <a:lnTo>
                      <a:pt x="319" y="179"/>
                    </a:lnTo>
                    <a:lnTo>
                      <a:pt x="370" y="136"/>
                    </a:lnTo>
                    <a:lnTo>
                      <a:pt x="448" y="89"/>
                    </a:lnTo>
                    <a:lnTo>
                      <a:pt x="510" y="53"/>
                    </a:lnTo>
                    <a:lnTo>
                      <a:pt x="552" y="27"/>
                    </a:lnTo>
                    <a:lnTo>
                      <a:pt x="600" y="0"/>
                    </a:lnTo>
                    <a:lnTo>
                      <a:pt x="651" y="12"/>
                    </a:lnTo>
                    <a:lnTo>
                      <a:pt x="671" y="16"/>
                    </a:lnTo>
                    <a:lnTo>
                      <a:pt x="678" y="19"/>
                    </a:lnTo>
                    <a:lnTo>
                      <a:pt x="685" y="24"/>
                    </a:lnTo>
                    <a:lnTo>
                      <a:pt x="710" y="44"/>
                    </a:lnTo>
                    <a:lnTo>
                      <a:pt x="751" y="27"/>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50" name="Freeform 46">
                <a:extLst>
                  <a:ext uri="{FF2B5EF4-FFF2-40B4-BE49-F238E27FC236}">
                    <a16:creationId xmlns:a16="http://schemas.microsoft.com/office/drawing/2014/main" id="{9B1BFFDB-E2F9-4D3C-A14F-B9807A581B6E}"/>
                  </a:ext>
                </a:extLst>
              </p:cNvPr>
              <p:cNvSpPr>
                <a:spLocks noEditPoints="1"/>
              </p:cNvSpPr>
              <p:nvPr/>
            </p:nvSpPr>
            <p:spPr bwMode="gray">
              <a:xfrm>
                <a:off x="4791075" y="2338388"/>
                <a:ext cx="952118" cy="843211"/>
              </a:xfrm>
              <a:custGeom>
                <a:avLst/>
                <a:gdLst>
                  <a:gd name="T0" fmla="*/ 593 w 609"/>
                  <a:gd name="T1" fmla="*/ 77 h 487"/>
                  <a:gd name="T2" fmla="*/ 607 w 609"/>
                  <a:gd name="T3" fmla="*/ 92 h 487"/>
                  <a:gd name="T4" fmla="*/ 580 w 609"/>
                  <a:gd name="T5" fmla="*/ 133 h 487"/>
                  <a:gd name="T6" fmla="*/ 547 w 609"/>
                  <a:gd name="T7" fmla="*/ 182 h 487"/>
                  <a:gd name="T8" fmla="*/ 534 w 609"/>
                  <a:gd name="T9" fmla="*/ 216 h 487"/>
                  <a:gd name="T10" fmla="*/ 512 w 609"/>
                  <a:gd name="T11" fmla="*/ 259 h 487"/>
                  <a:gd name="T12" fmla="*/ 485 w 609"/>
                  <a:gd name="T13" fmla="*/ 298 h 487"/>
                  <a:gd name="T14" fmla="*/ 457 w 609"/>
                  <a:gd name="T15" fmla="*/ 345 h 487"/>
                  <a:gd name="T16" fmla="*/ 437 w 609"/>
                  <a:gd name="T17" fmla="*/ 373 h 487"/>
                  <a:gd name="T18" fmla="*/ 413 w 609"/>
                  <a:gd name="T19" fmla="*/ 351 h 487"/>
                  <a:gd name="T20" fmla="*/ 379 w 609"/>
                  <a:gd name="T21" fmla="*/ 347 h 487"/>
                  <a:gd name="T22" fmla="*/ 342 w 609"/>
                  <a:gd name="T23" fmla="*/ 383 h 487"/>
                  <a:gd name="T24" fmla="*/ 316 w 609"/>
                  <a:gd name="T25" fmla="*/ 420 h 487"/>
                  <a:gd name="T26" fmla="*/ 299 w 609"/>
                  <a:gd name="T27" fmla="*/ 458 h 487"/>
                  <a:gd name="T28" fmla="*/ 286 w 609"/>
                  <a:gd name="T29" fmla="*/ 456 h 487"/>
                  <a:gd name="T30" fmla="*/ 286 w 609"/>
                  <a:gd name="T31" fmla="*/ 466 h 487"/>
                  <a:gd name="T32" fmla="*/ 240 w 609"/>
                  <a:gd name="T33" fmla="*/ 471 h 487"/>
                  <a:gd name="T34" fmla="*/ 226 w 609"/>
                  <a:gd name="T35" fmla="*/ 466 h 487"/>
                  <a:gd name="T36" fmla="*/ 214 w 609"/>
                  <a:gd name="T37" fmla="*/ 465 h 487"/>
                  <a:gd name="T38" fmla="*/ 206 w 609"/>
                  <a:gd name="T39" fmla="*/ 459 h 487"/>
                  <a:gd name="T40" fmla="*/ 206 w 609"/>
                  <a:gd name="T41" fmla="*/ 471 h 487"/>
                  <a:gd name="T42" fmla="*/ 199 w 609"/>
                  <a:gd name="T43" fmla="*/ 476 h 487"/>
                  <a:gd name="T44" fmla="*/ 180 w 609"/>
                  <a:gd name="T45" fmla="*/ 480 h 487"/>
                  <a:gd name="T46" fmla="*/ 167 w 609"/>
                  <a:gd name="T47" fmla="*/ 480 h 487"/>
                  <a:gd name="T48" fmla="*/ 141 w 609"/>
                  <a:gd name="T49" fmla="*/ 451 h 487"/>
                  <a:gd name="T50" fmla="*/ 145 w 609"/>
                  <a:gd name="T51" fmla="*/ 424 h 487"/>
                  <a:gd name="T52" fmla="*/ 129 w 609"/>
                  <a:gd name="T53" fmla="*/ 419 h 487"/>
                  <a:gd name="T54" fmla="*/ 106 w 609"/>
                  <a:gd name="T55" fmla="*/ 393 h 487"/>
                  <a:gd name="T56" fmla="*/ 4 w 609"/>
                  <a:gd name="T57" fmla="*/ 359 h 487"/>
                  <a:gd name="T58" fmla="*/ 4 w 609"/>
                  <a:gd name="T59" fmla="*/ 318 h 487"/>
                  <a:gd name="T60" fmla="*/ 5 w 609"/>
                  <a:gd name="T61" fmla="*/ 271 h 487"/>
                  <a:gd name="T62" fmla="*/ 5 w 609"/>
                  <a:gd name="T63" fmla="*/ 249 h 487"/>
                  <a:gd name="T64" fmla="*/ 24 w 609"/>
                  <a:gd name="T65" fmla="*/ 225 h 487"/>
                  <a:gd name="T66" fmla="*/ 46 w 609"/>
                  <a:gd name="T67" fmla="*/ 182 h 487"/>
                  <a:gd name="T68" fmla="*/ 49 w 609"/>
                  <a:gd name="T69" fmla="*/ 109 h 487"/>
                  <a:gd name="T70" fmla="*/ 114 w 609"/>
                  <a:gd name="T71" fmla="*/ 7 h 487"/>
                  <a:gd name="T72" fmla="*/ 211 w 609"/>
                  <a:gd name="T73" fmla="*/ 39 h 487"/>
                  <a:gd name="T74" fmla="*/ 291 w 609"/>
                  <a:gd name="T75" fmla="*/ 41 h 487"/>
                  <a:gd name="T76" fmla="*/ 449 w 609"/>
                  <a:gd name="T77" fmla="*/ 26 h 487"/>
                  <a:gd name="T78" fmla="*/ 500 w 609"/>
                  <a:gd name="T79" fmla="*/ 32 h 487"/>
                  <a:gd name="T80" fmla="*/ 517 w 609"/>
                  <a:gd name="T81" fmla="*/ 21 h 487"/>
                  <a:gd name="T82" fmla="*/ 534 w 609"/>
                  <a:gd name="T83" fmla="*/ 15 h 487"/>
                  <a:gd name="T84" fmla="*/ 219 w 609"/>
                  <a:gd name="T85" fmla="*/ 482 h 487"/>
                  <a:gd name="T86" fmla="*/ 226 w 609"/>
                  <a:gd name="T87" fmla="*/ 480 h 487"/>
                  <a:gd name="T88" fmla="*/ 247 w 609"/>
                  <a:gd name="T89" fmla="*/ 476 h 487"/>
                  <a:gd name="T90" fmla="*/ 223 w 609"/>
                  <a:gd name="T91" fmla="*/ 470 h 487"/>
                  <a:gd name="T92" fmla="*/ 281 w 609"/>
                  <a:gd name="T93" fmla="*/ 454 h 487"/>
                  <a:gd name="T94" fmla="*/ 228 w 609"/>
                  <a:gd name="T95" fmla="*/ 473 h 487"/>
                  <a:gd name="T96" fmla="*/ 216 w 609"/>
                  <a:gd name="T97" fmla="*/ 478 h 487"/>
                  <a:gd name="T98" fmla="*/ 225 w 609"/>
                  <a:gd name="T99" fmla="*/ 473 h 487"/>
                  <a:gd name="T100" fmla="*/ 282 w 609"/>
                  <a:gd name="T101" fmla="*/ 453 h 487"/>
                  <a:gd name="T102" fmla="*/ 175 w 609"/>
                  <a:gd name="T103" fmla="*/ 478 h 487"/>
                  <a:gd name="T104" fmla="*/ 276 w 609"/>
                  <a:gd name="T105" fmla="*/ 446 h 487"/>
                  <a:gd name="T106" fmla="*/ 247 w 609"/>
                  <a:gd name="T107" fmla="*/ 475 h 487"/>
                  <a:gd name="T108" fmla="*/ 286 w 609"/>
                  <a:gd name="T109" fmla="*/ 458 h 487"/>
                  <a:gd name="T110" fmla="*/ 226 w 609"/>
                  <a:gd name="T111" fmla="*/ 475 h 487"/>
                  <a:gd name="T112" fmla="*/ 282 w 609"/>
                  <a:gd name="T113" fmla="*/ 456 h 487"/>
                  <a:gd name="T114" fmla="*/ 233 w 609"/>
                  <a:gd name="T115" fmla="*/ 471 h 487"/>
                  <a:gd name="T116" fmla="*/ 219 w 609"/>
                  <a:gd name="T117" fmla="*/ 466 h 487"/>
                  <a:gd name="T118" fmla="*/ 226 w 609"/>
                  <a:gd name="T119" fmla="*/ 47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487">
                    <a:moveTo>
                      <a:pt x="556" y="9"/>
                    </a:moveTo>
                    <a:lnTo>
                      <a:pt x="566" y="24"/>
                    </a:lnTo>
                    <a:lnTo>
                      <a:pt x="571" y="32"/>
                    </a:lnTo>
                    <a:lnTo>
                      <a:pt x="578" y="39"/>
                    </a:lnTo>
                    <a:lnTo>
                      <a:pt x="580" y="53"/>
                    </a:lnTo>
                    <a:lnTo>
                      <a:pt x="583" y="68"/>
                    </a:lnTo>
                    <a:lnTo>
                      <a:pt x="583" y="70"/>
                    </a:lnTo>
                    <a:lnTo>
                      <a:pt x="583" y="72"/>
                    </a:lnTo>
                    <a:lnTo>
                      <a:pt x="583" y="73"/>
                    </a:lnTo>
                    <a:lnTo>
                      <a:pt x="585" y="77"/>
                    </a:lnTo>
                    <a:lnTo>
                      <a:pt x="588" y="75"/>
                    </a:lnTo>
                    <a:lnTo>
                      <a:pt x="588" y="77"/>
                    </a:lnTo>
                    <a:lnTo>
                      <a:pt x="588" y="75"/>
                    </a:lnTo>
                    <a:lnTo>
                      <a:pt x="590" y="77"/>
                    </a:lnTo>
                    <a:lnTo>
                      <a:pt x="590" y="75"/>
                    </a:lnTo>
                    <a:lnTo>
                      <a:pt x="593" y="77"/>
                    </a:lnTo>
                    <a:lnTo>
                      <a:pt x="595" y="75"/>
                    </a:lnTo>
                    <a:lnTo>
                      <a:pt x="597" y="77"/>
                    </a:lnTo>
                    <a:lnTo>
                      <a:pt x="598" y="77"/>
                    </a:lnTo>
                    <a:lnTo>
                      <a:pt x="598" y="78"/>
                    </a:lnTo>
                    <a:lnTo>
                      <a:pt x="600" y="78"/>
                    </a:lnTo>
                    <a:lnTo>
                      <a:pt x="600" y="80"/>
                    </a:lnTo>
                    <a:lnTo>
                      <a:pt x="602" y="80"/>
                    </a:lnTo>
                    <a:lnTo>
                      <a:pt x="602" y="82"/>
                    </a:lnTo>
                    <a:lnTo>
                      <a:pt x="604" y="84"/>
                    </a:lnTo>
                    <a:lnTo>
                      <a:pt x="605" y="84"/>
                    </a:lnTo>
                    <a:lnTo>
                      <a:pt x="604" y="85"/>
                    </a:lnTo>
                    <a:lnTo>
                      <a:pt x="605" y="85"/>
                    </a:lnTo>
                    <a:lnTo>
                      <a:pt x="607" y="85"/>
                    </a:lnTo>
                    <a:lnTo>
                      <a:pt x="609" y="85"/>
                    </a:lnTo>
                    <a:lnTo>
                      <a:pt x="605" y="90"/>
                    </a:lnTo>
                    <a:lnTo>
                      <a:pt x="607" y="92"/>
                    </a:lnTo>
                    <a:lnTo>
                      <a:pt x="605" y="92"/>
                    </a:lnTo>
                    <a:lnTo>
                      <a:pt x="607" y="97"/>
                    </a:lnTo>
                    <a:lnTo>
                      <a:pt x="605" y="97"/>
                    </a:lnTo>
                    <a:lnTo>
                      <a:pt x="607" y="99"/>
                    </a:lnTo>
                    <a:lnTo>
                      <a:pt x="604" y="101"/>
                    </a:lnTo>
                    <a:lnTo>
                      <a:pt x="605" y="106"/>
                    </a:lnTo>
                    <a:lnTo>
                      <a:pt x="602" y="109"/>
                    </a:lnTo>
                    <a:lnTo>
                      <a:pt x="607" y="112"/>
                    </a:lnTo>
                    <a:lnTo>
                      <a:pt x="607" y="114"/>
                    </a:lnTo>
                    <a:lnTo>
                      <a:pt x="605" y="118"/>
                    </a:lnTo>
                    <a:lnTo>
                      <a:pt x="605" y="119"/>
                    </a:lnTo>
                    <a:lnTo>
                      <a:pt x="597" y="121"/>
                    </a:lnTo>
                    <a:lnTo>
                      <a:pt x="595" y="124"/>
                    </a:lnTo>
                    <a:lnTo>
                      <a:pt x="590" y="126"/>
                    </a:lnTo>
                    <a:lnTo>
                      <a:pt x="581" y="133"/>
                    </a:lnTo>
                    <a:lnTo>
                      <a:pt x="580" y="133"/>
                    </a:lnTo>
                    <a:lnTo>
                      <a:pt x="573" y="129"/>
                    </a:lnTo>
                    <a:lnTo>
                      <a:pt x="570" y="136"/>
                    </a:lnTo>
                    <a:lnTo>
                      <a:pt x="568" y="138"/>
                    </a:lnTo>
                    <a:lnTo>
                      <a:pt x="566" y="141"/>
                    </a:lnTo>
                    <a:lnTo>
                      <a:pt x="564" y="141"/>
                    </a:lnTo>
                    <a:lnTo>
                      <a:pt x="563" y="145"/>
                    </a:lnTo>
                    <a:lnTo>
                      <a:pt x="558" y="146"/>
                    </a:lnTo>
                    <a:lnTo>
                      <a:pt x="558" y="153"/>
                    </a:lnTo>
                    <a:lnTo>
                      <a:pt x="554" y="157"/>
                    </a:lnTo>
                    <a:lnTo>
                      <a:pt x="553" y="160"/>
                    </a:lnTo>
                    <a:lnTo>
                      <a:pt x="553" y="162"/>
                    </a:lnTo>
                    <a:lnTo>
                      <a:pt x="549" y="163"/>
                    </a:lnTo>
                    <a:lnTo>
                      <a:pt x="549" y="167"/>
                    </a:lnTo>
                    <a:lnTo>
                      <a:pt x="551" y="170"/>
                    </a:lnTo>
                    <a:lnTo>
                      <a:pt x="549" y="172"/>
                    </a:lnTo>
                    <a:lnTo>
                      <a:pt x="547" y="182"/>
                    </a:lnTo>
                    <a:lnTo>
                      <a:pt x="546" y="184"/>
                    </a:lnTo>
                    <a:lnTo>
                      <a:pt x="546" y="187"/>
                    </a:lnTo>
                    <a:lnTo>
                      <a:pt x="542" y="189"/>
                    </a:lnTo>
                    <a:lnTo>
                      <a:pt x="539" y="191"/>
                    </a:lnTo>
                    <a:lnTo>
                      <a:pt x="537" y="192"/>
                    </a:lnTo>
                    <a:lnTo>
                      <a:pt x="536" y="194"/>
                    </a:lnTo>
                    <a:lnTo>
                      <a:pt x="536" y="196"/>
                    </a:lnTo>
                    <a:lnTo>
                      <a:pt x="537" y="197"/>
                    </a:lnTo>
                    <a:lnTo>
                      <a:pt x="537" y="199"/>
                    </a:lnTo>
                    <a:lnTo>
                      <a:pt x="536" y="201"/>
                    </a:lnTo>
                    <a:lnTo>
                      <a:pt x="536" y="203"/>
                    </a:lnTo>
                    <a:lnTo>
                      <a:pt x="539" y="204"/>
                    </a:lnTo>
                    <a:lnTo>
                      <a:pt x="536" y="208"/>
                    </a:lnTo>
                    <a:lnTo>
                      <a:pt x="536" y="211"/>
                    </a:lnTo>
                    <a:lnTo>
                      <a:pt x="536" y="213"/>
                    </a:lnTo>
                    <a:lnTo>
                      <a:pt x="534" y="216"/>
                    </a:lnTo>
                    <a:lnTo>
                      <a:pt x="534" y="218"/>
                    </a:lnTo>
                    <a:lnTo>
                      <a:pt x="532" y="218"/>
                    </a:lnTo>
                    <a:lnTo>
                      <a:pt x="532" y="220"/>
                    </a:lnTo>
                    <a:lnTo>
                      <a:pt x="525" y="221"/>
                    </a:lnTo>
                    <a:lnTo>
                      <a:pt x="522" y="223"/>
                    </a:lnTo>
                    <a:lnTo>
                      <a:pt x="520" y="225"/>
                    </a:lnTo>
                    <a:lnTo>
                      <a:pt x="517" y="226"/>
                    </a:lnTo>
                    <a:lnTo>
                      <a:pt x="517" y="228"/>
                    </a:lnTo>
                    <a:lnTo>
                      <a:pt x="519" y="230"/>
                    </a:lnTo>
                    <a:lnTo>
                      <a:pt x="519" y="235"/>
                    </a:lnTo>
                    <a:lnTo>
                      <a:pt x="517" y="238"/>
                    </a:lnTo>
                    <a:lnTo>
                      <a:pt x="519" y="240"/>
                    </a:lnTo>
                    <a:lnTo>
                      <a:pt x="517" y="247"/>
                    </a:lnTo>
                    <a:lnTo>
                      <a:pt x="513" y="250"/>
                    </a:lnTo>
                    <a:lnTo>
                      <a:pt x="513" y="257"/>
                    </a:lnTo>
                    <a:lnTo>
                      <a:pt x="512" y="259"/>
                    </a:lnTo>
                    <a:lnTo>
                      <a:pt x="508" y="259"/>
                    </a:lnTo>
                    <a:lnTo>
                      <a:pt x="508" y="262"/>
                    </a:lnTo>
                    <a:lnTo>
                      <a:pt x="507" y="266"/>
                    </a:lnTo>
                    <a:lnTo>
                      <a:pt x="505" y="264"/>
                    </a:lnTo>
                    <a:lnTo>
                      <a:pt x="503" y="267"/>
                    </a:lnTo>
                    <a:lnTo>
                      <a:pt x="498" y="266"/>
                    </a:lnTo>
                    <a:lnTo>
                      <a:pt x="496" y="266"/>
                    </a:lnTo>
                    <a:lnTo>
                      <a:pt x="496" y="267"/>
                    </a:lnTo>
                    <a:lnTo>
                      <a:pt x="493" y="272"/>
                    </a:lnTo>
                    <a:lnTo>
                      <a:pt x="485" y="274"/>
                    </a:lnTo>
                    <a:lnTo>
                      <a:pt x="485" y="277"/>
                    </a:lnTo>
                    <a:lnTo>
                      <a:pt x="485" y="279"/>
                    </a:lnTo>
                    <a:lnTo>
                      <a:pt x="486" y="286"/>
                    </a:lnTo>
                    <a:lnTo>
                      <a:pt x="485" y="289"/>
                    </a:lnTo>
                    <a:lnTo>
                      <a:pt x="483" y="293"/>
                    </a:lnTo>
                    <a:lnTo>
                      <a:pt x="485" y="298"/>
                    </a:lnTo>
                    <a:lnTo>
                      <a:pt x="483" y="300"/>
                    </a:lnTo>
                    <a:lnTo>
                      <a:pt x="481" y="301"/>
                    </a:lnTo>
                    <a:lnTo>
                      <a:pt x="481" y="303"/>
                    </a:lnTo>
                    <a:lnTo>
                      <a:pt x="478" y="305"/>
                    </a:lnTo>
                    <a:lnTo>
                      <a:pt x="474" y="311"/>
                    </a:lnTo>
                    <a:lnTo>
                      <a:pt x="473" y="315"/>
                    </a:lnTo>
                    <a:lnTo>
                      <a:pt x="474" y="322"/>
                    </a:lnTo>
                    <a:lnTo>
                      <a:pt x="469" y="323"/>
                    </a:lnTo>
                    <a:lnTo>
                      <a:pt x="466" y="327"/>
                    </a:lnTo>
                    <a:lnTo>
                      <a:pt x="462" y="334"/>
                    </a:lnTo>
                    <a:lnTo>
                      <a:pt x="462" y="335"/>
                    </a:lnTo>
                    <a:lnTo>
                      <a:pt x="464" y="342"/>
                    </a:lnTo>
                    <a:lnTo>
                      <a:pt x="464" y="344"/>
                    </a:lnTo>
                    <a:lnTo>
                      <a:pt x="464" y="345"/>
                    </a:lnTo>
                    <a:lnTo>
                      <a:pt x="459" y="345"/>
                    </a:lnTo>
                    <a:lnTo>
                      <a:pt x="457" y="345"/>
                    </a:lnTo>
                    <a:lnTo>
                      <a:pt x="456" y="349"/>
                    </a:lnTo>
                    <a:lnTo>
                      <a:pt x="454" y="349"/>
                    </a:lnTo>
                    <a:lnTo>
                      <a:pt x="452" y="352"/>
                    </a:lnTo>
                    <a:lnTo>
                      <a:pt x="451" y="356"/>
                    </a:lnTo>
                    <a:lnTo>
                      <a:pt x="452" y="356"/>
                    </a:lnTo>
                    <a:lnTo>
                      <a:pt x="451" y="357"/>
                    </a:lnTo>
                    <a:lnTo>
                      <a:pt x="452" y="357"/>
                    </a:lnTo>
                    <a:lnTo>
                      <a:pt x="451" y="359"/>
                    </a:lnTo>
                    <a:lnTo>
                      <a:pt x="452" y="361"/>
                    </a:lnTo>
                    <a:lnTo>
                      <a:pt x="451" y="362"/>
                    </a:lnTo>
                    <a:lnTo>
                      <a:pt x="451" y="366"/>
                    </a:lnTo>
                    <a:lnTo>
                      <a:pt x="447" y="368"/>
                    </a:lnTo>
                    <a:lnTo>
                      <a:pt x="444" y="368"/>
                    </a:lnTo>
                    <a:lnTo>
                      <a:pt x="444" y="371"/>
                    </a:lnTo>
                    <a:lnTo>
                      <a:pt x="440" y="373"/>
                    </a:lnTo>
                    <a:lnTo>
                      <a:pt x="437" y="373"/>
                    </a:lnTo>
                    <a:lnTo>
                      <a:pt x="435" y="371"/>
                    </a:lnTo>
                    <a:lnTo>
                      <a:pt x="434" y="373"/>
                    </a:lnTo>
                    <a:lnTo>
                      <a:pt x="430" y="369"/>
                    </a:lnTo>
                    <a:lnTo>
                      <a:pt x="428" y="371"/>
                    </a:lnTo>
                    <a:lnTo>
                      <a:pt x="427" y="371"/>
                    </a:lnTo>
                    <a:lnTo>
                      <a:pt x="427" y="364"/>
                    </a:lnTo>
                    <a:lnTo>
                      <a:pt x="425" y="362"/>
                    </a:lnTo>
                    <a:lnTo>
                      <a:pt x="423" y="362"/>
                    </a:lnTo>
                    <a:lnTo>
                      <a:pt x="422" y="364"/>
                    </a:lnTo>
                    <a:lnTo>
                      <a:pt x="418" y="364"/>
                    </a:lnTo>
                    <a:lnTo>
                      <a:pt x="418" y="362"/>
                    </a:lnTo>
                    <a:lnTo>
                      <a:pt x="417" y="359"/>
                    </a:lnTo>
                    <a:lnTo>
                      <a:pt x="415" y="357"/>
                    </a:lnTo>
                    <a:lnTo>
                      <a:pt x="413" y="357"/>
                    </a:lnTo>
                    <a:lnTo>
                      <a:pt x="413" y="356"/>
                    </a:lnTo>
                    <a:lnTo>
                      <a:pt x="413" y="351"/>
                    </a:lnTo>
                    <a:lnTo>
                      <a:pt x="411" y="349"/>
                    </a:lnTo>
                    <a:lnTo>
                      <a:pt x="410" y="351"/>
                    </a:lnTo>
                    <a:lnTo>
                      <a:pt x="408" y="349"/>
                    </a:lnTo>
                    <a:lnTo>
                      <a:pt x="406" y="347"/>
                    </a:lnTo>
                    <a:lnTo>
                      <a:pt x="406" y="345"/>
                    </a:lnTo>
                    <a:lnTo>
                      <a:pt x="403" y="345"/>
                    </a:lnTo>
                    <a:lnTo>
                      <a:pt x="401" y="344"/>
                    </a:lnTo>
                    <a:lnTo>
                      <a:pt x="401" y="340"/>
                    </a:lnTo>
                    <a:lnTo>
                      <a:pt x="400" y="340"/>
                    </a:lnTo>
                    <a:lnTo>
                      <a:pt x="398" y="351"/>
                    </a:lnTo>
                    <a:lnTo>
                      <a:pt x="396" y="352"/>
                    </a:lnTo>
                    <a:lnTo>
                      <a:pt x="394" y="352"/>
                    </a:lnTo>
                    <a:lnTo>
                      <a:pt x="383" y="354"/>
                    </a:lnTo>
                    <a:lnTo>
                      <a:pt x="381" y="351"/>
                    </a:lnTo>
                    <a:lnTo>
                      <a:pt x="381" y="349"/>
                    </a:lnTo>
                    <a:lnTo>
                      <a:pt x="379" y="347"/>
                    </a:lnTo>
                    <a:lnTo>
                      <a:pt x="381" y="347"/>
                    </a:lnTo>
                    <a:lnTo>
                      <a:pt x="379" y="345"/>
                    </a:lnTo>
                    <a:lnTo>
                      <a:pt x="369" y="354"/>
                    </a:lnTo>
                    <a:lnTo>
                      <a:pt x="366" y="359"/>
                    </a:lnTo>
                    <a:lnTo>
                      <a:pt x="360" y="359"/>
                    </a:lnTo>
                    <a:lnTo>
                      <a:pt x="359" y="361"/>
                    </a:lnTo>
                    <a:lnTo>
                      <a:pt x="359" y="366"/>
                    </a:lnTo>
                    <a:lnTo>
                      <a:pt x="357" y="373"/>
                    </a:lnTo>
                    <a:lnTo>
                      <a:pt x="354" y="373"/>
                    </a:lnTo>
                    <a:lnTo>
                      <a:pt x="354" y="371"/>
                    </a:lnTo>
                    <a:lnTo>
                      <a:pt x="352" y="373"/>
                    </a:lnTo>
                    <a:lnTo>
                      <a:pt x="350" y="371"/>
                    </a:lnTo>
                    <a:lnTo>
                      <a:pt x="350" y="374"/>
                    </a:lnTo>
                    <a:lnTo>
                      <a:pt x="349" y="376"/>
                    </a:lnTo>
                    <a:lnTo>
                      <a:pt x="344" y="376"/>
                    </a:lnTo>
                    <a:lnTo>
                      <a:pt x="342" y="383"/>
                    </a:lnTo>
                    <a:lnTo>
                      <a:pt x="338" y="381"/>
                    </a:lnTo>
                    <a:lnTo>
                      <a:pt x="338" y="383"/>
                    </a:lnTo>
                    <a:lnTo>
                      <a:pt x="335" y="390"/>
                    </a:lnTo>
                    <a:lnTo>
                      <a:pt x="330" y="391"/>
                    </a:lnTo>
                    <a:lnTo>
                      <a:pt x="327" y="395"/>
                    </a:lnTo>
                    <a:lnTo>
                      <a:pt x="320" y="402"/>
                    </a:lnTo>
                    <a:lnTo>
                      <a:pt x="316" y="403"/>
                    </a:lnTo>
                    <a:lnTo>
                      <a:pt x="316" y="405"/>
                    </a:lnTo>
                    <a:lnTo>
                      <a:pt x="313" y="407"/>
                    </a:lnTo>
                    <a:lnTo>
                      <a:pt x="313" y="408"/>
                    </a:lnTo>
                    <a:lnTo>
                      <a:pt x="315" y="408"/>
                    </a:lnTo>
                    <a:lnTo>
                      <a:pt x="315" y="410"/>
                    </a:lnTo>
                    <a:lnTo>
                      <a:pt x="313" y="414"/>
                    </a:lnTo>
                    <a:lnTo>
                      <a:pt x="313" y="415"/>
                    </a:lnTo>
                    <a:lnTo>
                      <a:pt x="316" y="419"/>
                    </a:lnTo>
                    <a:lnTo>
                      <a:pt x="316" y="420"/>
                    </a:lnTo>
                    <a:lnTo>
                      <a:pt x="313" y="427"/>
                    </a:lnTo>
                    <a:lnTo>
                      <a:pt x="313" y="429"/>
                    </a:lnTo>
                    <a:lnTo>
                      <a:pt x="311" y="434"/>
                    </a:lnTo>
                    <a:lnTo>
                      <a:pt x="311" y="441"/>
                    </a:lnTo>
                    <a:lnTo>
                      <a:pt x="310" y="444"/>
                    </a:lnTo>
                    <a:lnTo>
                      <a:pt x="308" y="444"/>
                    </a:lnTo>
                    <a:lnTo>
                      <a:pt x="306" y="446"/>
                    </a:lnTo>
                    <a:lnTo>
                      <a:pt x="306" y="448"/>
                    </a:lnTo>
                    <a:lnTo>
                      <a:pt x="304" y="449"/>
                    </a:lnTo>
                    <a:lnTo>
                      <a:pt x="306" y="449"/>
                    </a:lnTo>
                    <a:lnTo>
                      <a:pt x="303" y="453"/>
                    </a:lnTo>
                    <a:lnTo>
                      <a:pt x="303" y="454"/>
                    </a:lnTo>
                    <a:lnTo>
                      <a:pt x="301" y="454"/>
                    </a:lnTo>
                    <a:lnTo>
                      <a:pt x="301" y="458"/>
                    </a:lnTo>
                    <a:lnTo>
                      <a:pt x="299" y="459"/>
                    </a:lnTo>
                    <a:lnTo>
                      <a:pt x="299" y="458"/>
                    </a:lnTo>
                    <a:lnTo>
                      <a:pt x="298" y="459"/>
                    </a:lnTo>
                    <a:lnTo>
                      <a:pt x="296" y="461"/>
                    </a:lnTo>
                    <a:lnTo>
                      <a:pt x="298" y="465"/>
                    </a:lnTo>
                    <a:lnTo>
                      <a:pt x="296" y="465"/>
                    </a:lnTo>
                    <a:lnTo>
                      <a:pt x="293" y="465"/>
                    </a:lnTo>
                    <a:lnTo>
                      <a:pt x="294" y="463"/>
                    </a:lnTo>
                    <a:lnTo>
                      <a:pt x="294" y="461"/>
                    </a:lnTo>
                    <a:lnTo>
                      <a:pt x="293" y="463"/>
                    </a:lnTo>
                    <a:lnTo>
                      <a:pt x="291" y="463"/>
                    </a:lnTo>
                    <a:lnTo>
                      <a:pt x="289" y="461"/>
                    </a:lnTo>
                    <a:lnTo>
                      <a:pt x="291" y="459"/>
                    </a:lnTo>
                    <a:lnTo>
                      <a:pt x="289" y="461"/>
                    </a:lnTo>
                    <a:lnTo>
                      <a:pt x="287" y="459"/>
                    </a:lnTo>
                    <a:lnTo>
                      <a:pt x="287" y="458"/>
                    </a:lnTo>
                    <a:lnTo>
                      <a:pt x="286" y="458"/>
                    </a:lnTo>
                    <a:lnTo>
                      <a:pt x="286" y="456"/>
                    </a:lnTo>
                    <a:lnTo>
                      <a:pt x="284" y="456"/>
                    </a:lnTo>
                    <a:lnTo>
                      <a:pt x="284" y="454"/>
                    </a:lnTo>
                    <a:lnTo>
                      <a:pt x="282" y="453"/>
                    </a:lnTo>
                    <a:lnTo>
                      <a:pt x="282" y="451"/>
                    </a:lnTo>
                    <a:lnTo>
                      <a:pt x="281" y="449"/>
                    </a:lnTo>
                    <a:lnTo>
                      <a:pt x="279" y="448"/>
                    </a:lnTo>
                    <a:lnTo>
                      <a:pt x="279" y="446"/>
                    </a:lnTo>
                    <a:lnTo>
                      <a:pt x="277" y="446"/>
                    </a:lnTo>
                    <a:lnTo>
                      <a:pt x="277" y="448"/>
                    </a:lnTo>
                    <a:lnTo>
                      <a:pt x="276" y="444"/>
                    </a:lnTo>
                    <a:lnTo>
                      <a:pt x="276" y="448"/>
                    </a:lnTo>
                    <a:lnTo>
                      <a:pt x="276" y="451"/>
                    </a:lnTo>
                    <a:lnTo>
                      <a:pt x="279" y="456"/>
                    </a:lnTo>
                    <a:lnTo>
                      <a:pt x="281" y="458"/>
                    </a:lnTo>
                    <a:lnTo>
                      <a:pt x="286" y="461"/>
                    </a:lnTo>
                    <a:lnTo>
                      <a:pt x="286" y="466"/>
                    </a:lnTo>
                    <a:lnTo>
                      <a:pt x="286" y="468"/>
                    </a:lnTo>
                    <a:lnTo>
                      <a:pt x="286" y="470"/>
                    </a:lnTo>
                    <a:lnTo>
                      <a:pt x="284" y="471"/>
                    </a:lnTo>
                    <a:lnTo>
                      <a:pt x="284" y="473"/>
                    </a:lnTo>
                    <a:lnTo>
                      <a:pt x="277" y="473"/>
                    </a:lnTo>
                    <a:lnTo>
                      <a:pt x="265" y="473"/>
                    </a:lnTo>
                    <a:lnTo>
                      <a:pt x="253" y="475"/>
                    </a:lnTo>
                    <a:lnTo>
                      <a:pt x="250" y="476"/>
                    </a:lnTo>
                    <a:lnTo>
                      <a:pt x="250" y="475"/>
                    </a:lnTo>
                    <a:lnTo>
                      <a:pt x="247" y="473"/>
                    </a:lnTo>
                    <a:lnTo>
                      <a:pt x="247" y="471"/>
                    </a:lnTo>
                    <a:lnTo>
                      <a:pt x="245" y="473"/>
                    </a:lnTo>
                    <a:lnTo>
                      <a:pt x="243" y="471"/>
                    </a:lnTo>
                    <a:lnTo>
                      <a:pt x="242" y="473"/>
                    </a:lnTo>
                    <a:lnTo>
                      <a:pt x="242" y="471"/>
                    </a:lnTo>
                    <a:lnTo>
                      <a:pt x="240" y="471"/>
                    </a:lnTo>
                    <a:lnTo>
                      <a:pt x="238" y="471"/>
                    </a:lnTo>
                    <a:lnTo>
                      <a:pt x="236" y="470"/>
                    </a:lnTo>
                    <a:lnTo>
                      <a:pt x="236" y="471"/>
                    </a:lnTo>
                    <a:lnTo>
                      <a:pt x="235" y="470"/>
                    </a:lnTo>
                    <a:lnTo>
                      <a:pt x="233" y="470"/>
                    </a:lnTo>
                    <a:lnTo>
                      <a:pt x="233" y="471"/>
                    </a:lnTo>
                    <a:lnTo>
                      <a:pt x="233" y="473"/>
                    </a:lnTo>
                    <a:lnTo>
                      <a:pt x="235" y="473"/>
                    </a:lnTo>
                    <a:lnTo>
                      <a:pt x="236" y="473"/>
                    </a:lnTo>
                    <a:lnTo>
                      <a:pt x="236" y="475"/>
                    </a:lnTo>
                    <a:lnTo>
                      <a:pt x="233" y="475"/>
                    </a:lnTo>
                    <a:lnTo>
                      <a:pt x="231" y="471"/>
                    </a:lnTo>
                    <a:lnTo>
                      <a:pt x="228" y="468"/>
                    </a:lnTo>
                    <a:lnTo>
                      <a:pt x="228" y="466"/>
                    </a:lnTo>
                    <a:lnTo>
                      <a:pt x="228" y="465"/>
                    </a:lnTo>
                    <a:lnTo>
                      <a:pt x="226" y="466"/>
                    </a:lnTo>
                    <a:lnTo>
                      <a:pt x="225" y="465"/>
                    </a:lnTo>
                    <a:lnTo>
                      <a:pt x="223" y="463"/>
                    </a:lnTo>
                    <a:lnTo>
                      <a:pt x="225" y="463"/>
                    </a:lnTo>
                    <a:lnTo>
                      <a:pt x="225" y="461"/>
                    </a:lnTo>
                    <a:lnTo>
                      <a:pt x="223" y="463"/>
                    </a:lnTo>
                    <a:lnTo>
                      <a:pt x="223" y="461"/>
                    </a:lnTo>
                    <a:lnTo>
                      <a:pt x="223" y="463"/>
                    </a:lnTo>
                    <a:lnTo>
                      <a:pt x="219" y="465"/>
                    </a:lnTo>
                    <a:lnTo>
                      <a:pt x="219" y="466"/>
                    </a:lnTo>
                    <a:lnTo>
                      <a:pt x="218" y="465"/>
                    </a:lnTo>
                    <a:lnTo>
                      <a:pt x="218" y="463"/>
                    </a:lnTo>
                    <a:lnTo>
                      <a:pt x="218" y="468"/>
                    </a:lnTo>
                    <a:lnTo>
                      <a:pt x="216" y="470"/>
                    </a:lnTo>
                    <a:lnTo>
                      <a:pt x="214" y="465"/>
                    </a:lnTo>
                    <a:lnTo>
                      <a:pt x="213" y="465"/>
                    </a:lnTo>
                    <a:lnTo>
                      <a:pt x="214" y="465"/>
                    </a:lnTo>
                    <a:lnTo>
                      <a:pt x="216" y="470"/>
                    </a:lnTo>
                    <a:lnTo>
                      <a:pt x="214" y="470"/>
                    </a:lnTo>
                    <a:lnTo>
                      <a:pt x="213" y="470"/>
                    </a:lnTo>
                    <a:lnTo>
                      <a:pt x="211" y="470"/>
                    </a:lnTo>
                    <a:lnTo>
                      <a:pt x="211" y="468"/>
                    </a:lnTo>
                    <a:lnTo>
                      <a:pt x="208" y="466"/>
                    </a:lnTo>
                    <a:lnTo>
                      <a:pt x="208" y="463"/>
                    </a:lnTo>
                    <a:lnTo>
                      <a:pt x="209" y="463"/>
                    </a:lnTo>
                    <a:lnTo>
                      <a:pt x="208" y="461"/>
                    </a:lnTo>
                    <a:lnTo>
                      <a:pt x="208" y="463"/>
                    </a:lnTo>
                    <a:lnTo>
                      <a:pt x="208" y="461"/>
                    </a:lnTo>
                    <a:lnTo>
                      <a:pt x="208" y="459"/>
                    </a:lnTo>
                    <a:lnTo>
                      <a:pt x="209" y="458"/>
                    </a:lnTo>
                    <a:lnTo>
                      <a:pt x="208" y="459"/>
                    </a:lnTo>
                    <a:lnTo>
                      <a:pt x="206" y="458"/>
                    </a:lnTo>
                    <a:lnTo>
                      <a:pt x="206" y="459"/>
                    </a:lnTo>
                    <a:lnTo>
                      <a:pt x="208" y="461"/>
                    </a:lnTo>
                    <a:lnTo>
                      <a:pt x="208" y="466"/>
                    </a:lnTo>
                    <a:lnTo>
                      <a:pt x="211" y="468"/>
                    </a:lnTo>
                    <a:lnTo>
                      <a:pt x="211" y="470"/>
                    </a:lnTo>
                    <a:lnTo>
                      <a:pt x="209" y="471"/>
                    </a:lnTo>
                    <a:lnTo>
                      <a:pt x="209" y="473"/>
                    </a:lnTo>
                    <a:lnTo>
                      <a:pt x="211" y="480"/>
                    </a:lnTo>
                    <a:lnTo>
                      <a:pt x="213" y="482"/>
                    </a:lnTo>
                    <a:lnTo>
                      <a:pt x="208" y="482"/>
                    </a:lnTo>
                    <a:lnTo>
                      <a:pt x="204" y="482"/>
                    </a:lnTo>
                    <a:lnTo>
                      <a:pt x="204" y="476"/>
                    </a:lnTo>
                    <a:lnTo>
                      <a:pt x="204" y="475"/>
                    </a:lnTo>
                    <a:lnTo>
                      <a:pt x="206" y="471"/>
                    </a:lnTo>
                    <a:lnTo>
                      <a:pt x="206" y="470"/>
                    </a:lnTo>
                    <a:lnTo>
                      <a:pt x="206" y="468"/>
                    </a:lnTo>
                    <a:lnTo>
                      <a:pt x="206" y="471"/>
                    </a:lnTo>
                    <a:lnTo>
                      <a:pt x="204" y="473"/>
                    </a:lnTo>
                    <a:lnTo>
                      <a:pt x="204" y="478"/>
                    </a:lnTo>
                    <a:lnTo>
                      <a:pt x="202" y="475"/>
                    </a:lnTo>
                    <a:lnTo>
                      <a:pt x="201" y="475"/>
                    </a:lnTo>
                    <a:lnTo>
                      <a:pt x="202" y="475"/>
                    </a:lnTo>
                    <a:lnTo>
                      <a:pt x="202" y="478"/>
                    </a:lnTo>
                    <a:lnTo>
                      <a:pt x="204" y="480"/>
                    </a:lnTo>
                    <a:lnTo>
                      <a:pt x="204" y="483"/>
                    </a:lnTo>
                    <a:lnTo>
                      <a:pt x="201" y="483"/>
                    </a:lnTo>
                    <a:lnTo>
                      <a:pt x="199" y="482"/>
                    </a:lnTo>
                    <a:lnTo>
                      <a:pt x="199" y="476"/>
                    </a:lnTo>
                    <a:lnTo>
                      <a:pt x="197" y="475"/>
                    </a:lnTo>
                    <a:lnTo>
                      <a:pt x="196" y="473"/>
                    </a:lnTo>
                    <a:lnTo>
                      <a:pt x="196" y="475"/>
                    </a:lnTo>
                    <a:lnTo>
                      <a:pt x="197" y="475"/>
                    </a:lnTo>
                    <a:lnTo>
                      <a:pt x="199" y="476"/>
                    </a:lnTo>
                    <a:lnTo>
                      <a:pt x="199" y="482"/>
                    </a:lnTo>
                    <a:lnTo>
                      <a:pt x="197" y="482"/>
                    </a:lnTo>
                    <a:lnTo>
                      <a:pt x="199" y="482"/>
                    </a:lnTo>
                    <a:lnTo>
                      <a:pt x="199" y="483"/>
                    </a:lnTo>
                    <a:lnTo>
                      <a:pt x="191" y="483"/>
                    </a:lnTo>
                    <a:lnTo>
                      <a:pt x="189" y="483"/>
                    </a:lnTo>
                    <a:lnTo>
                      <a:pt x="187" y="482"/>
                    </a:lnTo>
                    <a:lnTo>
                      <a:pt x="185" y="478"/>
                    </a:lnTo>
                    <a:lnTo>
                      <a:pt x="184" y="478"/>
                    </a:lnTo>
                    <a:lnTo>
                      <a:pt x="182" y="480"/>
                    </a:lnTo>
                    <a:lnTo>
                      <a:pt x="182" y="478"/>
                    </a:lnTo>
                    <a:lnTo>
                      <a:pt x="180" y="476"/>
                    </a:lnTo>
                    <a:lnTo>
                      <a:pt x="182" y="480"/>
                    </a:lnTo>
                    <a:lnTo>
                      <a:pt x="180" y="478"/>
                    </a:lnTo>
                    <a:lnTo>
                      <a:pt x="179" y="478"/>
                    </a:lnTo>
                    <a:lnTo>
                      <a:pt x="180" y="480"/>
                    </a:lnTo>
                    <a:lnTo>
                      <a:pt x="179" y="483"/>
                    </a:lnTo>
                    <a:lnTo>
                      <a:pt x="180" y="485"/>
                    </a:lnTo>
                    <a:lnTo>
                      <a:pt x="174" y="487"/>
                    </a:lnTo>
                    <a:lnTo>
                      <a:pt x="174" y="483"/>
                    </a:lnTo>
                    <a:lnTo>
                      <a:pt x="174" y="482"/>
                    </a:lnTo>
                    <a:lnTo>
                      <a:pt x="175" y="482"/>
                    </a:lnTo>
                    <a:lnTo>
                      <a:pt x="177" y="480"/>
                    </a:lnTo>
                    <a:lnTo>
                      <a:pt x="175" y="478"/>
                    </a:lnTo>
                    <a:lnTo>
                      <a:pt x="172" y="480"/>
                    </a:lnTo>
                    <a:lnTo>
                      <a:pt x="172" y="482"/>
                    </a:lnTo>
                    <a:lnTo>
                      <a:pt x="170" y="482"/>
                    </a:lnTo>
                    <a:lnTo>
                      <a:pt x="172" y="483"/>
                    </a:lnTo>
                    <a:lnTo>
                      <a:pt x="172" y="485"/>
                    </a:lnTo>
                    <a:lnTo>
                      <a:pt x="167" y="483"/>
                    </a:lnTo>
                    <a:lnTo>
                      <a:pt x="168" y="482"/>
                    </a:lnTo>
                    <a:lnTo>
                      <a:pt x="167" y="480"/>
                    </a:lnTo>
                    <a:lnTo>
                      <a:pt x="167" y="482"/>
                    </a:lnTo>
                    <a:lnTo>
                      <a:pt x="167" y="483"/>
                    </a:lnTo>
                    <a:lnTo>
                      <a:pt x="163" y="482"/>
                    </a:lnTo>
                    <a:lnTo>
                      <a:pt x="162" y="480"/>
                    </a:lnTo>
                    <a:lnTo>
                      <a:pt x="162" y="478"/>
                    </a:lnTo>
                    <a:lnTo>
                      <a:pt x="163" y="476"/>
                    </a:lnTo>
                    <a:lnTo>
                      <a:pt x="160" y="478"/>
                    </a:lnTo>
                    <a:lnTo>
                      <a:pt x="158" y="476"/>
                    </a:lnTo>
                    <a:lnTo>
                      <a:pt x="157" y="476"/>
                    </a:lnTo>
                    <a:lnTo>
                      <a:pt x="155" y="473"/>
                    </a:lnTo>
                    <a:lnTo>
                      <a:pt x="153" y="473"/>
                    </a:lnTo>
                    <a:lnTo>
                      <a:pt x="153" y="471"/>
                    </a:lnTo>
                    <a:lnTo>
                      <a:pt x="151" y="471"/>
                    </a:lnTo>
                    <a:lnTo>
                      <a:pt x="145" y="461"/>
                    </a:lnTo>
                    <a:lnTo>
                      <a:pt x="141" y="454"/>
                    </a:lnTo>
                    <a:lnTo>
                      <a:pt x="141" y="451"/>
                    </a:lnTo>
                    <a:lnTo>
                      <a:pt x="138" y="442"/>
                    </a:lnTo>
                    <a:lnTo>
                      <a:pt x="141" y="442"/>
                    </a:lnTo>
                    <a:lnTo>
                      <a:pt x="141" y="441"/>
                    </a:lnTo>
                    <a:lnTo>
                      <a:pt x="138" y="442"/>
                    </a:lnTo>
                    <a:lnTo>
                      <a:pt x="136" y="441"/>
                    </a:lnTo>
                    <a:lnTo>
                      <a:pt x="134" y="431"/>
                    </a:lnTo>
                    <a:lnTo>
                      <a:pt x="136" y="431"/>
                    </a:lnTo>
                    <a:lnTo>
                      <a:pt x="136" y="432"/>
                    </a:lnTo>
                    <a:lnTo>
                      <a:pt x="136" y="431"/>
                    </a:lnTo>
                    <a:lnTo>
                      <a:pt x="140" y="431"/>
                    </a:lnTo>
                    <a:lnTo>
                      <a:pt x="141" y="432"/>
                    </a:lnTo>
                    <a:lnTo>
                      <a:pt x="146" y="431"/>
                    </a:lnTo>
                    <a:lnTo>
                      <a:pt x="146" y="429"/>
                    </a:lnTo>
                    <a:lnTo>
                      <a:pt x="145" y="429"/>
                    </a:lnTo>
                    <a:lnTo>
                      <a:pt x="145" y="427"/>
                    </a:lnTo>
                    <a:lnTo>
                      <a:pt x="145" y="424"/>
                    </a:lnTo>
                    <a:lnTo>
                      <a:pt x="148" y="424"/>
                    </a:lnTo>
                    <a:lnTo>
                      <a:pt x="150" y="422"/>
                    </a:lnTo>
                    <a:lnTo>
                      <a:pt x="151" y="422"/>
                    </a:lnTo>
                    <a:lnTo>
                      <a:pt x="150" y="422"/>
                    </a:lnTo>
                    <a:lnTo>
                      <a:pt x="148" y="424"/>
                    </a:lnTo>
                    <a:lnTo>
                      <a:pt x="145" y="424"/>
                    </a:lnTo>
                    <a:lnTo>
                      <a:pt x="141" y="429"/>
                    </a:lnTo>
                    <a:lnTo>
                      <a:pt x="140" y="427"/>
                    </a:lnTo>
                    <a:lnTo>
                      <a:pt x="140" y="425"/>
                    </a:lnTo>
                    <a:lnTo>
                      <a:pt x="140" y="427"/>
                    </a:lnTo>
                    <a:lnTo>
                      <a:pt x="140" y="429"/>
                    </a:lnTo>
                    <a:lnTo>
                      <a:pt x="136" y="429"/>
                    </a:lnTo>
                    <a:lnTo>
                      <a:pt x="131" y="427"/>
                    </a:lnTo>
                    <a:lnTo>
                      <a:pt x="129" y="425"/>
                    </a:lnTo>
                    <a:lnTo>
                      <a:pt x="126" y="422"/>
                    </a:lnTo>
                    <a:lnTo>
                      <a:pt x="129" y="419"/>
                    </a:lnTo>
                    <a:lnTo>
                      <a:pt x="138" y="420"/>
                    </a:lnTo>
                    <a:lnTo>
                      <a:pt x="138" y="419"/>
                    </a:lnTo>
                    <a:lnTo>
                      <a:pt x="138" y="417"/>
                    </a:lnTo>
                    <a:lnTo>
                      <a:pt x="136" y="419"/>
                    </a:lnTo>
                    <a:lnTo>
                      <a:pt x="134" y="419"/>
                    </a:lnTo>
                    <a:lnTo>
                      <a:pt x="134" y="417"/>
                    </a:lnTo>
                    <a:lnTo>
                      <a:pt x="134" y="414"/>
                    </a:lnTo>
                    <a:lnTo>
                      <a:pt x="133" y="419"/>
                    </a:lnTo>
                    <a:lnTo>
                      <a:pt x="129" y="417"/>
                    </a:lnTo>
                    <a:lnTo>
                      <a:pt x="128" y="419"/>
                    </a:lnTo>
                    <a:lnTo>
                      <a:pt x="126" y="419"/>
                    </a:lnTo>
                    <a:lnTo>
                      <a:pt x="123" y="414"/>
                    </a:lnTo>
                    <a:lnTo>
                      <a:pt x="123" y="410"/>
                    </a:lnTo>
                    <a:lnTo>
                      <a:pt x="121" y="410"/>
                    </a:lnTo>
                    <a:lnTo>
                      <a:pt x="116" y="402"/>
                    </a:lnTo>
                    <a:lnTo>
                      <a:pt x="106" y="393"/>
                    </a:lnTo>
                    <a:lnTo>
                      <a:pt x="95" y="383"/>
                    </a:lnTo>
                    <a:lnTo>
                      <a:pt x="90" y="381"/>
                    </a:lnTo>
                    <a:lnTo>
                      <a:pt x="85" y="380"/>
                    </a:lnTo>
                    <a:lnTo>
                      <a:pt x="63" y="376"/>
                    </a:lnTo>
                    <a:lnTo>
                      <a:pt x="58" y="376"/>
                    </a:lnTo>
                    <a:lnTo>
                      <a:pt x="38" y="378"/>
                    </a:lnTo>
                    <a:lnTo>
                      <a:pt x="27" y="378"/>
                    </a:lnTo>
                    <a:lnTo>
                      <a:pt x="9" y="380"/>
                    </a:lnTo>
                    <a:lnTo>
                      <a:pt x="2" y="380"/>
                    </a:lnTo>
                    <a:lnTo>
                      <a:pt x="2" y="373"/>
                    </a:lnTo>
                    <a:lnTo>
                      <a:pt x="4" y="369"/>
                    </a:lnTo>
                    <a:lnTo>
                      <a:pt x="4" y="366"/>
                    </a:lnTo>
                    <a:lnTo>
                      <a:pt x="5" y="362"/>
                    </a:lnTo>
                    <a:lnTo>
                      <a:pt x="7" y="361"/>
                    </a:lnTo>
                    <a:lnTo>
                      <a:pt x="5" y="361"/>
                    </a:lnTo>
                    <a:lnTo>
                      <a:pt x="4" y="359"/>
                    </a:lnTo>
                    <a:lnTo>
                      <a:pt x="4" y="357"/>
                    </a:lnTo>
                    <a:lnTo>
                      <a:pt x="4" y="356"/>
                    </a:lnTo>
                    <a:lnTo>
                      <a:pt x="4" y="352"/>
                    </a:lnTo>
                    <a:lnTo>
                      <a:pt x="2" y="351"/>
                    </a:lnTo>
                    <a:lnTo>
                      <a:pt x="4" y="349"/>
                    </a:lnTo>
                    <a:lnTo>
                      <a:pt x="7" y="345"/>
                    </a:lnTo>
                    <a:lnTo>
                      <a:pt x="4" y="344"/>
                    </a:lnTo>
                    <a:lnTo>
                      <a:pt x="5" y="340"/>
                    </a:lnTo>
                    <a:lnTo>
                      <a:pt x="5" y="335"/>
                    </a:lnTo>
                    <a:lnTo>
                      <a:pt x="4" y="335"/>
                    </a:lnTo>
                    <a:lnTo>
                      <a:pt x="4" y="327"/>
                    </a:lnTo>
                    <a:lnTo>
                      <a:pt x="5" y="327"/>
                    </a:lnTo>
                    <a:lnTo>
                      <a:pt x="7" y="327"/>
                    </a:lnTo>
                    <a:lnTo>
                      <a:pt x="7" y="323"/>
                    </a:lnTo>
                    <a:lnTo>
                      <a:pt x="4" y="322"/>
                    </a:lnTo>
                    <a:lnTo>
                      <a:pt x="4" y="318"/>
                    </a:lnTo>
                    <a:lnTo>
                      <a:pt x="4" y="308"/>
                    </a:lnTo>
                    <a:lnTo>
                      <a:pt x="0" y="303"/>
                    </a:lnTo>
                    <a:lnTo>
                      <a:pt x="2" y="301"/>
                    </a:lnTo>
                    <a:lnTo>
                      <a:pt x="4" y="293"/>
                    </a:lnTo>
                    <a:lnTo>
                      <a:pt x="4" y="289"/>
                    </a:lnTo>
                    <a:lnTo>
                      <a:pt x="4" y="288"/>
                    </a:lnTo>
                    <a:lnTo>
                      <a:pt x="4" y="286"/>
                    </a:lnTo>
                    <a:lnTo>
                      <a:pt x="2" y="284"/>
                    </a:lnTo>
                    <a:lnTo>
                      <a:pt x="2" y="281"/>
                    </a:lnTo>
                    <a:lnTo>
                      <a:pt x="2" y="279"/>
                    </a:lnTo>
                    <a:lnTo>
                      <a:pt x="2" y="277"/>
                    </a:lnTo>
                    <a:lnTo>
                      <a:pt x="2" y="276"/>
                    </a:lnTo>
                    <a:lnTo>
                      <a:pt x="4" y="274"/>
                    </a:lnTo>
                    <a:lnTo>
                      <a:pt x="5" y="272"/>
                    </a:lnTo>
                    <a:lnTo>
                      <a:pt x="4" y="272"/>
                    </a:lnTo>
                    <a:lnTo>
                      <a:pt x="5" y="271"/>
                    </a:lnTo>
                    <a:lnTo>
                      <a:pt x="4" y="269"/>
                    </a:lnTo>
                    <a:lnTo>
                      <a:pt x="5" y="269"/>
                    </a:lnTo>
                    <a:lnTo>
                      <a:pt x="4" y="267"/>
                    </a:lnTo>
                    <a:lnTo>
                      <a:pt x="4" y="264"/>
                    </a:lnTo>
                    <a:lnTo>
                      <a:pt x="5" y="260"/>
                    </a:lnTo>
                    <a:lnTo>
                      <a:pt x="4" y="260"/>
                    </a:lnTo>
                    <a:lnTo>
                      <a:pt x="4" y="259"/>
                    </a:lnTo>
                    <a:lnTo>
                      <a:pt x="4" y="257"/>
                    </a:lnTo>
                    <a:lnTo>
                      <a:pt x="5" y="255"/>
                    </a:lnTo>
                    <a:lnTo>
                      <a:pt x="5" y="254"/>
                    </a:lnTo>
                    <a:lnTo>
                      <a:pt x="4" y="254"/>
                    </a:lnTo>
                    <a:lnTo>
                      <a:pt x="5" y="254"/>
                    </a:lnTo>
                    <a:lnTo>
                      <a:pt x="5" y="252"/>
                    </a:lnTo>
                    <a:lnTo>
                      <a:pt x="4" y="250"/>
                    </a:lnTo>
                    <a:lnTo>
                      <a:pt x="5" y="250"/>
                    </a:lnTo>
                    <a:lnTo>
                      <a:pt x="5" y="249"/>
                    </a:lnTo>
                    <a:lnTo>
                      <a:pt x="7" y="247"/>
                    </a:lnTo>
                    <a:lnTo>
                      <a:pt x="5" y="245"/>
                    </a:lnTo>
                    <a:lnTo>
                      <a:pt x="7" y="245"/>
                    </a:lnTo>
                    <a:lnTo>
                      <a:pt x="5" y="245"/>
                    </a:lnTo>
                    <a:lnTo>
                      <a:pt x="7" y="243"/>
                    </a:lnTo>
                    <a:lnTo>
                      <a:pt x="5" y="243"/>
                    </a:lnTo>
                    <a:lnTo>
                      <a:pt x="10" y="243"/>
                    </a:lnTo>
                    <a:lnTo>
                      <a:pt x="12" y="242"/>
                    </a:lnTo>
                    <a:lnTo>
                      <a:pt x="14" y="242"/>
                    </a:lnTo>
                    <a:lnTo>
                      <a:pt x="15" y="243"/>
                    </a:lnTo>
                    <a:lnTo>
                      <a:pt x="21" y="242"/>
                    </a:lnTo>
                    <a:lnTo>
                      <a:pt x="24" y="237"/>
                    </a:lnTo>
                    <a:lnTo>
                      <a:pt x="24" y="233"/>
                    </a:lnTo>
                    <a:lnTo>
                      <a:pt x="26" y="232"/>
                    </a:lnTo>
                    <a:lnTo>
                      <a:pt x="24" y="228"/>
                    </a:lnTo>
                    <a:lnTo>
                      <a:pt x="24" y="225"/>
                    </a:lnTo>
                    <a:lnTo>
                      <a:pt x="24" y="223"/>
                    </a:lnTo>
                    <a:lnTo>
                      <a:pt x="26" y="221"/>
                    </a:lnTo>
                    <a:lnTo>
                      <a:pt x="31" y="213"/>
                    </a:lnTo>
                    <a:lnTo>
                      <a:pt x="32" y="213"/>
                    </a:lnTo>
                    <a:lnTo>
                      <a:pt x="34" y="211"/>
                    </a:lnTo>
                    <a:lnTo>
                      <a:pt x="32" y="208"/>
                    </a:lnTo>
                    <a:lnTo>
                      <a:pt x="34" y="206"/>
                    </a:lnTo>
                    <a:lnTo>
                      <a:pt x="34" y="204"/>
                    </a:lnTo>
                    <a:lnTo>
                      <a:pt x="39" y="203"/>
                    </a:lnTo>
                    <a:lnTo>
                      <a:pt x="44" y="203"/>
                    </a:lnTo>
                    <a:lnTo>
                      <a:pt x="48" y="197"/>
                    </a:lnTo>
                    <a:lnTo>
                      <a:pt x="48" y="192"/>
                    </a:lnTo>
                    <a:lnTo>
                      <a:pt x="51" y="191"/>
                    </a:lnTo>
                    <a:lnTo>
                      <a:pt x="51" y="187"/>
                    </a:lnTo>
                    <a:lnTo>
                      <a:pt x="48" y="184"/>
                    </a:lnTo>
                    <a:lnTo>
                      <a:pt x="46" y="182"/>
                    </a:lnTo>
                    <a:lnTo>
                      <a:pt x="49" y="174"/>
                    </a:lnTo>
                    <a:lnTo>
                      <a:pt x="51" y="172"/>
                    </a:lnTo>
                    <a:lnTo>
                      <a:pt x="56" y="175"/>
                    </a:lnTo>
                    <a:lnTo>
                      <a:pt x="58" y="170"/>
                    </a:lnTo>
                    <a:lnTo>
                      <a:pt x="60" y="165"/>
                    </a:lnTo>
                    <a:lnTo>
                      <a:pt x="60" y="160"/>
                    </a:lnTo>
                    <a:lnTo>
                      <a:pt x="56" y="158"/>
                    </a:lnTo>
                    <a:lnTo>
                      <a:pt x="55" y="155"/>
                    </a:lnTo>
                    <a:lnTo>
                      <a:pt x="56" y="148"/>
                    </a:lnTo>
                    <a:lnTo>
                      <a:pt x="56" y="145"/>
                    </a:lnTo>
                    <a:lnTo>
                      <a:pt x="53" y="143"/>
                    </a:lnTo>
                    <a:lnTo>
                      <a:pt x="55" y="140"/>
                    </a:lnTo>
                    <a:lnTo>
                      <a:pt x="51" y="138"/>
                    </a:lnTo>
                    <a:lnTo>
                      <a:pt x="41" y="123"/>
                    </a:lnTo>
                    <a:lnTo>
                      <a:pt x="48" y="109"/>
                    </a:lnTo>
                    <a:lnTo>
                      <a:pt x="49" y="109"/>
                    </a:lnTo>
                    <a:lnTo>
                      <a:pt x="51" y="107"/>
                    </a:lnTo>
                    <a:lnTo>
                      <a:pt x="51" y="104"/>
                    </a:lnTo>
                    <a:lnTo>
                      <a:pt x="48" y="102"/>
                    </a:lnTo>
                    <a:lnTo>
                      <a:pt x="48" y="99"/>
                    </a:lnTo>
                    <a:lnTo>
                      <a:pt x="51" y="95"/>
                    </a:lnTo>
                    <a:lnTo>
                      <a:pt x="49" y="89"/>
                    </a:lnTo>
                    <a:lnTo>
                      <a:pt x="49" y="80"/>
                    </a:lnTo>
                    <a:lnTo>
                      <a:pt x="49" y="68"/>
                    </a:lnTo>
                    <a:lnTo>
                      <a:pt x="65" y="56"/>
                    </a:lnTo>
                    <a:lnTo>
                      <a:pt x="72" y="44"/>
                    </a:lnTo>
                    <a:lnTo>
                      <a:pt x="73" y="36"/>
                    </a:lnTo>
                    <a:lnTo>
                      <a:pt x="73" y="21"/>
                    </a:lnTo>
                    <a:lnTo>
                      <a:pt x="77" y="21"/>
                    </a:lnTo>
                    <a:lnTo>
                      <a:pt x="90" y="9"/>
                    </a:lnTo>
                    <a:lnTo>
                      <a:pt x="111" y="5"/>
                    </a:lnTo>
                    <a:lnTo>
                      <a:pt x="114" y="7"/>
                    </a:lnTo>
                    <a:lnTo>
                      <a:pt x="116" y="7"/>
                    </a:lnTo>
                    <a:lnTo>
                      <a:pt x="129" y="7"/>
                    </a:lnTo>
                    <a:lnTo>
                      <a:pt x="133" y="5"/>
                    </a:lnTo>
                    <a:lnTo>
                      <a:pt x="136" y="2"/>
                    </a:lnTo>
                    <a:lnTo>
                      <a:pt x="145" y="0"/>
                    </a:lnTo>
                    <a:lnTo>
                      <a:pt x="162" y="5"/>
                    </a:lnTo>
                    <a:lnTo>
                      <a:pt x="177" y="10"/>
                    </a:lnTo>
                    <a:lnTo>
                      <a:pt x="184" y="9"/>
                    </a:lnTo>
                    <a:lnTo>
                      <a:pt x="191" y="14"/>
                    </a:lnTo>
                    <a:lnTo>
                      <a:pt x="192" y="15"/>
                    </a:lnTo>
                    <a:lnTo>
                      <a:pt x="194" y="15"/>
                    </a:lnTo>
                    <a:lnTo>
                      <a:pt x="197" y="17"/>
                    </a:lnTo>
                    <a:lnTo>
                      <a:pt x="197" y="19"/>
                    </a:lnTo>
                    <a:lnTo>
                      <a:pt x="202" y="26"/>
                    </a:lnTo>
                    <a:lnTo>
                      <a:pt x="211" y="38"/>
                    </a:lnTo>
                    <a:lnTo>
                      <a:pt x="211" y="39"/>
                    </a:lnTo>
                    <a:lnTo>
                      <a:pt x="213" y="39"/>
                    </a:lnTo>
                    <a:lnTo>
                      <a:pt x="214" y="41"/>
                    </a:lnTo>
                    <a:lnTo>
                      <a:pt x="216" y="43"/>
                    </a:lnTo>
                    <a:lnTo>
                      <a:pt x="223" y="44"/>
                    </a:lnTo>
                    <a:lnTo>
                      <a:pt x="225" y="43"/>
                    </a:lnTo>
                    <a:lnTo>
                      <a:pt x="230" y="38"/>
                    </a:lnTo>
                    <a:lnTo>
                      <a:pt x="236" y="39"/>
                    </a:lnTo>
                    <a:lnTo>
                      <a:pt x="240" y="39"/>
                    </a:lnTo>
                    <a:lnTo>
                      <a:pt x="252" y="32"/>
                    </a:lnTo>
                    <a:lnTo>
                      <a:pt x="260" y="26"/>
                    </a:lnTo>
                    <a:lnTo>
                      <a:pt x="262" y="26"/>
                    </a:lnTo>
                    <a:lnTo>
                      <a:pt x="274" y="29"/>
                    </a:lnTo>
                    <a:lnTo>
                      <a:pt x="277" y="29"/>
                    </a:lnTo>
                    <a:lnTo>
                      <a:pt x="281" y="32"/>
                    </a:lnTo>
                    <a:lnTo>
                      <a:pt x="282" y="32"/>
                    </a:lnTo>
                    <a:lnTo>
                      <a:pt x="291" y="41"/>
                    </a:lnTo>
                    <a:lnTo>
                      <a:pt x="294" y="39"/>
                    </a:lnTo>
                    <a:lnTo>
                      <a:pt x="296" y="41"/>
                    </a:lnTo>
                    <a:lnTo>
                      <a:pt x="301" y="44"/>
                    </a:lnTo>
                    <a:lnTo>
                      <a:pt x="303" y="46"/>
                    </a:lnTo>
                    <a:lnTo>
                      <a:pt x="318" y="51"/>
                    </a:lnTo>
                    <a:lnTo>
                      <a:pt x="338" y="53"/>
                    </a:lnTo>
                    <a:lnTo>
                      <a:pt x="354" y="53"/>
                    </a:lnTo>
                    <a:lnTo>
                      <a:pt x="359" y="48"/>
                    </a:lnTo>
                    <a:lnTo>
                      <a:pt x="371" y="36"/>
                    </a:lnTo>
                    <a:lnTo>
                      <a:pt x="374" y="34"/>
                    </a:lnTo>
                    <a:lnTo>
                      <a:pt x="381" y="31"/>
                    </a:lnTo>
                    <a:lnTo>
                      <a:pt x="394" y="29"/>
                    </a:lnTo>
                    <a:lnTo>
                      <a:pt x="405" y="26"/>
                    </a:lnTo>
                    <a:lnTo>
                      <a:pt x="411" y="26"/>
                    </a:lnTo>
                    <a:lnTo>
                      <a:pt x="435" y="24"/>
                    </a:lnTo>
                    <a:lnTo>
                      <a:pt x="449" y="26"/>
                    </a:lnTo>
                    <a:lnTo>
                      <a:pt x="457" y="29"/>
                    </a:lnTo>
                    <a:lnTo>
                      <a:pt x="466" y="31"/>
                    </a:lnTo>
                    <a:lnTo>
                      <a:pt x="473" y="34"/>
                    </a:lnTo>
                    <a:lnTo>
                      <a:pt x="474" y="36"/>
                    </a:lnTo>
                    <a:lnTo>
                      <a:pt x="479" y="38"/>
                    </a:lnTo>
                    <a:lnTo>
                      <a:pt x="481" y="38"/>
                    </a:lnTo>
                    <a:lnTo>
                      <a:pt x="483" y="38"/>
                    </a:lnTo>
                    <a:lnTo>
                      <a:pt x="485" y="38"/>
                    </a:lnTo>
                    <a:lnTo>
                      <a:pt x="486" y="39"/>
                    </a:lnTo>
                    <a:lnTo>
                      <a:pt x="488" y="39"/>
                    </a:lnTo>
                    <a:lnTo>
                      <a:pt x="496" y="41"/>
                    </a:lnTo>
                    <a:lnTo>
                      <a:pt x="498" y="39"/>
                    </a:lnTo>
                    <a:lnTo>
                      <a:pt x="496" y="38"/>
                    </a:lnTo>
                    <a:lnTo>
                      <a:pt x="498" y="36"/>
                    </a:lnTo>
                    <a:lnTo>
                      <a:pt x="500" y="36"/>
                    </a:lnTo>
                    <a:lnTo>
                      <a:pt x="500" y="32"/>
                    </a:lnTo>
                    <a:lnTo>
                      <a:pt x="502" y="32"/>
                    </a:lnTo>
                    <a:lnTo>
                      <a:pt x="503" y="29"/>
                    </a:lnTo>
                    <a:lnTo>
                      <a:pt x="505" y="29"/>
                    </a:lnTo>
                    <a:lnTo>
                      <a:pt x="507" y="29"/>
                    </a:lnTo>
                    <a:lnTo>
                      <a:pt x="508" y="27"/>
                    </a:lnTo>
                    <a:lnTo>
                      <a:pt x="508" y="29"/>
                    </a:lnTo>
                    <a:lnTo>
                      <a:pt x="508" y="27"/>
                    </a:lnTo>
                    <a:lnTo>
                      <a:pt x="510" y="27"/>
                    </a:lnTo>
                    <a:lnTo>
                      <a:pt x="510" y="26"/>
                    </a:lnTo>
                    <a:lnTo>
                      <a:pt x="513" y="24"/>
                    </a:lnTo>
                    <a:lnTo>
                      <a:pt x="512" y="24"/>
                    </a:lnTo>
                    <a:lnTo>
                      <a:pt x="515" y="24"/>
                    </a:lnTo>
                    <a:lnTo>
                      <a:pt x="513" y="22"/>
                    </a:lnTo>
                    <a:lnTo>
                      <a:pt x="515" y="21"/>
                    </a:lnTo>
                    <a:lnTo>
                      <a:pt x="515" y="19"/>
                    </a:lnTo>
                    <a:lnTo>
                      <a:pt x="517" y="21"/>
                    </a:lnTo>
                    <a:lnTo>
                      <a:pt x="517" y="19"/>
                    </a:lnTo>
                    <a:lnTo>
                      <a:pt x="519" y="19"/>
                    </a:lnTo>
                    <a:lnTo>
                      <a:pt x="520" y="19"/>
                    </a:lnTo>
                    <a:lnTo>
                      <a:pt x="520" y="17"/>
                    </a:lnTo>
                    <a:lnTo>
                      <a:pt x="524" y="17"/>
                    </a:lnTo>
                    <a:lnTo>
                      <a:pt x="525" y="17"/>
                    </a:lnTo>
                    <a:lnTo>
                      <a:pt x="527" y="15"/>
                    </a:lnTo>
                    <a:lnTo>
                      <a:pt x="527" y="17"/>
                    </a:lnTo>
                    <a:lnTo>
                      <a:pt x="525" y="17"/>
                    </a:lnTo>
                    <a:lnTo>
                      <a:pt x="527" y="17"/>
                    </a:lnTo>
                    <a:lnTo>
                      <a:pt x="529" y="17"/>
                    </a:lnTo>
                    <a:lnTo>
                      <a:pt x="530" y="15"/>
                    </a:lnTo>
                    <a:lnTo>
                      <a:pt x="530" y="17"/>
                    </a:lnTo>
                    <a:lnTo>
                      <a:pt x="532" y="17"/>
                    </a:lnTo>
                    <a:lnTo>
                      <a:pt x="534" y="17"/>
                    </a:lnTo>
                    <a:lnTo>
                      <a:pt x="534" y="15"/>
                    </a:lnTo>
                    <a:lnTo>
                      <a:pt x="536" y="15"/>
                    </a:lnTo>
                    <a:lnTo>
                      <a:pt x="534" y="14"/>
                    </a:lnTo>
                    <a:lnTo>
                      <a:pt x="536" y="14"/>
                    </a:lnTo>
                    <a:lnTo>
                      <a:pt x="536" y="12"/>
                    </a:lnTo>
                    <a:lnTo>
                      <a:pt x="537" y="12"/>
                    </a:lnTo>
                    <a:lnTo>
                      <a:pt x="541" y="7"/>
                    </a:lnTo>
                    <a:lnTo>
                      <a:pt x="556" y="9"/>
                    </a:lnTo>
                    <a:close/>
                    <a:moveTo>
                      <a:pt x="213" y="470"/>
                    </a:moveTo>
                    <a:lnTo>
                      <a:pt x="214" y="470"/>
                    </a:lnTo>
                    <a:lnTo>
                      <a:pt x="216" y="470"/>
                    </a:lnTo>
                    <a:lnTo>
                      <a:pt x="214" y="471"/>
                    </a:lnTo>
                    <a:lnTo>
                      <a:pt x="218" y="473"/>
                    </a:lnTo>
                    <a:lnTo>
                      <a:pt x="219" y="478"/>
                    </a:lnTo>
                    <a:lnTo>
                      <a:pt x="221" y="480"/>
                    </a:lnTo>
                    <a:lnTo>
                      <a:pt x="219" y="480"/>
                    </a:lnTo>
                    <a:lnTo>
                      <a:pt x="219" y="482"/>
                    </a:lnTo>
                    <a:lnTo>
                      <a:pt x="218" y="480"/>
                    </a:lnTo>
                    <a:lnTo>
                      <a:pt x="216" y="478"/>
                    </a:lnTo>
                    <a:lnTo>
                      <a:pt x="214" y="476"/>
                    </a:lnTo>
                    <a:lnTo>
                      <a:pt x="214" y="475"/>
                    </a:lnTo>
                    <a:lnTo>
                      <a:pt x="214" y="476"/>
                    </a:lnTo>
                    <a:lnTo>
                      <a:pt x="213" y="478"/>
                    </a:lnTo>
                    <a:lnTo>
                      <a:pt x="213" y="476"/>
                    </a:lnTo>
                    <a:lnTo>
                      <a:pt x="211" y="476"/>
                    </a:lnTo>
                    <a:lnTo>
                      <a:pt x="209" y="471"/>
                    </a:lnTo>
                    <a:lnTo>
                      <a:pt x="211" y="470"/>
                    </a:lnTo>
                    <a:lnTo>
                      <a:pt x="213" y="470"/>
                    </a:lnTo>
                    <a:close/>
                    <a:moveTo>
                      <a:pt x="236" y="475"/>
                    </a:moveTo>
                    <a:lnTo>
                      <a:pt x="235" y="476"/>
                    </a:lnTo>
                    <a:lnTo>
                      <a:pt x="236" y="478"/>
                    </a:lnTo>
                    <a:lnTo>
                      <a:pt x="230" y="480"/>
                    </a:lnTo>
                    <a:lnTo>
                      <a:pt x="226" y="480"/>
                    </a:lnTo>
                    <a:lnTo>
                      <a:pt x="231" y="473"/>
                    </a:lnTo>
                    <a:lnTo>
                      <a:pt x="233" y="475"/>
                    </a:lnTo>
                    <a:lnTo>
                      <a:pt x="236" y="475"/>
                    </a:lnTo>
                    <a:close/>
                    <a:moveTo>
                      <a:pt x="185" y="478"/>
                    </a:moveTo>
                    <a:lnTo>
                      <a:pt x="185" y="480"/>
                    </a:lnTo>
                    <a:lnTo>
                      <a:pt x="187" y="482"/>
                    </a:lnTo>
                    <a:lnTo>
                      <a:pt x="191" y="485"/>
                    </a:lnTo>
                    <a:lnTo>
                      <a:pt x="184" y="485"/>
                    </a:lnTo>
                    <a:lnTo>
                      <a:pt x="180" y="485"/>
                    </a:lnTo>
                    <a:lnTo>
                      <a:pt x="182" y="482"/>
                    </a:lnTo>
                    <a:lnTo>
                      <a:pt x="185" y="478"/>
                    </a:lnTo>
                    <a:close/>
                    <a:moveTo>
                      <a:pt x="240" y="475"/>
                    </a:moveTo>
                    <a:lnTo>
                      <a:pt x="242" y="475"/>
                    </a:lnTo>
                    <a:lnTo>
                      <a:pt x="247" y="476"/>
                    </a:lnTo>
                    <a:lnTo>
                      <a:pt x="247" y="475"/>
                    </a:lnTo>
                    <a:lnTo>
                      <a:pt x="247" y="476"/>
                    </a:lnTo>
                    <a:lnTo>
                      <a:pt x="248" y="475"/>
                    </a:lnTo>
                    <a:lnTo>
                      <a:pt x="248" y="476"/>
                    </a:lnTo>
                    <a:lnTo>
                      <a:pt x="242" y="478"/>
                    </a:lnTo>
                    <a:lnTo>
                      <a:pt x="236" y="476"/>
                    </a:lnTo>
                    <a:lnTo>
                      <a:pt x="236" y="475"/>
                    </a:lnTo>
                    <a:lnTo>
                      <a:pt x="238" y="475"/>
                    </a:lnTo>
                    <a:lnTo>
                      <a:pt x="240" y="473"/>
                    </a:lnTo>
                    <a:lnTo>
                      <a:pt x="240" y="475"/>
                    </a:lnTo>
                    <a:close/>
                    <a:moveTo>
                      <a:pt x="221" y="465"/>
                    </a:moveTo>
                    <a:lnTo>
                      <a:pt x="223" y="465"/>
                    </a:lnTo>
                    <a:lnTo>
                      <a:pt x="225" y="466"/>
                    </a:lnTo>
                    <a:lnTo>
                      <a:pt x="225" y="468"/>
                    </a:lnTo>
                    <a:lnTo>
                      <a:pt x="226" y="471"/>
                    </a:lnTo>
                    <a:lnTo>
                      <a:pt x="225" y="471"/>
                    </a:lnTo>
                    <a:lnTo>
                      <a:pt x="225" y="470"/>
                    </a:lnTo>
                    <a:lnTo>
                      <a:pt x="223" y="470"/>
                    </a:lnTo>
                    <a:lnTo>
                      <a:pt x="223" y="471"/>
                    </a:lnTo>
                    <a:lnTo>
                      <a:pt x="223" y="468"/>
                    </a:lnTo>
                    <a:lnTo>
                      <a:pt x="221" y="468"/>
                    </a:lnTo>
                    <a:lnTo>
                      <a:pt x="219" y="465"/>
                    </a:lnTo>
                    <a:lnTo>
                      <a:pt x="221" y="465"/>
                    </a:lnTo>
                    <a:close/>
                    <a:moveTo>
                      <a:pt x="221" y="478"/>
                    </a:moveTo>
                    <a:lnTo>
                      <a:pt x="219" y="470"/>
                    </a:lnTo>
                    <a:lnTo>
                      <a:pt x="221" y="471"/>
                    </a:lnTo>
                    <a:lnTo>
                      <a:pt x="223" y="475"/>
                    </a:lnTo>
                    <a:lnTo>
                      <a:pt x="223" y="478"/>
                    </a:lnTo>
                    <a:lnTo>
                      <a:pt x="221" y="478"/>
                    </a:lnTo>
                    <a:close/>
                    <a:moveTo>
                      <a:pt x="279" y="451"/>
                    </a:moveTo>
                    <a:lnTo>
                      <a:pt x="282" y="453"/>
                    </a:lnTo>
                    <a:lnTo>
                      <a:pt x="284" y="458"/>
                    </a:lnTo>
                    <a:lnTo>
                      <a:pt x="282" y="456"/>
                    </a:lnTo>
                    <a:lnTo>
                      <a:pt x="281" y="454"/>
                    </a:lnTo>
                    <a:lnTo>
                      <a:pt x="279" y="453"/>
                    </a:lnTo>
                    <a:lnTo>
                      <a:pt x="279" y="451"/>
                    </a:lnTo>
                    <a:lnTo>
                      <a:pt x="279" y="453"/>
                    </a:lnTo>
                    <a:lnTo>
                      <a:pt x="277" y="451"/>
                    </a:lnTo>
                    <a:lnTo>
                      <a:pt x="276" y="446"/>
                    </a:lnTo>
                    <a:lnTo>
                      <a:pt x="277" y="448"/>
                    </a:lnTo>
                    <a:lnTo>
                      <a:pt x="277" y="449"/>
                    </a:lnTo>
                    <a:lnTo>
                      <a:pt x="279" y="451"/>
                    </a:lnTo>
                    <a:close/>
                    <a:moveTo>
                      <a:pt x="225" y="471"/>
                    </a:moveTo>
                    <a:lnTo>
                      <a:pt x="226" y="471"/>
                    </a:lnTo>
                    <a:lnTo>
                      <a:pt x="228" y="473"/>
                    </a:lnTo>
                    <a:lnTo>
                      <a:pt x="228" y="476"/>
                    </a:lnTo>
                    <a:lnTo>
                      <a:pt x="225" y="476"/>
                    </a:lnTo>
                    <a:lnTo>
                      <a:pt x="225" y="475"/>
                    </a:lnTo>
                    <a:lnTo>
                      <a:pt x="226" y="475"/>
                    </a:lnTo>
                    <a:lnTo>
                      <a:pt x="228" y="473"/>
                    </a:lnTo>
                    <a:lnTo>
                      <a:pt x="226" y="473"/>
                    </a:lnTo>
                    <a:lnTo>
                      <a:pt x="225" y="475"/>
                    </a:lnTo>
                    <a:lnTo>
                      <a:pt x="225" y="473"/>
                    </a:lnTo>
                    <a:lnTo>
                      <a:pt x="225" y="471"/>
                    </a:lnTo>
                    <a:lnTo>
                      <a:pt x="223" y="471"/>
                    </a:lnTo>
                    <a:lnTo>
                      <a:pt x="225" y="470"/>
                    </a:lnTo>
                    <a:lnTo>
                      <a:pt x="225" y="471"/>
                    </a:lnTo>
                    <a:close/>
                    <a:moveTo>
                      <a:pt x="216" y="478"/>
                    </a:moveTo>
                    <a:lnTo>
                      <a:pt x="218" y="480"/>
                    </a:lnTo>
                    <a:lnTo>
                      <a:pt x="213" y="480"/>
                    </a:lnTo>
                    <a:lnTo>
                      <a:pt x="211" y="478"/>
                    </a:lnTo>
                    <a:lnTo>
                      <a:pt x="213" y="476"/>
                    </a:lnTo>
                    <a:lnTo>
                      <a:pt x="213" y="478"/>
                    </a:lnTo>
                    <a:lnTo>
                      <a:pt x="214" y="476"/>
                    </a:lnTo>
                    <a:lnTo>
                      <a:pt x="214" y="478"/>
                    </a:lnTo>
                    <a:lnTo>
                      <a:pt x="216" y="478"/>
                    </a:lnTo>
                    <a:close/>
                    <a:moveTo>
                      <a:pt x="245" y="473"/>
                    </a:moveTo>
                    <a:lnTo>
                      <a:pt x="247" y="473"/>
                    </a:lnTo>
                    <a:lnTo>
                      <a:pt x="247" y="475"/>
                    </a:lnTo>
                    <a:lnTo>
                      <a:pt x="245" y="475"/>
                    </a:lnTo>
                    <a:lnTo>
                      <a:pt x="243" y="475"/>
                    </a:lnTo>
                    <a:lnTo>
                      <a:pt x="243" y="473"/>
                    </a:lnTo>
                    <a:lnTo>
                      <a:pt x="242" y="473"/>
                    </a:lnTo>
                    <a:lnTo>
                      <a:pt x="242" y="475"/>
                    </a:lnTo>
                    <a:lnTo>
                      <a:pt x="240" y="475"/>
                    </a:lnTo>
                    <a:lnTo>
                      <a:pt x="240" y="473"/>
                    </a:lnTo>
                    <a:lnTo>
                      <a:pt x="242" y="473"/>
                    </a:lnTo>
                    <a:lnTo>
                      <a:pt x="242" y="471"/>
                    </a:lnTo>
                    <a:lnTo>
                      <a:pt x="243" y="471"/>
                    </a:lnTo>
                    <a:lnTo>
                      <a:pt x="245" y="473"/>
                    </a:lnTo>
                    <a:close/>
                    <a:moveTo>
                      <a:pt x="225" y="471"/>
                    </a:moveTo>
                    <a:lnTo>
                      <a:pt x="225" y="473"/>
                    </a:lnTo>
                    <a:lnTo>
                      <a:pt x="225" y="476"/>
                    </a:lnTo>
                    <a:lnTo>
                      <a:pt x="223" y="476"/>
                    </a:lnTo>
                    <a:lnTo>
                      <a:pt x="223" y="475"/>
                    </a:lnTo>
                    <a:lnTo>
                      <a:pt x="223" y="471"/>
                    </a:lnTo>
                    <a:lnTo>
                      <a:pt x="225" y="471"/>
                    </a:lnTo>
                    <a:close/>
                    <a:moveTo>
                      <a:pt x="226" y="468"/>
                    </a:moveTo>
                    <a:lnTo>
                      <a:pt x="228" y="470"/>
                    </a:lnTo>
                    <a:lnTo>
                      <a:pt x="228" y="471"/>
                    </a:lnTo>
                    <a:lnTo>
                      <a:pt x="226" y="471"/>
                    </a:lnTo>
                    <a:lnTo>
                      <a:pt x="226" y="468"/>
                    </a:lnTo>
                    <a:lnTo>
                      <a:pt x="225" y="466"/>
                    </a:lnTo>
                    <a:lnTo>
                      <a:pt x="226" y="468"/>
                    </a:lnTo>
                    <a:close/>
                    <a:moveTo>
                      <a:pt x="279" y="448"/>
                    </a:moveTo>
                    <a:lnTo>
                      <a:pt x="281" y="449"/>
                    </a:lnTo>
                    <a:lnTo>
                      <a:pt x="282" y="451"/>
                    </a:lnTo>
                    <a:lnTo>
                      <a:pt x="282" y="453"/>
                    </a:lnTo>
                    <a:lnTo>
                      <a:pt x="277" y="449"/>
                    </a:lnTo>
                    <a:lnTo>
                      <a:pt x="277" y="448"/>
                    </a:lnTo>
                    <a:lnTo>
                      <a:pt x="277" y="446"/>
                    </a:lnTo>
                    <a:lnTo>
                      <a:pt x="279" y="448"/>
                    </a:lnTo>
                    <a:close/>
                    <a:moveTo>
                      <a:pt x="221" y="468"/>
                    </a:moveTo>
                    <a:lnTo>
                      <a:pt x="223" y="468"/>
                    </a:lnTo>
                    <a:lnTo>
                      <a:pt x="223" y="471"/>
                    </a:lnTo>
                    <a:lnTo>
                      <a:pt x="221" y="470"/>
                    </a:lnTo>
                    <a:lnTo>
                      <a:pt x="219" y="470"/>
                    </a:lnTo>
                    <a:lnTo>
                      <a:pt x="219" y="468"/>
                    </a:lnTo>
                    <a:lnTo>
                      <a:pt x="221" y="468"/>
                    </a:lnTo>
                    <a:lnTo>
                      <a:pt x="219" y="466"/>
                    </a:lnTo>
                    <a:lnTo>
                      <a:pt x="221" y="466"/>
                    </a:lnTo>
                    <a:lnTo>
                      <a:pt x="221" y="468"/>
                    </a:lnTo>
                    <a:close/>
                    <a:moveTo>
                      <a:pt x="174" y="478"/>
                    </a:moveTo>
                    <a:lnTo>
                      <a:pt x="175" y="478"/>
                    </a:lnTo>
                    <a:lnTo>
                      <a:pt x="175" y="482"/>
                    </a:lnTo>
                    <a:lnTo>
                      <a:pt x="174" y="482"/>
                    </a:lnTo>
                    <a:lnTo>
                      <a:pt x="174" y="478"/>
                    </a:lnTo>
                    <a:close/>
                    <a:moveTo>
                      <a:pt x="218" y="475"/>
                    </a:moveTo>
                    <a:lnTo>
                      <a:pt x="218" y="471"/>
                    </a:lnTo>
                    <a:lnTo>
                      <a:pt x="216" y="471"/>
                    </a:lnTo>
                    <a:lnTo>
                      <a:pt x="216" y="470"/>
                    </a:lnTo>
                    <a:lnTo>
                      <a:pt x="218" y="470"/>
                    </a:lnTo>
                    <a:lnTo>
                      <a:pt x="218" y="475"/>
                    </a:lnTo>
                    <a:close/>
                    <a:moveTo>
                      <a:pt x="236" y="471"/>
                    </a:moveTo>
                    <a:lnTo>
                      <a:pt x="240" y="471"/>
                    </a:lnTo>
                    <a:lnTo>
                      <a:pt x="240" y="475"/>
                    </a:lnTo>
                    <a:lnTo>
                      <a:pt x="236" y="475"/>
                    </a:lnTo>
                    <a:lnTo>
                      <a:pt x="236" y="471"/>
                    </a:lnTo>
                    <a:close/>
                    <a:moveTo>
                      <a:pt x="277" y="448"/>
                    </a:moveTo>
                    <a:lnTo>
                      <a:pt x="276" y="446"/>
                    </a:lnTo>
                    <a:lnTo>
                      <a:pt x="276" y="444"/>
                    </a:lnTo>
                    <a:lnTo>
                      <a:pt x="277" y="448"/>
                    </a:lnTo>
                    <a:close/>
                    <a:moveTo>
                      <a:pt x="282" y="458"/>
                    </a:moveTo>
                    <a:lnTo>
                      <a:pt x="279" y="454"/>
                    </a:lnTo>
                    <a:lnTo>
                      <a:pt x="279" y="453"/>
                    </a:lnTo>
                    <a:lnTo>
                      <a:pt x="282" y="458"/>
                    </a:lnTo>
                    <a:close/>
                    <a:moveTo>
                      <a:pt x="286" y="468"/>
                    </a:moveTo>
                    <a:lnTo>
                      <a:pt x="287" y="468"/>
                    </a:lnTo>
                    <a:lnTo>
                      <a:pt x="287" y="470"/>
                    </a:lnTo>
                    <a:lnTo>
                      <a:pt x="286" y="470"/>
                    </a:lnTo>
                    <a:lnTo>
                      <a:pt x="286" y="468"/>
                    </a:lnTo>
                    <a:close/>
                    <a:moveTo>
                      <a:pt x="236" y="475"/>
                    </a:moveTo>
                    <a:lnTo>
                      <a:pt x="236" y="473"/>
                    </a:lnTo>
                    <a:lnTo>
                      <a:pt x="236" y="471"/>
                    </a:lnTo>
                    <a:lnTo>
                      <a:pt x="236" y="475"/>
                    </a:lnTo>
                    <a:close/>
                    <a:moveTo>
                      <a:pt x="247" y="475"/>
                    </a:moveTo>
                    <a:lnTo>
                      <a:pt x="245" y="475"/>
                    </a:lnTo>
                    <a:lnTo>
                      <a:pt x="247" y="475"/>
                    </a:lnTo>
                    <a:lnTo>
                      <a:pt x="248" y="475"/>
                    </a:lnTo>
                    <a:lnTo>
                      <a:pt x="247" y="475"/>
                    </a:lnTo>
                    <a:close/>
                    <a:moveTo>
                      <a:pt x="279" y="453"/>
                    </a:moveTo>
                    <a:lnTo>
                      <a:pt x="281" y="453"/>
                    </a:lnTo>
                    <a:lnTo>
                      <a:pt x="281" y="456"/>
                    </a:lnTo>
                    <a:lnTo>
                      <a:pt x="279" y="456"/>
                    </a:lnTo>
                    <a:lnTo>
                      <a:pt x="279" y="453"/>
                    </a:lnTo>
                    <a:close/>
                    <a:moveTo>
                      <a:pt x="221" y="463"/>
                    </a:moveTo>
                    <a:lnTo>
                      <a:pt x="223" y="463"/>
                    </a:lnTo>
                    <a:lnTo>
                      <a:pt x="223" y="465"/>
                    </a:lnTo>
                    <a:lnTo>
                      <a:pt x="221" y="465"/>
                    </a:lnTo>
                    <a:lnTo>
                      <a:pt x="221" y="463"/>
                    </a:lnTo>
                    <a:close/>
                    <a:moveTo>
                      <a:pt x="284" y="458"/>
                    </a:moveTo>
                    <a:lnTo>
                      <a:pt x="286" y="458"/>
                    </a:lnTo>
                    <a:lnTo>
                      <a:pt x="286" y="459"/>
                    </a:lnTo>
                    <a:lnTo>
                      <a:pt x="284" y="459"/>
                    </a:lnTo>
                    <a:lnTo>
                      <a:pt x="284" y="458"/>
                    </a:lnTo>
                    <a:close/>
                    <a:moveTo>
                      <a:pt x="218" y="466"/>
                    </a:moveTo>
                    <a:lnTo>
                      <a:pt x="219" y="466"/>
                    </a:lnTo>
                    <a:lnTo>
                      <a:pt x="219" y="468"/>
                    </a:lnTo>
                    <a:lnTo>
                      <a:pt x="218" y="468"/>
                    </a:lnTo>
                    <a:lnTo>
                      <a:pt x="218" y="466"/>
                    </a:lnTo>
                    <a:close/>
                    <a:moveTo>
                      <a:pt x="235" y="470"/>
                    </a:moveTo>
                    <a:lnTo>
                      <a:pt x="236" y="470"/>
                    </a:lnTo>
                    <a:lnTo>
                      <a:pt x="236" y="473"/>
                    </a:lnTo>
                    <a:lnTo>
                      <a:pt x="235" y="473"/>
                    </a:lnTo>
                    <a:lnTo>
                      <a:pt x="235" y="470"/>
                    </a:lnTo>
                    <a:close/>
                    <a:moveTo>
                      <a:pt x="225" y="473"/>
                    </a:moveTo>
                    <a:lnTo>
                      <a:pt x="226" y="473"/>
                    </a:lnTo>
                    <a:lnTo>
                      <a:pt x="226" y="475"/>
                    </a:lnTo>
                    <a:lnTo>
                      <a:pt x="225" y="475"/>
                    </a:lnTo>
                    <a:lnTo>
                      <a:pt x="225" y="473"/>
                    </a:lnTo>
                    <a:close/>
                    <a:moveTo>
                      <a:pt x="242" y="473"/>
                    </a:moveTo>
                    <a:lnTo>
                      <a:pt x="243" y="473"/>
                    </a:lnTo>
                    <a:lnTo>
                      <a:pt x="243" y="475"/>
                    </a:lnTo>
                    <a:lnTo>
                      <a:pt x="242" y="475"/>
                    </a:lnTo>
                    <a:lnTo>
                      <a:pt x="242" y="473"/>
                    </a:lnTo>
                    <a:close/>
                    <a:moveTo>
                      <a:pt x="141" y="431"/>
                    </a:moveTo>
                    <a:lnTo>
                      <a:pt x="145" y="431"/>
                    </a:lnTo>
                    <a:lnTo>
                      <a:pt x="141" y="431"/>
                    </a:lnTo>
                    <a:close/>
                    <a:moveTo>
                      <a:pt x="143" y="429"/>
                    </a:moveTo>
                    <a:lnTo>
                      <a:pt x="145" y="429"/>
                    </a:lnTo>
                    <a:lnTo>
                      <a:pt x="145" y="431"/>
                    </a:lnTo>
                    <a:lnTo>
                      <a:pt x="143" y="431"/>
                    </a:lnTo>
                    <a:lnTo>
                      <a:pt x="143" y="429"/>
                    </a:lnTo>
                    <a:close/>
                    <a:moveTo>
                      <a:pt x="282" y="456"/>
                    </a:moveTo>
                    <a:lnTo>
                      <a:pt x="284" y="456"/>
                    </a:lnTo>
                    <a:lnTo>
                      <a:pt x="284" y="458"/>
                    </a:lnTo>
                    <a:lnTo>
                      <a:pt x="282" y="458"/>
                    </a:lnTo>
                    <a:lnTo>
                      <a:pt x="282" y="456"/>
                    </a:lnTo>
                    <a:close/>
                    <a:moveTo>
                      <a:pt x="223" y="461"/>
                    </a:moveTo>
                    <a:lnTo>
                      <a:pt x="223" y="463"/>
                    </a:lnTo>
                    <a:lnTo>
                      <a:pt x="223" y="461"/>
                    </a:lnTo>
                    <a:close/>
                    <a:moveTo>
                      <a:pt x="233" y="471"/>
                    </a:moveTo>
                    <a:lnTo>
                      <a:pt x="235" y="471"/>
                    </a:lnTo>
                    <a:lnTo>
                      <a:pt x="233" y="471"/>
                    </a:lnTo>
                    <a:close/>
                    <a:moveTo>
                      <a:pt x="284" y="456"/>
                    </a:moveTo>
                    <a:lnTo>
                      <a:pt x="286" y="456"/>
                    </a:lnTo>
                    <a:lnTo>
                      <a:pt x="286" y="458"/>
                    </a:lnTo>
                    <a:lnTo>
                      <a:pt x="284" y="458"/>
                    </a:lnTo>
                    <a:lnTo>
                      <a:pt x="284" y="456"/>
                    </a:lnTo>
                    <a:close/>
                    <a:moveTo>
                      <a:pt x="233" y="471"/>
                    </a:moveTo>
                    <a:lnTo>
                      <a:pt x="235" y="471"/>
                    </a:lnTo>
                    <a:lnTo>
                      <a:pt x="235" y="473"/>
                    </a:lnTo>
                    <a:lnTo>
                      <a:pt x="233" y="473"/>
                    </a:lnTo>
                    <a:lnTo>
                      <a:pt x="233" y="471"/>
                    </a:lnTo>
                    <a:close/>
                    <a:moveTo>
                      <a:pt x="238" y="473"/>
                    </a:moveTo>
                    <a:lnTo>
                      <a:pt x="240" y="473"/>
                    </a:lnTo>
                    <a:lnTo>
                      <a:pt x="238" y="473"/>
                    </a:lnTo>
                    <a:close/>
                    <a:moveTo>
                      <a:pt x="233" y="470"/>
                    </a:moveTo>
                    <a:lnTo>
                      <a:pt x="235" y="470"/>
                    </a:lnTo>
                    <a:lnTo>
                      <a:pt x="235" y="471"/>
                    </a:lnTo>
                    <a:lnTo>
                      <a:pt x="233" y="471"/>
                    </a:lnTo>
                    <a:lnTo>
                      <a:pt x="233" y="470"/>
                    </a:lnTo>
                    <a:close/>
                    <a:moveTo>
                      <a:pt x="219" y="465"/>
                    </a:moveTo>
                    <a:lnTo>
                      <a:pt x="221" y="465"/>
                    </a:lnTo>
                    <a:lnTo>
                      <a:pt x="221" y="466"/>
                    </a:lnTo>
                    <a:lnTo>
                      <a:pt x="219" y="466"/>
                    </a:lnTo>
                    <a:lnTo>
                      <a:pt x="219" y="465"/>
                    </a:lnTo>
                    <a:close/>
                    <a:moveTo>
                      <a:pt x="143" y="429"/>
                    </a:moveTo>
                    <a:lnTo>
                      <a:pt x="145" y="429"/>
                    </a:lnTo>
                    <a:lnTo>
                      <a:pt x="143" y="429"/>
                    </a:lnTo>
                    <a:close/>
                    <a:moveTo>
                      <a:pt x="153" y="473"/>
                    </a:moveTo>
                    <a:lnTo>
                      <a:pt x="155" y="473"/>
                    </a:lnTo>
                    <a:lnTo>
                      <a:pt x="155" y="475"/>
                    </a:lnTo>
                    <a:lnTo>
                      <a:pt x="153" y="475"/>
                    </a:lnTo>
                    <a:lnTo>
                      <a:pt x="153" y="473"/>
                    </a:lnTo>
                    <a:close/>
                    <a:moveTo>
                      <a:pt x="235" y="471"/>
                    </a:moveTo>
                    <a:lnTo>
                      <a:pt x="236" y="471"/>
                    </a:lnTo>
                    <a:lnTo>
                      <a:pt x="236" y="473"/>
                    </a:lnTo>
                    <a:lnTo>
                      <a:pt x="235" y="473"/>
                    </a:lnTo>
                    <a:lnTo>
                      <a:pt x="235" y="471"/>
                    </a:lnTo>
                    <a:close/>
                    <a:moveTo>
                      <a:pt x="226" y="468"/>
                    </a:moveTo>
                    <a:lnTo>
                      <a:pt x="226" y="470"/>
                    </a:lnTo>
                    <a:lnTo>
                      <a:pt x="226" y="468"/>
                    </a:lnTo>
                    <a:close/>
                    <a:moveTo>
                      <a:pt x="299" y="458"/>
                    </a:moveTo>
                    <a:lnTo>
                      <a:pt x="299" y="459"/>
                    </a:lnTo>
                    <a:lnTo>
                      <a:pt x="299" y="458"/>
                    </a:lnTo>
                    <a:close/>
                    <a:moveTo>
                      <a:pt x="180" y="482"/>
                    </a:moveTo>
                    <a:lnTo>
                      <a:pt x="182" y="482"/>
                    </a:lnTo>
                    <a:lnTo>
                      <a:pt x="180" y="482"/>
                    </a:lnTo>
                    <a:close/>
                    <a:moveTo>
                      <a:pt x="281" y="451"/>
                    </a:moveTo>
                    <a:lnTo>
                      <a:pt x="281" y="453"/>
                    </a:lnTo>
                    <a:lnTo>
                      <a:pt x="281" y="451"/>
                    </a:lnTo>
                    <a:close/>
                    <a:moveTo>
                      <a:pt x="281" y="454"/>
                    </a:moveTo>
                    <a:lnTo>
                      <a:pt x="281" y="456"/>
                    </a:lnTo>
                    <a:lnTo>
                      <a:pt x="281" y="454"/>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200" b="1" kern="1200" dirty="0">
                    <a:latin typeface="Arial" charset="0"/>
                    <a:ea typeface="+mn-ea"/>
                    <a:cs typeface="+mn-cs"/>
                  </a:rPr>
                  <a:t>  </a:t>
                </a:r>
              </a:p>
            </p:txBody>
          </p:sp>
          <p:sp>
            <p:nvSpPr>
              <p:cNvPr id="251" name="Freeform 47">
                <a:extLst>
                  <a:ext uri="{FF2B5EF4-FFF2-40B4-BE49-F238E27FC236}">
                    <a16:creationId xmlns:a16="http://schemas.microsoft.com/office/drawing/2014/main" id="{76DBD1D6-7EAE-4739-AA3D-CE353A2C3594}"/>
                  </a:ext>
                </a:extLst>
              </p:cNvPr>
              <p:cNvSpPr>
                <a:spLocks/>
              </p:cNvSpPr>
              <p:nvPr/>
            </p:nvSpPr>
            <p:spPr bwMode="gray">
              <a:xfrm>
                <a:off x="6896100" y="3536950"/>
                <a:ext cx="165100" cy="144463"/>
              </a:xfrm>
              <a:custGeom>
                <a:avLst/>
                <a:gdLst>
                  <a:gd name="T0" fmla="*/ 82 w 104"/>
                  <a:gd name="T1" fmla="*/ 65 h 91"/>
                  <a:gd name="T2" fmla="*/ 77 w 104"/>
                  <a:gd name="T3" fmla="*/ 65 h 91"/>
                  <a:gd name="T4" fmla="*/ 71 w 104"/>
                  <a:gd name="T5" fmla="*/ 68 h 91"/>
                  <a:gd name="T6" fmla="*/ 65 w 104"/>
                  <a:gd name="T7" fmla="*/ 72 h 91"/>
                  <a:gd name="T8" fmla="*/ 56 w 104"/>
                  <a:gd name="T9" fmla="*/ 65 h 91"/>
                  <a:gd name="T10" fmla="*/ 54 w 104"/>
                  <a:gd name="T11" fmla="*/ 77 h 91"/>
                  <a:gd name="T12" fmla="*/ 53 w 104"/>
                  <a:gd name="T13" fmla="*/ 87 h 91"/>
                  <a:gd name="T14" fmla="*/ 46 w 104"/>
                  <a:gd name="T15" fmla="*/ 87 h 91"/>
                  <a:gd name="T16" fmla="*/ 41 w 104"/>
                  <a:gd name="T17" fmla="*/ 89 h 91"/>
                  <a:gd name="T18" fmla="*/ 34 w 104"/>
                  <a:gd name="T19" fmla="*/ 91 h 91"/>
                  <a:gd name="T20" fmla="*/ 29 w 104"/>
                  <a:gd name="T21" fmla="*/ 89 h 91"/>
                  <a:gd name="T22" fmla="*/ 26 w 104"/>
                  <a:gd name="T23" fmla="*/ 87 h 91"/>
                  <a:gd name="T24" fmla="*/ 20 w 104"/>
                  <a:gd name="T25" fmla="*/ 80 h 91"/>
                  <a:gd name="T26" fmla="*/ 14 w 104"/>
                  <a:gd name="T27" fmla="*/ 80 h 91"/>
                  <a:gd name="T28" fmla="*/ 10 w 104"/>
                  <a:gd name="T29" fmla="*/ 87 h 91"/>
                  <a:gd name="T30" fmla="*/ 2 w 104"/>
                  <a:gd name="T31" fmla="*/ 82 h 91"/>
                  <a:gd name="T32" fmla="*/ 2 w 104"/>
                  <a:gd name="T33" fmla="*/ 74 h 91"/>
                  <a:gd name="T34" fmla="*/ 2 w 104"/>
                  <a:gd name="T35" fmla="*/ 67 h 91"/>
                  <a:gd name="T36" fmla="*/ 10 w 104"/>
                  <a:gd name="T37" fmla="*/ 63 h 91"/>
                  <a:gd name="T38" fmla="*/ 19 w 104"/>
                  <a:gd name="T39" fmla="*/ 36 h 91"/>
                  <a:gd name="T40" fmla="*/ 24 w 104"/>
                  <a:gd name="T41" fmla="*/ 28 h 91"/>
                  <a:gd name="T42" fmla="*/ 32 w 104"/>
                  <a:gd name="T43" fmla="*/ 23 h 91"/>
                  <a:gd name="T44" fmla="*/ 37 w 104"/>
                  <a:gd name="T45" fmla="*/ 17 h 91"/>
                  <a:gd name="T46" fmla="*/ 48 w 104"/>
                  <a:gd name="T47" fmla="*/ 17 h 91"/>
                  <a:gd name="T48" fmla="*/ 51 w 104"/>
                  <a:gd name="T49" fmla="*/ 16 h 91"/>
                  <a:gd name="T50" fmla="*/ 54 w 104"/>
                  <a:gd name="T51" fmla="*/ 23 h 91"/>
                  <a:gd name="T52" fmla="*/ 61 w 104"/>
                  <a:gd name="T53" fmla="*/ 21 h 91"/>
                  <a:gd name="T54" fmla="*/ 66 w 104"/>
                  <a:gd name="T55" fmla="*/ 16 h 91"/>
                  <a:gd name="T56" fmla="*/ 71 w 104"/>
                  <a:gd name="T57" fmla="*/ 9 h 91"/>
                  <a:gd name="T58" fmla="*/ 77 w 104"/>
                  <a:gd name="T59" fmla="*/ 2 h 91"/>
                  <a:gd name="T60" fmla="*/ 82 w 104"/>
                  <a:gd name="T61" fmla="*/ 0 h 91"/>
                  <a:gd name="T62" fmla="*/ 82 w 104"/>
                  <a:gd name="T63" fmla="*/ 6 h 91"/>
                  <a:gd name="T64" fmla="*/ 87 w 104"/>
                  <a:gd name="T65" fmla="*/ 16 h 91"/>
                  <a:gd name="T66" fmla="*/ 92 w 104"/>
                  <a:gd name="T67" fmla="*/ 17 h 91"/>
                  <a:gd name="T68" fmla="*/ 95 w 104"/>
                  <a:gd name="T69" fmla="*/ 23 h 91"/>
                  <a:gd name="T70" fmla="*/ 97 w 104"/>
                  <a:gd name="T71" fmla="*/ 28 h 91"/>
                  <a:gd name="T72" fmla="*/ 100 w 104"/>
                  <a:gd name="T73" fmla="*/ 33 h 91"/>
                  <a:gd name="T74" fmla="*/ 100 w 104"/>
                  <a:gd name="T75" fmla="*/ 36 h 91"/>
                  <a:gd name="T76" fmla="*/ 100 w 104"/>
                  <a:gd name="T77" fmla="*/ 41 h 91"/>
                  <a:gd name="T78" fmla="*/ 100 w 104"/>
                  <a:gd name="T79" fmla="*/ 50 h 91"/>
                  <a:gd name="T80" fmla="*/ 102 w 104"/>
                  <a:gd name="T81" fmla="*/ 65 h 91"/>
                  <a:gd name="T82" fmla="*/ 97 w 104"/>
                  <a:gd name="T83" fmla="*/ 68 h 91"/>
                  <a:gd name="T84" fmla="*/ 88 w 104"/>
                  <a:gd name="T85" fmla="*/ 6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91">
                    <a:moveTo>
                      <a:pt x="85" y="70"/>
                    </a:moveTo>
                    <a:lnTo>
                      <a:pt x="82" y="67"/>
                    </a:lnTo>
                    <a:lnTo>
                      <a:pt x="82" y="65"/>
                    </a:lnTo>
                    <a:lnTo>
                      <a:pt x="80" y="65"/>
                    </a:lnTo>
                    <a:lnTo>
                      <a:pt x="78" y="65"/>
                    </a:lnTo>
                    <a:lnTo>
                      <a:pt x="77" y="65"/>
                    </a:lnTo>
                    <a:lnTo>
                      <a:pt x="77" y="67"/>
                    </a:lnTo>
                    <a:lnTo>
                      <a:pt x="73" y="68"/>
                    </a:lnTo>
                    <a:lnTo>
                      <a:pt x="71" y="68"/>
                    </a:lnTo>
                    <a:lnTo>
                      <a:pt x="70" y="67"/>
                    </a:lnTo>
                    <a:lnTo>
                      <a:pt x="68" y="70"/>
                    </a:lnTo>
                    <a:lnTo>
                      <a:pt x="65" y="72"/>
                    </a:lnTo>
                    <a:lnTo>
                      <a:pt x="61" y="68"/>
                    </a:lnTo>
                    <a:lnTo>
                      <a:pt x="60" y="67"/>
                    </a:lnTo>
                    <a:lnTo>
                      <a:pt x="56" y="65"/>
                    </a:lnTo>
                    <a:lnTo>
                      <a:pt x="54" y="68"/>
                    </a:lnTo>
                    <a:lnTo>
                      <a:pt x="56" y="72"/>
                    </a:lnTo>
                    <a:lnTo>
                      <a:pt x="54" y="77"/>
                    </a:lnTo>
                    <a:lnTo>
                      <a:pt x="54" y="82"/>
                    </a:lnTo>
                    <a:lnTo>
                      <a:pt x="54" y="84"/>
                    </a:lnTo>
                    <a:lnTo>
                      <a:pt x="53" y="87"/>
                    </a:lnTo>
                    <a:lnTo>
                      <a:pt x="49" y="89"/>
                    </a:lnTo>
                    <a:lnTo>
                      <a:pt x="48" y="87"/>
                    </a:lnTo>
                    <a:lnTo>
                      <a:pt x="46" y="87"/>
                    </a:lnTo>
                    <a:lnTo>
                      <a:pt x="46" y="91"/>
                    </a:lnTo>
                    <a:lnTo>
                      <a:pt x="43" y="91"/>
                    </a:lnTo>
                    <a:lnTo>
                      <a:pt x="41" y="89"/>
                    </a:lnTo>
                    <a:lnTo>
                      <a:pt x="39" y="91"/>
                    </a:lnTo>
                    <a:lnTo>
                      <a:pt x="37" y="89"/>
                    </a:lnTo>
                    <a:lnTo>
                      <a:pt x="34" y="91"/>
                    </a:lnTo>
                    <a:lnTo>
                      <a:pt x="32" y="89"/>
                    </a:lnTo>
                    <a:lnTo>
                      <a:pt x="31" y="91"/>
                    </a:lnTo>
                    <a:lnTo>
                      <a:pt x="29" y="89"/>
                    </a:lnTo>
                    <a:lnTo>
                      <a:pt x="26" y="91"/>
                    </a:lnTo>
                    <a:lnTo>
                      <a:pt x="24" y="87"/>
                    </a:lnTo>
                    <a:lnTo>
                      <a:pt x="26" y="87"/>
                    </a:lnTo>
                    <a:lnTo>
                      <a:pt x="24" y="84"/>
                    </a:lnTo>
                    <a:lnTo>
                      <a:pt x="24" y="82"/>
                    </a:lnTo>
                    <a:lnTo>
                      <a:pt x="20" y="80"/>
                    </a:lnTo>
                    <a:lnTo>
                      <a:pt x="15" y="80"/>
                    </a:lnTo>
                    <a:lnTo>
                      <a:pt x="15" y="79"/>
                    </a:lnTo>
                    <a:lnTo>
                      <a:pt x="14" y="80"/>
                    </a:lnTo>
                    <a:lnTo>
                      <a:pt x="12" y="79"/>
                    </a:lnTo>
                    <a:lnTo>
                      <a:pt x="10" y="80"/>
                    </a:lnTo>
                    <a:lnTo>
                      <a:pt x="10" y="87"/>
                    </a:lnTo>
                    <a:lnTo>
                      <a:pt x="7" y="84"/>
                    </a:lnTo>
                    <a:lnTo>
                      <a:pt x="5" y="84"/>
                    </a:lnTo>
                    <a:lnTo>
                      <a:pt x="2" y="82"/>
                    </a:lnTo>
                    <a:lnTo>
                      <a:pt x="2" y="79"/>
                    </a:lnTo>
                    <a:lnTo>
                      <a:pt x="0" y="75"/>
                    </a:lnTo>
                    <a:lnTo>
                      <a:pt x="2" y="74"/>
                    </a:lnTo>
                    <a:lnTo>
                      <a:pt x="0" y="72"/>
                    </a:lnTo>
                    <a:lnTo>
                      <a:pt x="0" y="68"/>
                    </a:lnTo>
                    <a:lnTo>
                      <a:pt x="2" y="67"/>
                    </a:lnTo>
                    <a:lnTo>
                      <a:pt x="7" y="65"/>
                    </a:lnTo>
                    <a:lnTo>
                      <a:pt x="7" y="63"/>
                    </a:lnTo>
                    <a:lnTo>
                      <a:pt x="10" y="63"/>
                    </a:lnTo>
                    <a:lnTo>
                      <a:pt x="12" y="62"/>
                    </a:lnTo>
                    <a:lnTo>
                      <a:pt x="15" y="55"/>
                    </a:lnTo>
                    <a:lnTo>
                      <a:pt x="19" y="36"/>
                    </a:lnTo>
                    <a:lnTo>
                      <a:pt x="20" y="34"/>
                    </a:lnTo>
                    <a:lnTo>
                      <a:pt x="20" y="31"/>
                    </a:lnTo>
                    <a:lnTo>
                      <a:pt x="24" y="28"/>
                    </a:lnTo>
                    <a:lnTo>
                      <a:pt x="26" y="26"/>
                    </a:lnTo>
                    <a:lnTo>
                      <a:pt x="29" y="24"/>
                    </a:lnTo>
                    <a:lnTo>
                      <a:pt x="32" y="23"/>
                    </a:lnTo>
                    <a:lnTo>
                      <a:pt x="34" y="19"/>
                    </a:lnTo>
                    <a:lnTo>
                      <a:pt x="36" y="17"/>
                    </a:lnTo>
                    <a:lnTo>
                      <a:pt x="37" y="17"/>
                    </a:lnTo>
                    <a:lnTo>
                      <a:pt x="41" y="17"/>
                    </a:lnTo>
                    <a:lnTo>
                      <a:pt x="44" y="16"/>
                    </a:lnTo>
                    <a:lnTo>
                      <a:pt x="48" y="17"/>
                    </a:lnTo>
                    <a:lnTo>
                      <a:pt x="49" y="16"/>
                    </a:lnTo>
                    <a:lnTo>
                      <a:pt x="49" y="14"/>
                    </a:lnTo>
                    <a:lnTo>
                      <a:pt x="51" y="16"/>
                    </a:lnTo>
                    <a:lnTo>
                      <a:pt x="51" y="17"/>
                    </a:lnTo>
                    <a:lnTo>
                      <a:pt x="53" y="21"/>
                    </a:lnTo>
                    <a:lnTo>
                      <a:pt x="54" y="23"/>
                    </a:lnTo>
                    <a:lnTo>
                      <a:pt x="58" y="21"/>
                    </a:lnTo>
                    <a:lnTo>
                      <a:pt x="60" y="19"/>
                    </a:lnTo>
                    <a:lnTo>
                      <a:pt x="61" y="21"/>
                    </a:lnTo>
                    <a:lnTo>
                      <a:pt x="61" y="17"/>
                    </a:lnTo>
                    <a:lnTo>
                      <a:pt x="65" y="17"/>
                    </a:lnTo>
                    <a:lnTo>
                      <a:pt x="66" y="16"/>
                    </a:lnTo>
                    <a:lnTo>
                      <a:pt x="66" y="12"/>
                    </a:lnTo>
                    <a:lnTo>
                      <a:pt x="68" y="12"/>
                    </a:lnTo>
                    <a:lnTo>
                      <a:pt x="71" y="9"/>
                    </a:lnTo>
                    <a:lnTo>
                      <a:pt x="73" y="6"/>
                    </a:lnTo>
                    <a:lnTo>
                      <a:pt x="75" y="4"/>
                    </a:lnTo>
                    <a:lnTo>
                      <a:pt x="77" y="2"/>
                    </a:lnTo>
                    <a:lnTo>
                      <a:pt x="80" y="2"/>
                    </a:lnTo>
                    <a:lnTo>
                      <a:pt x="80" y="0"/>
                    </a:lnTo>
                    <a:lnTo>
                      <a:pt x="82" y="0"/>
                    </a:lnTo>
                    <a:lnTo>
                      <a:pt x="82" y="2"/>
                    </a:lnTo>
                    <a:lnTo>
                      <a:pt x="82" y="4"/>
                    </a:lnTo>
                    <a:lnTo>
                      <a:pt x="82" y="6"/>
                    </a:lnTo>
                    <a:lnTo>
                      <a:pt x="83" y="7"/>
                    </a:lnTo>
                    <a:lnTo>
                      <a:pt x="87" y="11"/>
                    </a:lnTo>
                    <a:lnTo>
                      <a:pt x="87" y="16"/>
                    </a:lnTo>
                    <a:lnTo>
                      <a:pt x="88" y="16"/>
                    </a:lnTo>
                    <a:lnTo>
                      <a:pt x="90" y="17"/>
                    </a:lnTo>
                    <a:lnTo>
                      <a:pt x="92" y="17"/>
                    </a:lnTo>
                    <a:lnTo>
                      <a:pt x="94" y="19"/>
                    </a:lnTo>
                    <a:lnTo>
                      <a:pt x="95" y="19"/>
                    </a:lnTo>
                    <a:lnTo>
                      <a:pt x="95" y="23"/>
                    </a:lnTo>
                    <a:lnTo>
                      <a:pt x="95" y="24"/>
                    </a:lnTo>
                    <a:lnTo>
                      <a:pt x="97" y="26"/>
                    </a:lnTo>
                    <a:lnTo>
                      <a:pt x="97" y="28"/>
                    </a:lnTo>
                    <a:lnTo>
                      <a:pt x="100" y="29"/>
                    </a:lnTo>
                    <a:lnTo>
                      <a:pt x="100" y="31"/>
                    </a:lnTo>
                    <a:lnTo>
                      <a:pt x="100" y="33"/>
                    </a:lnTo>
                    <a:lnTo>
                      <a:pt x="100" y="34"/>
                    </a:lnTo>
                    <a:lnTo>
                      <a:pt x="99" y="36"/>
                    </a:lnTo>
                    <a:lnTo>
                      <a:pt x="100" y="36"/>
                    </a:lnTo>
                    <a:lnTo>
                      <a:pt x="100" y="40"/>
                    </a:lnTo>
                    <a:lnTo>
                      <a:pt x="99" y="41"/>
                    </a:lnTo>
                    <a:lnTo>
                      <a:pt x="100" y="41"/>
                    </a:lnTo>
                    <a:lnTo>
                      <a:pt x="97" y="46"/>
                    </a:lnTo>
                    <a:lnTo>
                      <a:pt x="99" y="46"/>
                    </a:lnTo>
                    <a:lnTo>
                      <a:pt x="100" y="50"/>
                    </a:lnTo>
                    <a:lnTo>
                      <a:pt x="104" y="53"/>
                    </a:lnTo>
                    <a:lnTo>
                      <a:pt x="100" y="60"/>
                    </a:lnTo>
                    <a:lnTo>
                      <a:pt x="102" y="65"/>
                    </a:lnTo>
                    <a:lnTo>
                      <a:pt x="100" y="67"/>
                    </a:lnTo>
                    <a:lnTo>
                      <a:pt x="99" y="67"/>
                    </a:lnTo>
                    <a:lnTo>
                      <a:pt x="97" y="68"/>
                    </a:lnTo>
                    <a:lnTo>
                      <a:pt x="94" y="67"/>
                    </a:lnTo>
                    <a:lnTo>
                      <a:pt x="92" y="70"/>
                    </a:lnTo>
                    <a:lnTo>
                      <a:pt x="88" y="68"/>
                    </a:lnTo>
                    <a:lnTo>
                      <a:pt x="87" y="70"/>
                    </a:lnTo>
                    <a:lnTo>
                      <a:pt x="85" y="70"/>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52" name="Freeform 48">
                <a:extLst>
                  <a:ext uri="{FF2B5EF4-FFF2-40B4-BE49-F238E27FC236}">
                    <a16:creationId xmlns:a16="http://schemas.microsoft.com/office/drawing/2014/main" id="{55766EBF-C7FD-4B56-B292-7E477F60C5C8}"/>
                  </a:ext>
                </a:extLst>
              </p:cNvPr>
              <p:cNvSpPr>
                <a:spLocks noEditPoints="1"/>
              </p:cNvSpPr>
              <p:nvPr/>
            </p:nvSpPr>
            <p:spPr bwMode="gray">
              <a:xfrm>
                <a:off x="8194675" y="4468813"/>
                <a:ext cx="23812" cy="30163"/>
              </a:xfrm>
              <a:custGeom>
                <a:avLst/>
                <a:gdLst>
                  <a:gd name="T0" fmla="*/ 5 w 15"/>
                  <a:gd name="T1" fmla="*/ 2 h 19"/>
                  <a:gd name="T2" fmla="*/ 7 w 15"/>
                  <a:gd name="T3" fmla="*/ 4 h 19"/>
                  <a:gd name="T4" fmla="*/ 7 w 15"/>
                  <a:gd name="T5" fmla="*/ 5 h 19"/>
                  <a:gd name="T6" fmla="*/ 8 w 15"/>
                  <a:gd name="T7" fmla="*/ 5 h 19"/>
                  <a:gd name="T8" fmla="*/ 10 w 15"/>
                  <a:gd name="T9" fmla="*/ 5 h 19"/>
                  <a:gd name="T10" fmla="*/ 12 w 15"/>
                  <a:gd name="T11" fmla="*/ 7 h 19"/>
                  <a:gd name="T12" fmla="*/ 12 w 15"/>
                  <a:gd name="T13" fmla="*/ 9 h 19"/>
                  <a:gd name="T14" fmla="*/ 10 w 15"/>
                  <a:gd name="T15" fmla="*/ 11 h 19"/>
                  <a:gd name="T16" fmla="*/ 10 w 15"/>
                  <a:gd name="T17" fmla="*/ 12 h 19"/>
                  <a:gd name="T18" fmla="*/ 12 w 15"/>
                  <a:gd name="T19" fmla="*/ 12 h 19"/>
                  <a:gd name="T20" fmla="*/ 10 w 15"/>
                  <a:gd name="T21" fmla="*/ 14 h 19"/>
                  <a:gd name="T22" fmla="*/ 10 w 15"/>
                  <a:gd name="T23" fmla="*/ 16 h 19"/>
                  <a:gd name="T24" fmla="*/ 8 w 15"/>
                  <a:gd name="T25" fmla="*/ 16 h 19"/>
                  <a:gd name="T26" fmla="*/ 8 w 15"/>
                  <a:gd name="T27" fmla="*/ 17 h 19"/>
                  <a:gd name="T28" fmla="*/ 10 w 15"/>
                  <a:gd name="T29" fmla="*/ 17 h 19"/>
                  <a:gd name="T30" fmla="*/ 8 w 15"/>
                  <a:gd name="T31" fmla="*/ 19 h 19"/>
                  <a:gd name="T32" fmla="*/ 8 w 15"/>
                  <a:gd name="T33" fmla="*/ 17 h 19"/>
                  <a:gd name="T34" fmla="*/ 7 w 15"/>
                  <a:gd name="T35" fmla="*/ 19 h 19"/>
                  <a:gd name="T36" fmla="*/ 5 w 15"/>
                  <a:gd name="T37" fmla="*/ 19 h 19"/>
                  <a:gd name="T38" fmla="*/ 5 w 15"/>
                  <a:gd name="T39" fmla="*/ 17 h 19"/>
                  <a:gd name="T40" fmla="*/ 3 w 15"/>
                  <a:gd name="T41" fmla="*/ 17 h 19"/>
                  <a:gd name="T42" fmla="*/ 5 w 15"/>
                  <a:gd name="T43" fmla="*/ 16 h 19"/>
                  <a:gd name="T44" fmla="*/ 3 w 15"/>
                  <a:gd name="T45" fmla="*/ 14 h 19"/>
                  <a:gd name="T46" fmla="*/ 5 w 15"/>
                  <a:gd name="T47" fmla="*/ 14 h 19"/>
                  <a:gd name="T48" fmla="*/ 5 w 15"/>
                  <a:gd name="T49" fmla="*/ 16 h 19"/>
                  <a:gd name="T50" fmla="*/ 7 w 15"/>
                  <a:gd name="T51" fmla="*/ 16 h 19"/>
                  <a:gd name="T52" fmla="*/ 7 w 15"/>
                  <a:gd name="T53" fmla="*/ 14 h 19"/>
                  <a:gd name="T54" fmla="*/ 5 w 15"/>
                  <a:gd name="T55" fmla="*/ 12 h 19"/>
                  <a:gd name="T56" fmla="*/ 5 w 15"/>
                  <a:gd name="T57" fmla="*/ 11 h 19"/>
                  <a:gd name="T58" fmla="*/ 5 w 15"/>
                  <a:gd name="T59" fmla="*/ 7 h 19"/>
                  <a:gd name="T60" fmla="*/ 1 w 15"/>
                  <a:gd name="T61" fmla="*/ 7 h 19"/>
                  <a:gd name="T62" fmla="*/ 3 w 15"/>
                  <a:gd name="T63" fmla="*/ 5 h 19"/>
                  <a:gd name="T64" fmla="*/ 1 w 15"/>
                  <a:gd name="T65" fmla="*/ 5 h 19"/>
                  <a:gd name="T66" fmla="*/ 1 w 15"/>
                  <a:gd name="T67" fmla="*/ 4 h 19"/>
                  <a:gd name="T68" fmla="*/ 3 w 15"/>
                  <a:gd name="T69" fmla="*/ 4 h 19"/>
                  <a:gd name="T70" fmla="*/ 5 w 15"/>
                  <a:gd name="T71" fmla="*/ 2 h 19"/>
                  <a:gd name="T72" fmla="*/ 12 w 15"/>
                  <a:gd name="T73" fmla="*/ 7 h 19"/>
                  <a:gd name="T74" fmla="*/ 15 w 15"/>
                  <a:gd name="T75" fmla="*/ 7 h 19"/>
                  <a:gd name="T76" fmla="*/ 15 w 15"/>
                  <a:gd name="T77" fmla="*/ 11 h 19"/>
                  <a:gd name="T78" fmla="*/ 12 w 15"/>
                  <a:gd name="T79" fmla="*/ 11 h 19"/>
                  <a:gd name="T80" fmla="*/ 12 w 15"/>
                  <a:gd name="T81" fmla="*/ 7 h 19"/>
                  <a:gd name="T82" fmla="*/ 0 w 15"/>
                  <a:gd name="T83" fmla="*/ 0 h 19"/>
                  <a:gd name="T84" fmla="*/ 1 w 15"/>
                  <a:gd name="T85" fmla="*/ 0 h 19"/>
                  <a:gd name="T86" fmla="*/ 1 w 15"/>
                  <a:gd name="T87" fmla="*/ 2 h 19"/>
                  <a:gd name="T88" fmla="*/ 0 w 15"/>
                  <a:gd name="T89" fmla="*/ 2 h 19"/>
                  <a:gd name="T90" fmla="*/ 0 w 15"/>
                  <a:gd name="T9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 h="19">
                    <a:moveTo>
                      <a:pt x="5" y="2"/>
                    </a:moveTo>
                    <a:lnTo>
                      <a:pt x="7" y="4"/>
                    </a:lnTo>
                    <a:lnTo>
                      <a:pt x="7" y="5"/>
                    </a:lnTo>
                    <a:lnTo>
                      <a:pt x="8" y="5"/>
                    </a:lnTo>
                    <a:lnTo>
                      <a:pt x="10" y="5"/>
                    </a:lnTo>
                    <a:lnTo>
                      <a:pt x="12" y="7"/>
                    </a:lnTo>
                    <a:lnTo>
                      <a:pt x="12" y="9"/>
                    </a:lnTo>
                    <a:lnTo>
                      <a:pt x="10" y="11"/>
                    </a:lnTo>
                    <a:lnTo>
                      <a:pt x="10" y="12"/>
                    </a:lnTo>
                    <a:lnTo>
                      <a:pt x="12" y="12"/>
                    </a:lnTo>
                    <a:lnTo>
                      <a:pt x="10" y="14"/>
                    </a:lnTo>
                    <a:lnTo>
                      <a:pt x="10" y="16"/>
                    </a:lnTo>
                    <a:lnTo>
                      <a:pt x="8" y="16"/>
                    </a:lnTo>
                    <a:lnTo>
                      <a:pt x="8" y="17"/>
                    </a:lnTo>
                    <a:lnTo>
                      <a:pt x="10" y="17"/>
                    </a:lnTo>
                    <a:lnTo>
                      <a:pt x="8" y="19"/>
                    </a:lnTo>
                    <a:lnTo>
                      <a:pt x="8" y="17"/>
                    </a:lnTo>
                    <a:lnTo>
                      <a:pt x="7" y="19"/>
                    </a:lnTo>
                    <a:lnTo>
                      <a:pt x="5" y="19"/>
                    </a:lnTo>
                    <a:lnTo>
                      <a:pt x="5" y="17"/>
                    </a:lnTo>
                    <a:lnTo>
                      <a:pt x="3" y="17"/>
                    </a:lnTo>
                    <a:lnTo>
                      <a:pt x="5" y="16"/>
                    </a:lnTo>
                    <a:lnTo>
                      <a:pt x="3" y="14"/>
                    </a:lnTo>
                    <a:lnTo>
                      <a:pt x="5" y="14"/>
                    </a:lnTo>
                    <a:lnTo>
                      <a:pt x="5" y="16"/>
                    </a:lnTo>
                    <a:lnTo>
                      <a:pt x="7" y="16"/>
                    </a:lnTo>
                    <a:lnTo>
                      <a:pt x="7" y="14"/>
                    </a:lnTo>
                    <a:lnTo>
                      <a:pt x="5" y="12"/>
                    </a:lnTo>
                    <a:lnTo>
                      <a:pt x="5" y="11"/>
                    </a:lnTo>
                    <a:lnTo>
                      <a:pt x="5" y="7"/>
                    </a:lnTo>
                    <a:lnTo>
                      <a:pt x="1" y="7"/>
                    </a:lnTo>
                    <a:lnTo>
                      <a:pt x="3" y="5"/>
                    </a:lnTo>
                    <a:lnTo>
                      <a:pt x="1" y="5"/>
                    </a:lnTo>
                    <a:lnTo>
                      <a:pt x="1" y="4"/>
                    </a:lnTo>
                    <a:lnTo>
                      <a:pt x="3" y="4"/>
                    </a:lnTo>
                    <a:lnTo>
                      <a:pt x="5" y="2"/>
                    </a:lnTo>
                    <a:close/>
                    <a:moveTo>
                      <a:pt x="12" y="7"/>
                    </a:moveTo>
                    <a:lnTo>
                      <a:pt x="15" y="7"/>
                    </a:lnTo>
                    <a:lnTo>
                      <a:pt x="15" y="11"/>
                    </a:lnTo>
                    <a:lnTo>
                      <a:pt x="12" y="11"/>
                    </a:lnTo>
                    <a:lnTo>
                      <a:pt x="12" y="7"/>
                    </a:lnTo>
                    <a:close/>
                    <a:moveTo>
                      <a:pt x="0" y="0"/>
                    </a:moveTo>
                    <a:lnTo>
                      <a:pt x="1" y="0"/>
                    </a:lnTo>
                    <a:lnTo>
                      <a:pt x="1" y="2"/>
                    </a:lnTo>
                    <a:lnTo>
                      <a:pt x="0" y="2"/>
                    </a:lnTo>
                    <a:lnTo>
                      <a:pt x="0" y="0"/>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53" name="Freeform 49">
                <a:extLst>
                  <a:ext uri="{FF2B5EF4-FFF2-40B4-BE49-F238E27FC236}">
                    <a16:creationId xmlns:a16="http://schemas.microsoft.com/office/drawing/2014/main" id="{7CDCE0FB-E0FE-4340-B4CC-BFA554EB24F7}"/>
                  </a:ext>
                </a:extLst>
              </p:cNvPr>
              <p:cNvSpPr>
                <a:spLocks noEditPoints="1"/>
              </p:cNvSpPr>
              <p:nvPr/>
            </p:nvSpPr>
            <p:spPr bwMode="gray">
              <a:xfrm>
                <a:off x="5095875" y="3316288"/>
                <a:ext cx="80962" cy="138113"/>
              </a:xfrm>
              <a:custGeom>
                <a:avLst/>
                <a:gdLst>
                  <a:gd name="T0" fmla="*/ 12 w 51"/>
                  <a:gd name="T1" fmla="*/ 66 h 87"/>
                  <a:gd name="T2" fmla="*/ 14 w 51"/>
                  <a:gd name="T3" fmla="*/ 68 h 87"/>
                  <a:gd name="T4" fmla="*/ 12 w 51"/>
                  <a:gd name="T5" fmla="*/ 68 h 87"/>
                  <a:gd name="T6" fmla="*/ 14 w 51"/>
                  <a:gd name="T7" fmla="*/ 70 h 87"/>
                  <a:gd name="T8" fmla="*/ 16 w 51"/>
                  <a:gd name="T9" fmla="*/ 71 h 87"/>
                  <a:gd name="T10" fmla="*/ 14 w 51"/>
                  <a:gd name="T11" fmla="*/ 73 h 87"/>
                  <a:gd name="T12" fmla="*/ 14 w 51"/>
                  <a:gd name="T13" fmla="*/ 75 h 87"/>
                  <a:gd name="T14" fmla="*/ 9 w 51"/>
                  <a:gd name="T15" fmla="*/ 80 h 87"/>
                  <a:gd name="T16" fmla="*/ 10 w 51"/>
                  <a:gd name="T17" fmla="*/ 82 h 87"/>
                  <a:gd name="T18" fmla="*/ 7 w 51"/>
                  <a:gd name="T19" fmla="*/ 83 h 87"/>
                  <a:gd name="T20" fmla="*/ 5 w 51"/>
                  <a:gd name="T21" fmla="*/ 82 h 87"/>
                  <a:gd name="T22" fmla="*/ 5 w 51"/>
                  <a:gd name="T23" fmla="*/ 85 h 87"/>
                  <a:gd name="T24" fmla="*/ 4 w 51"/>
                  <a:gd name="T25" fmla="*/ 83 h 87"/>
                  <a:gd name="T26" fmla="*/ 4 w 51"/>
                  <a:gd name="T27" fmla="*/ 85 h 87"/>
                  <a:gd name="T28" fmla="*/ 2 w 51"/>
                  <a:gd name="T29" fmla="*/ 83 h 87"/>
                  <a:gd name="T30" fmla="*/ 4 w 51"/>
                  <a:gd name="T31" fmla="*/ 82 h 87"/>
                  <a:gd name="T32" fmla="*/ 2 w 51"/>
                  <a:gd name="T33" fmla="*/ 82 h 87"/>
                  <a:gd name="T34" fmla="*/ 0 w 51"/>
                  <a:gd name="T35" fmla="*/ 76 h 87"/>
                  <a:gd name="T36" fmla="*/ 0 w 51"/>
                  <a:gd name="T37" fmla="*/ 73 h 87"/>
                  <a:gd name="T38" fmla="*/ 2 w 51"/>
                  <a:gd name="T39" fmla="*/ 70 h 87"/>
                  <a:gd name="T40" fmla="*/ 4 w 51"/>
                  <a:gd name="T41" fmla="*/ 68 h 87"/>
                  <a:gd name="T42" fmla="*/ 5 w 51"/>
                  <a:gd name="T43" fmla="*/ 68 h 87"/>
                  <a:gd name="T44" fmla="*/ 7 w 51"/>
                  <a:gd name="T45" fmla="*/ 66 h 87"/>
                  <a:gd name="T46" fmla="*/ 12 w 51"/>
                  <a:gd name="T47" fmla="*/ 66 h 87"/>
                  <a:gd name="T48" fmla="*/ 51 w 51"/>
                  <a:gd name="T49" fmla="*/ 2 h 87"/>
                  <a:gd name="T50" fmla="*/ 50 w 51"/>
                  <a:gd name="T51" fmla="*/ 3 h 87"/>
                  <a:gd name="T52" fmla="*/ 51 w 51"/>
                  <a:gd name="T53" fmla="*/ 5 h 87"/>
                  <a:gd name="T54" fmla="*/ 50 w 51"/>
                  <a:gd name="T55" fmla="*/ 5 h 87"/>
                  <a:gd name="T56" fmla="*/ 50 w 51"/>
                  <a:gd name="T57" fmla="*/ 8 h 87"/>
                  <a:gd name="T58" fmla="*/ 48 w 51"/>
                  <a:gd name="T59" fmla="*/ 8 h 87"/>
                  <a:gd name="T60" fmla="*/ 46 w 51"/>
                  <a:gd name="T61" fmla="*/ 7 h 87"/>
                  <a:gd name="T62" fmla="*/ 44 w 51"/>
                  <a:gd name="T63" fmla="*/ 8 h 87"/>
                  <a:gd name="T64" fmla="*/ 44 w 51"/>
                  <a:gd name="T65" fmla="*/ 5 h 87"/>
                  <a:gd name="T66" fmla="*/ 46 w 51"/>
                  <a:gd name="T67" fmla="*/ 5 h 87"/>
                  <a:gd name="T68" fmla="*/ 46 w 51"/>
                  <a:gd name="T69" fmla="*/ 2 h 87"/>
                  <a:gd name="T70" fmla="*/ 48 w 51"/>
                  <a:gd name="T71" fmla="*/ 0 h 87"/>
                  <a:gd name="T72" fmla="*/ 51 w 51"/>
                  <a:gd name="T73" fmla="*/ 2 h 87"/>
                  <a:gd name="T74" fmla="*/ 2 w 51"/>
                  <a:gd name="T75" fmla="*/ 87 h 87"/>
                  <a:gd name="T76" fmla="*/ 4 w 51"/>
                  <a:gd name="T77" fmla="*/ 87 h 87"/>
                  <a:gd name="T78" fmla="*/ 2 w 51"/>
                  <a:gd name="T7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 h="87">
                    <a:moveTo>
                      <a:pt x="12" y="66"/>
                    </a:moveTo>
                    <a:lnTo>
                      <a:pt x="14" y="68"/>
                    </a:lnTo>
                    <a:lnTo>
                      <a:pt x="12" y="68"/>
                    </a:lnTo>
                    <a:lnTo>
                      <a:pt x="14" y="70"/>
                    </a:lnTo>
                    <a:lnTo>
                      <a:pt x="16" y="71"/>
                    </a:lnTo>
                    <a:lnTo>
                      <a:pt x="14" y="73"/>
                    </a:lnTo>
                    <a:lnTo>
                      <a:pt x="14" y="75"/>
                    </a:lnTo>
                    <a:lnTo>
                      <a:pt x="9" y="80"/>
                    </a:lnTo>
                    <a:lnTo>
                      <a:pt x="10" y="82"/>
                    </a:lnTo>
                    <a:lnTo>
                      <a:pt x="7" y="83"/>
                    </a:lnTo>
                    <a:lnTo>
                      <a:pt x="5" y="82"/>
                    </a:lnTo>
                    <a:lnTo>
                      <a:pt x="5" y="85"/>
                    </a:lnTo>
                    <a:lnTo>
                      <a:pt x="4" y="83"/>
                    </a:lnTo>
                    <a:lnTo>
                      <a:pt x="4" y="85"/>
                    </a:lnTo>
                    <a:lnTo>
                      <a:pt x="2" y="83"/>
                    </a:lnTo>
                    <a:lnTo>
                      <a:pt x="4" y="82"/>
                    </a:lnTo>
                    <a:lnTo>
                      <a:pt x="2" y="82"/>
                    </a:lnTo>
                    <a:lnTo>
                      <a:pt x="0" y="76"/>
                    </a:lnTo>
                    <a:lnTo>
                      <a:pt x="0" y="73"/>
                    </a:lnTo>
                    <a:lnTo>
                      <a:pt x="2" y="70"/>
                    </a:lnTo>
                    <a:lnTo>
                      <a:pt x="4" y="68"/>
                    </a:lnTo>
                    <a:lnTo>
                      <a:pt x="5" y="68"/>
                    </a:lnTo>
                    <a:lnTo>
                      <a:pt x="7" y="66"/>
                    </a:lnTo>
                    <a:lnTo>
                      <a:pt x="12" y="66"/>
                    </a:lnTo>
                    <a:close/>
                    <a:moveTo>
                      <a:pt x="51" y="2"/>
                    </a:moveTo>
                    <a:lnTo>
                      <a:pt x="50" y="3"/>
                    </a:lnTo>
                    <a:lnTo>
                      <a:pt x="51" y="5"/>
                    </a:lnTo>
                    <a:lnTo>
                      <a:pt x="50" y="5"/>
                    </a:lnTo>
                    <a:lnTo>
                      <a:pt x="50" y="8"/>
                    </a:lnTo>
                    <a:lnTo>
                      <a:pt x="48" y="8"/>
                    </a:lnTo>
                    <a:lnTo>
                      <a:pt x="46" y="7"/>
                    </a:lnTo>
                    <a:lnTo>
                      <a:pt x="44" y="8"/>
                    </a:lnTo>
                    <a:lnTo>
                      <a:pt x="44" y="5"/>
                    </a:lnTo>
                    <a:lnTo>
                      <a:pt x="46" y="5"/>
                    </a:lnTo>
                    <a:lnTo>
                      <a:pt x="46" y="2"/>
                    </a:lnTo>
                    <a:lnTo>
                      <a:pt x="48" y="0"/>
                    </a:lnTo>
                    <a:lnTo>
                      <a:pt x="51" y="2"/>
                    </a:lnTo>
                    <a:close/>
                    <a:moveTo>
                      <a:pt x="2" y="87"/>
                    </a:moveTo>
                    <a:lnTo>
                      <a:pt x="4" y="87"/>
                    </a:lnTo>
                    <a:lnTo>
                      <a:pt x="2" y="87"/>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54" name="Freeform 50">
                <a:extLst>
                  <a:ext uri="{FF2B5EF4-FFF2-40B4-BE49-F238E27FC236}">
                    <a16:creationId xmlns:a16="http://schemas.microsoft.com/office/drawing/2014/main" id="{CEC2BC06-4C10-401F-96F1-3A6D8D376D09}"/>
                  </a:ext>
                </a:extLst>
              </p:cNvPr>
              <p:cNvSpPr>
                <a:spLocks noEditPoints="1"/>
              </p:cNvSpPr>
              <p:nvPr/>
            </p:nvSpPr>
            <p:spPr bwMode="gray">
              <a:xfrm>
                <a:off x="3167063" y="2111374"/>
                <a:ext cx="496887" cy="335507"/>
              </a:xfrm>
              <a:custGeom>
                <a:avLst/>
                <a:gdLst>
                  <a:gd name="T0" fmla="*/ 270 w 313"/>
                  <a:gd name="T1" fmla="*/ 107 h 221"/>
                  <a:gd name="T2" fmla="*/ 279 w 313"/>
                  <a:gd name="T3" fmla="*/ 121 h 221"/>
                  <a:gd name="T4" fmla="*/ 279 w 313"/>
                  <a:gd name="T5" fmla="*/ 153 h 221"/>
                  <a:gd name="T6" fmla="*/ 296 w 313"/>
                  <a:gd name="T7" fmla="*/ 167 h 221"/>
                  <a:gd name="T8" fmla="*/ 304 w 313"/>
                  <a:gd name="T9" fmla="*/ 179 h 221"/>
                  <a:gd name="T10" fmla="*/ 313 w 313"/>
                  <a:gd name="T11" fmla="*/ 189 h 221"/>
                  <a:gd name="T12" fmla="*/ 309 w 313"/>
                  <a:gd name="T13" fmla="*/ 204 h 221"/>
                  <a:gd name="T14" fmla="*/ 311 w 313"/>
                  <a:gd name="T15" fmla="*/ 213 h 221"/>
                  <a:gd name="T16" fmla="*/ 292 w 313"/>
                  <a:gd name="T17" fmla="*/ 218 h 221"/>
                  <a:gd name="T18" fmla="*/ 256 w 313"/>
                  <a:gd name="T19" fmla="*/ 216 h 221"/>
                  <a:gd name="T20" fmla="*/ 233 w 313"/>
                  <a:gd name="T21" fmla="*/ 213 h 221"/>
                  <a:gd name="T22" fmla="*/ 217 w 313"/>
                  <a:gd name="T23" fmla="*/ 204 h 221"/>
                  <a:gd name="T24" fmla="*/ 132 w 313"/>
                  <a:gd name="T25" fmla="*/ 203 h 221"/>
                  <a:gd name="T26" fmla="*/ 68 w 313"/>
                  <a:gd name="T27" fmla="*/ 215 h 221"/>
                  <a:gd name="T28" fmla="*/ 37 w 313"/>
                  <a:gd name="T29" fmla="*/ 215 h 221"/>
                  <a:gd name="T30" fmla="*/ 44 w 313"/>
                  <a:gd name="T31" fmla="*/ 216 h 221"/>
                  <a:gd name="T32" fmla="*/ 54 w 313"/>
                  <a:gd name="T33" fmla="*/ 208 h 221"/>
                  <a:gd name="T34" fmla="*/ 51 w 313"/>
                  <a:gd name="T35" fmla="*/ 203 h 221"/>
                  <a:gd name="T36" fmla="*/ 44 w 313"/>
                  <a:gd name="T37" fmla="*/ 191 h 221"/>
                  <a:gd name="T38" fmla="*/ 42 w 313"/>
                  <a:gd name="T39" fmla="*/ 201 h 221"/>
                  <a:gd name="T40" fmla="*/ 41 w 313"/>
                  <a:gd name="T41" fmla="*/ 184 h 221"/>
                  <a:gd name="T42" fmla="*/ 98 w 313"/>
                  <a:gd name="T43" fmla="*/ 169 h 221"/>
                  <a:gd name="T44" fmla="*/ 132 w 313"/>
                  <a:gd name="T45" fmla="*/ 164 h 221"/>
                  <a:gd name="T46" fmla="*/ 158 w 313"/>
                  <a:gd name="T47" fmla="*/ 174 h 221"/>
                  <a:gd name="T48" fmla="*/ 187 w 313"/>
                  <a:gd name="T49" fmla="*/ 169 h 221"/>
                  <a:gd name="T50" fmla="*/ 158 w 313"/>
                  <a:gd name="T51" fmla="*/ 162 h 221"/>
                  <a:gd name="T52" fmla="*/ 129 w 313"/>
                  <a:gd name="T53" fmla="*/ 147 h 221"/>
                  <a:gd name="T54" fmla="*/ 78 w 313"/>
                  <a:gd name="T55" fmla="*/ 157 h 221"/>
                  <a:gd name="T56" fmla="*/ 49 w 313"/>
                  <a:gd name="T57" fmla="*/ 157 h 221"/>
                  <a:gd name="T58" fmla="*/ 54 w 313"/>
                  <a:gd name="T59" fmla="*/ 143 h 221"/>
                  <a:gd name="T60" fmla="*/ 49 w 313"/>
                  <a:gd name="T61" fmla="*/ 136 h 221"/>
                  <a:gd name="T62" fmla="*/ 37 w 313"/>
                  <a:gd name="T63" fmla="*/ 131 h 221"/>
                  <a:gd name="T64" fmla="*/ 17 w 313"/>
                  <a:gd name="T65" fmla="*/ 102 h 221"/>
                  <a:gd name="T66" fmla="*/ 3 w 313"/>
                  <a:gd name="T67" fmla="*/ 102 h 221"/>
                  <a:gd name="T68" fmla="*/ 51 w 313"/>
                  <a:gd name="T69" fmla="*/ 44 h 221"/>
                  <a:gd name="T70" fmla="*/ 59 w 313"/>
                  <a:gd name="T71" fmla="*/ 22 h 221"/>
                  <a:gd name="T72" fmla="*/ 68 w 313"/>
                  <a:gd name="T73" fmla="*/ 9 h 221"/>
                  <a:gd name="T74" fmla="*/ 86 w 313"/>
                  <a:gd name="T75" fmla="*/ 9 h 221"/>
                  <a:gd name="T76" fmla="*/ 117 w 313"/>
                  <a:gd name="T77" fmla="*/ 7 h 221"/>
                  <a:gd name="T78" fmla="*/ 131 w 313"/>
                  <a:gd name="T79" fmla="*/ 0 h 221"/>
                  <a:gd name="T80" fmla="*/ 141 w 313"/>
                  <a:gd name="T81" fmla="*/ 4 h 221"/>
                  <a:gd name="T82" fmla="*/ 161 w 313"/>
                  <a:gd name="T83" fmla="*/ 2 h 221"/>
                  <a:gd name="T84" fmla="*/ 177 w 313"/>
                  <a:gd name="T85" fmla="*/ 17 h 221"/>
                  <a:gd name="T86" fmla="*/ 185 w 313"/>
                  <a:gd name="T87" fmla="*/ 27 h 221"/>
                  <a:gd name="T88" fmla="*/ 204 w 313"/>
                  <a:gd name="T89" fmla="*/ 29 h 221"/>
                  <a:gd name="T90" fmla="*/ 216 w 313"/>
                  <a:gd name="T91" fmla="*/ 46 h 221"/>
                  <a:gd name="T92" fmla="*/ 231 w 313"/>
                  <a:gd name="T93" fmla="*/ 60 h 221"/>
                  <a:gd name="T94" fmla="*/ 238 w 313"/>
                  <a:gd name="T95" fmla="*/ 75 h 221"/>
                  <a:gd name="T96" fmla="*/ 258 w 313"/>
                  <a:gd name="T97" fmla="*/ 90 h 221"/>
                  <a:gd name="T98" fmla="*/ 51 w 313"/>
                  <a:gd name="T99" fmla="*/ 141 h 221"/>
                  <a:gd name="T100" fmla="*/ 52 w 313"/>
                  <a:gd name="T101" fmla="*/ 145 h 221"/>
                  <a:gd name="T102" fmla="*/ 52 w 313"/>
                  <a:gd name="T103" fmla="*/ 143 h 221"/>
                  <a:gd name="T104" fmla="*/ 44 w 313"/>
                  <a:gd name="T105" fmla="*/ 201 h 221"/>
                  <a:gd name="T106" fmla="*/ 46 w 313"/>
                  <a:gd name="T107" fmla="*/ 192 h 221"/>
                  <a:gd name="T108" fmla="*/ 41 w 313"/>
                  <a:gd name="T109" fmla="*/ 143 h 221"/>
                  <a:gd name="T110" fmla="*/ 46 w 313"/>
                  <a:gd name="T111" fmla="*/ 201 h 221"/>
                  <a:gd name="T112" fmla="*/ 46 w 313"/>
                  <a:gd name="T113" fmla="*/ 198 h 221"/>
                  <a:gd name="T114" fmla="*/ 44 w 313"/>
                  <a:gd name="T115" fmla="*/ 211 h 221"/>
                  <a:gd name="T116" fmla="*/ 47 w 313"/>
                  <a:gd name="T117" fmla="*/ 147 h 221"/>
                  <a:gd name="T118" fmla="*/ 42 w 313"/>
                  <a:gd name="T119" fmla="*/ 215 h 221"/>
                  <a:gd name="T120" fmla="*/ 39 w 313"/>
                  <a:gd name="T121" fmla="*/ 145 h 221"/>
                  <a:gd name="T122" fmla="*/ 42 w 313"/>
                  <a:gd name="T123" fmla="*/ 215 h 221"/>
                  <a:gd name="T124" fmla="*/ 51 w 313"/>
                  <a:gd name="T125" fmla="*/ 15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21">
                    <a:moveTo>
                      <a:pt x="268" y="97"/>
                    </a:moveTo>
                    <a:lnTo>
                      <a:pt x="268" y="99"/>
                    </a:lnTo>
                    <a:lnTo>
                      <a:pt x="270" y="99"/>
                    </a:lnTo>
                    <a:lnTo>
                      <a:pt x="270" y="101"/>
                    </a:lnTo>
                    <a:lnTo>
                      <a:pt x="272" y="101"/>
                    </a:lnTo>
                    <a:lnTo>
                      <a:pt x="272" y="102"/>
                    </a:lnTo>
                    <a:lnTo>
                      <a:pt x="273" y="104"/>
                    </a:lnTo>
                    <a:lnTo>
                      <a:pt x="272" y="104"/>
                    </a:lnTo>
                    <a:lnTo>
                      <a:pt x="272" y="106"/>
                    </a:lnTo>
                    <a:lnTo>
                      <a:pt x="270" y="107"/>
                    </a:lnTo>
                    <a:lnTo>
                      <a:pt x="268" y="111"/>
                    </a:lnTo>
                    <a:lnTo>
                      <a:pt x="270" y="113"/>
                    </a:lnTo>
                    <a:lnTo>
                      <a:pt x="270" y="114"/>
                    </a:lnTo>
                    <a:lnTo>
                      <a:pt x="270" y="116"/>
                    </a:lnTo>
                    <a:lnTo>
                      <a:pt x="272" y="116"/>
                    </a:lnTo>
                    <a:lnTo>
                      <a:pt x="273" y="116"/>
                    </a:lnTo>
                    <a:lnTo>
                      <a:pt x="273" y="118"/>
                    </a:lnTo>
                    <a:lnTo>
                      <a:pt x="275" y="118"/>
                    </a:lnTo>
                    <a:lnTo>
                      <a:pt x="275" y="121"/>
                    </a:lnTo>
                    <a:lnTo>
                      <a:pt x="279" y="121"/>
                    </a:lnTo>
                    <a:lnTo>
                      <a:pt x="280" y="126"/>
                    </a:lnTo>
                    <a:lnTo>
                      <a:pt x="280" y="128"/>
                    </a:lnTo>
                    <a:lnTo>
                      <a:pt x="279" y="135"/>
                    </a:lnTo>
                    <a:lnTo>
                      <a:pt x="280" y="136"/>
                    </a:lnTo>
                    <a:lnTo>
                      <a:pt x="284" y="140"/>
                    </a:lnTo>
                    <a:lnTo>
                      <a:pt x="284" y="143"/>
                    </a:lnTo>
                    <a:lnTo>
                      <a:pt x="282" y="147"/>
                    </a:lnTo>
                    <a:lnTo>
                      <a:pt x="279" y="148"/>
                    </a:lnTo>
                    <a:lnTo>
                      <a:pt x="277" y="150"/>
                    </a:lnTo>
                    <a:lnTo>
                      <a:pt x="279" y="153"/>
                    </a:lnTo>
                    <a:lnTo>
                      <a:pt x="279" y="155"/>
                    </a:lnTo>
                    <a:lnTo>
                      <a:pt x="282" y="160"/>
                    </a:lnTo>
                    <a:lnTo>
                      <a:pt x="287" y="164"/>
                    </a:lnTo>
                    <a:lnTo>
                      <a:pt x="285" y="167"/>
                    </a:lnTo>
                    <a:lnTo>
                      <a:pt x="289" y="170"/>
                    </a:lnTo>
                    <a:lnTo>
                      <a:pt x="290" y="170"/>
                    </a:lnTo>
                    <a:lnTo>
                      <a:pt x="292" y="170"/>
                    </a:lnTo>
                    <a:lnTo>
                      <a:pt x="294" y="165"/>
                    </a:lnTo>
                    <a:lnTo>
                      <a:pt x="296" y="165"/>
                    </a:lnTo>
                    <a:lnTo>
                      <a:pt x="296" y="167"/>
                    </a:lnTo>
                    <a:lnTo>
                      <a:pt x="299" y="167"/>
                    </a:lnTo>
                    <a:lnTo>
                      <a:pt x="299" y="169"/>
                    </a:lnTo>
                    <a:lnTo>
                      <a:pt x="301" y="169"/>
                    </a:lnTo>
                    <a:lnTo>
                      <a:pt x="301" y="170"/>
                    </a:lnTo>
                    <a:lnTo>
                      <a:pt x="302" y="172"/>
                    </a:lnTo>
                    <a:lnTo>
                      <a:pt x="304" y="174"/>
                    </a:lnTo>
                    <a:lnTo>
                      <a:pt x="304" y="175"/>
                    </a:lnTo>
                    <a:lnTo>
                      <a:pt x="304" y="177"/>
                    </a:lnTo>
                    <a:lnTo>
                      <a:pt x="306" y="177"/>
                    </a:lnTo>
                    <a:lnTo>
                      <a:pt x="304" y="179"/>
                    </a:lnTo>
                    <a:lnTo>
                      <a:pt x="307" y="182"/>
                    </a:lnTo>
                    <a:lnTo>
                      <a:pt x="309" y="182"/>
                    </a:lnTo>
                    <a:lnTo>
                      <a:pt x="309" y="184"/>
                    </a:lnTo>
                    <a:lnTo>
                      <a:pt x="311" y="186"/>
                    </a:lnTo>
                    <a:lnTo>
                      <a:pt x="309" y="187"/>
                    </a:lnTo>
                    <a:lnTo>
                      <a:pt x="309" y="189"/>
                    </a:lnTo>
                    <a:lnTo>
                      <a:pt x="311" y="189"/>
                    </a:lnTo>
                    <a:lnTo>
                      <a:pt x="311" y="187"/>
                    </a:lnTo>
                    <a:lnTo>
                      <a:pt x="313" y="187"/>
                    </a:lnTo>
                    <a:lnTo>
                      <a:pt x="313" y="189"/>
                    </a:lnTo>
                    <a:lnTo>
                      <a:pt x="311" y="191"/>
                    </a:lnTo>
                    <a:lnTo>
                      <a:pt x="311" y="192"/>
                    </a:lnTo>
                    <a:lnTo>
                      <a:pt x="311" y="194"/>
                    </a:lnTo>
                    <a:lnTo>
                      <a:pt x="311" y="196"/>
                    </a:lnTo>
                    <a:lnTo>
                      <a:pt x="311" y="198"/>
                    </a:lnTo>
                    <a:lnTo>
                      <a:pt x="313" y="201"/>
                    </a:lnTo>
                    <a:lnTo>
                      <a:pt x="309" y="201"/>
                    </a:lnTo>
                    <a:lnTo>
                      <a:pt x="309" y="203"/>
                    </a:lnTo>
                    <a:lnTo>
                      <a:pt x="307" y="203"/>
                    </a:lnTo>
                    <a:lnTo>
                      <a:pt x="309" y="204"/>
                    </a:lnTo>
                    <a:lnTo>
                      <a:pt x="311" y="206"/>
                    </a:lnTo>
                    <a:lnTo>
                      <a:pt x="309" y="206"/>
                    </a:lnTo>
                    <a:lnTo>
                      <a:pt x="311" y="208"/>
                    </a:lnTo>
                    <a:lnTo>
                      <a:pt x="309" y="210"/>
                    </a:lnTo>
                    <a:lnTo>
                      <a:pt x="307" y="210"/>
                    </a:lnTo>
                    <a:lnTo>
                      <a:pt x="309" y="210"/>
                    </a:lnTo>
                    <a:lnTo>
                      <a:pt x="309" y="211"/>
                    </a:lnTo>
                    <a:lnTo>
                      <a:pt x="311" y="211"/>
                    </a:lnTo>
                    <a:lnTo>
                      <a:pt x="311" y="210"/>
                    </a:lnTo>
                    <a:lnTo>
                      <a:pt x="311" y="213"/>
                    </a:lnTo>
                    <a:lnTo>
                      <a:pt x="313" y="213"/>
                    </a:lnTo>
                    <a:lnTo>
                      <a:pt x="313" y="211"/>
                    </a:lnTo>
                    <a:lnTo>
                      <a:pt x="313" y="213"/>
                    </a:lnTo>
                    <a:lnTo>
                      <a:pt x="313" y="215"/>
                    </a:lnTo>
                    <a:lnTo>
                      <a:pt x="313" y="216"/>
                    </a:lnTo>
                    <a:lnTo>
                      <a:pt x="307" y="215"/>
                    </a:lnTo>
                    <a:lnTo>
                      <a:pt x="304" y="215"/>
                    </a:lnTo>
                    <a:lnTo>
                      <a:pt x="297" y="216"/>
                    </a:lnTo>
                    <a:lnTo>
                      <a:pt x="296" y="218"/>
                    </a:lnTo>
                    <a:lnTo>
                      <a:pt x="292" y="218"/>
                    </a:lnTo>
                    <a:lnTo>
                      <a:pt x="289" y="218"/>
                    </a:lnTo>
                    <a:lnTo>
                      <a:pt x="285" y="216"/>
                    </a:lnTo>
                    <a:lnTo>
                      <a:pt x="280" y="218"/>
                    </a:lnTo>
                    <a:lnTo>
                      <a:pt x="279" y="216"/>
                    </a:lnTo>
                    <a:lnTo>
                      <a:pt x="275" y="216"/>
                    </a:lnTo>
                    <a:lnTo>
                      <a:pt x="272" y="220"/>
                    </a:lnTo>
                    <a:lnTo>
                      <a:pt x="268" y="220"/>
                    </a:lnTo>
                    <a:lnTo>
                      <a:pt x="263" y="221"/>
                    </a:lnTo>
                    <a:lnTo>
                      <a:pt x="260" y="220"/>
                    </a:lnTo>
                    <a:lnTo>
                      <a:pt x="256" y="216"/>
                    </a:lnTo>
                    <a:lnTo>
                      <a:pt x="255" y="216"/>
                    </a:lnTo>
                    <a:lnTo>
                      <a:pt x="251" y="218"/>
                    </a:lnTo>
                    <a:lnTo>
                      <a:pt x="248" y="215"/>
                    </a:lnTo>
                    <a:lnTo>
                      <a:pt x="243" y="216"/>
                    </a:lnTo>
                    <a:lnTo>
                      <a:pt x="241" y="213"/>
                    </a:lnTo>
                    <a:lnTo>
                      <a:pt x="238" y="213"/>
                    </a:lnTo>
                    <a:lnTo>
                      <a:pt x="238" y="211"/>
                    </a:lnTo>
                    <a:lnTo>
                      <a:pt x="234" y="210"/>
                    </a:lnTo>
                    <a:lnTo>
                      <a:pt x="233" y="211"/>
                    </a:lnTo>
                    <a:lnTo>
                      <a:pt x="233" y="213"/>
                    </a:lnTo>
                    <a:lnTo>
                      <a:pt x="231" y="215"/>
                    </a:lnTo>
                    <a:lnTo>
                      <a:pt x="226" y="213"/>
                    </a:lnTo>
                    <a:lnTo>
                      <a:pt x="226" y="210"/>
                    </a:lnTo>
                    <a:lnTo>
                      <a:pt x="228" y="208"/>
                    </a:lnTo>
                    <a:lnTo>
                      <a:pt x="226" y="204"/>
                    </a:lnTo>
                    <a:lnTo>
                      <a:pt x="224" y="206"/>
                    </a:lnTo>
                    <a:lnTo>
                      <a:pt x="221" y="204"/>
                    </a:lnTo>
                    <a:lnTo>
                      <a:pt x="221" y="206"/>
                    </a:lnTo>
                    <a:lnTo>
                      <a:pt x="219" y="204"/>
                    </a:lnTo>
                    <a:lnTo>
                      <a:pt x="217" y="204"/>
                    </a:lnTo>
                    <a:lnTo>
                      <a:pt x="216" y="204"/>
                    </a:lnTo>
                    <a:lnTo>
                      <a:pt x="214" y="204"/>
                    </a:lnTo>
                    <a:lnTo>
                      <a:pt x="212" y="204"/>
                    </a:lnTo>
                    <a:lnTo>
                      <a:pt x="194" y="203"/>
                    </a:lnTo>
                    <a:lnTo>
                      <a:pt x="173" y="203"/>
                    </a:lnTo>
                    <a:lnTo>
                      <a:pt x="163" y="203"/>
                    </a:lnTo>
                    <a:lnTo>
                      <a:pt x="161" y="203"/>
                    </a:lnTo>
                    <a:lnTo>
                      <a:pt x="146" y="203"/>
                    </a:lnTo>
                    <a:lnTo>
                      <a:pt x="134" y="203"/>
                    </a:lnTo>
                    <a:lnTo>
                      <a:pt x="132" y="203"/>
                    </a:lnTo>
                    <a:lnTo>
                      <a:pt x="120" y="203"/>
                    </a:lnTo>
                    <a:lnTo>
                      <a:pt x="112" y="206"/>
                    </a:lnTo>
                    <a:lnTo>
                      <a:pt x="105" y="211"/>
                    </a:lnTo>
                    <a:lnTo>
                      <a:pt x="95" y="216"/>
                    </a:lnTo>
                    <a:lnTo>
                      <a:pt x="83" y="215"/>
                    </a:lnTo>
                    <a:lnTo>
                      <a:pt x="80" y="215"/>
                    </a:lnTo>
                    <a:lnTo>
                      <a:pt x="76" y="213"/>
                    </a:lnTo>
                    <a:lnTo>
                      <a:pt x="73" y="213"/>
                    </a:lnTo>
                    <a:lnTo>
                      <a:pt x="69" y="215"/>
                    </a:lnTo>
                    <a:lnTo>
                      <a:pt x="68" y="215"/>
                    </a:lnTo>
                    <a:lnTo>
                      <a:pt x="59" y="218"/>
                    </a:lnTo>
                    <a:lnTo>
                      <a:pt x="58" y="220"/>
                    </a:lnTo>
                    <a:lnTo>
                      <a:pt x="56" y="218"/>
                    </a:lnTo>
                    <a:lnTo>
                      <a:pt x="51" y="220"/>
                    </a:lnTo>
                    <a:lnTo>
                      <a:pt x="47" y="220"/>
                    </a:lnTo>
                    <a:lnTo>
                      <a:pt x="42" y="220"/>
                    </a:lnTo>
                    <a:lnTo>
                      <a:pt x="41" y="220"/>
                    </a:lnTo>
                    <a:lnTo>
                      <a:pt x="41" y="218"/>
                    </a:lnTo>
                    <a:lnTo>
                      <a:pt x="39" y="216"/>
                    </a:lnTo>
                    <a:lnTo>
                      <a:pt x="37" y="215"/>
                    </a:lnTo>
                    <a:lnTo>
                      <a:pt x="37" y="213"/>
                    </a:lnTo>
                    <a:lnTo>
                      <a:pt x="39" y="210"/>
                    </a:lnTo>
                    <a:lnTo>
                      <a:pt x="41" y="210"/>
                    </a:lnTo>
                    <a:lnTo>
                      <a:pt x="41" y="211"/>
                    </a:lnTo>
                    <a:lnTo>
                      <a:pt x="44" y="213"/>
                    </a:lnTo>
                    <a:lnTo>
                      <a:pt x="42" y="213"/>
                    </a:lnTo>
                    <a:lnTo>
                      <a:pt x="42" y="215"/>
                    </a:lnTo>
                    <a:lnTo>
                      <a:pt x="41" y="215"/>
                    </a:lnTo>
                    <a:lnTo>
                      <a:pt x="42" y="215"/>
                    </a:lnTo>
                    <a:lnTo>
                      <a:pt x="44" y="216"/>
                    </a:lnTo>
                    <a:lnTo>
                      <a:pt x="44" y="215"/>
                    </a:lnTo>
                    <a:lnTo>
                      <a:pt x="42" y="213"/>
                    </a:lnTo>
                    <a:lnTo>
                      <a:pt x="44" y="213"/>
                    </a:lnTo>
                    <a:lnTo>
                      <a:pt x="44" y="210"/>
                    </a:lnTo>
                    <a:lnTo>
                      <a:pt x="46" y="208"/>
                    </a:lnTo>
                    <a:lnTo>
                      <a:pt x="47" y="204"/>
                    </a:lnTo>
                    <a:lnTo>
                      <a:pt x="51" y="206"/>
                    </a:lnTo>
                    <a:lnTo>
                      <a:pt x="51" y="208"/>
                    </a:lnTo>
                    <a:lnTo>
                      <a:pt x="52" y="208"/>
                    </a:lnTo>
                    <a:lnTo>
                      <a:pt x="54" y="208"/>
                    </a:lnTo>
                    <a:lnTo>
                      <a:pt x="56" y="210"/>
                    </a:lnTo>
                    <a:lnTo>
                      <a:pt x="58" y="208"/>
                    </a:lnTo>
                    <a:lnTo>
                      <a:pt x="56" y="208"/>
                    </a:lnTo>
                    <a:lnTo>
                      <a:pt x="56" y="206"/>
                    </a:lnTo>
                    <a:lnTo>
                      <a:pt x="56" y="208"/>
                    </a:lnTo>
                    <a:lnTo>
                      <a:pt x="54" y="206"/>
                    </a:lnTo>
                    <a:lnTo>
                      <a:pt x="52" y="204"/>
                    </a:lnTo>
                    <a:lnTo>
                      <a:pt x="52" y="206"/>
                    </a:lnTo>
                    <a:lnTo>
                      <a:pt x="49" y="203"/>
                    </a:lnTo>
                    <a:lnTo>
                      <a:pt x="51" y="203"/>
                    </a:lnTo>
                    <a:lnTo>
                      <a:pt x="51" y="201"/>
                    </a:lnTo>
                    <a:lnTo>
                      <a:pt x="49" y="201"/>
                    </a:lnTo>
                    <a:lnTo>
                      <a:pt x="47" y="199"/>
                    </a:lnTo>
                    <a:lnTo>
                      <a:pt x="49" y="192"/>
                    </a:lnTo>
                    <a:lnTo>
                      <a:pt x="47" y="189"/>
                    </a:lnTo>
                    <a:lnTo>
                      <a:pt x="47" y="191"/>
                    </a:lnTo>
                    <a:lnTo>
                      <a:pt x="47" y="189"/>
                    </a:lnTo>
                    <a:lnTo>
                      <a:pt x="46" y="189"/>
                    </a:lnTo>
                    <a:lnTo>
                      <a:pt x="46" y="187"/>
                    </a:lnTo>
                    <a:lnTo>
                      <a:pt x="44" y="191"/>
                    </a:lnTo>
                    <a:lnTo>
                      <a:pt x="46" y="192"/>
                    </a:lnTo>
                    <a:lnTo>
                      <a:pt x="44" y="192"/>
                    </a:lnTo>
                    <a:lnTo>
                      <a:pt x="46" y="192"/>
                    </a:lnTo>
                    <a:lnTo>
                      <a:pt x="46" y="194"/>
                    </a:lnTo>
                    <a:lnTo>
                      <a:pt x="46" y="196"/>
                    </a:lnTo>
                    <a:lnTo>
                      <a:pt x="47" y="198"/>
                    </a:lnTo>
                    <a:lnTo>
                      <a:pt x="46" y="198"/>
                    </a:lnTo>
                    <a:lnTo>
                      <a:pt x="44" y="198"/>
                    </a:lnTo>
                    <a:lnTo>
                      <a:pt x="42" y="199"/>
                    </a:lnTo>
                    <a:lnTo>
                      <a:pt x="42" y="201"/>
                    </a:lnTo>
                    <a:lnTo>
                      <a:pt x="41" y="199"/>
                    </a:lnTo>
                    <a:lnTo>
                      <a:pt x="37" y="203"/>
                    </a:lnTo>
                    <a:lnTo>
                      <a:pt x="39" y="199"/>
                    </a:lnTo>
                    <a:lnTo>
                      <a:pt x="37" y="199"/>
                    </a:lnTo>
                    <a:lnTo>
                      <a:pt x="39" y="199"/>
                    </a:lnTo>
                    <a:lnTo>
                      <a:pt x="39" y="198"/>
                    </a:lnTo>
                    <a:lnTo>
                      <a:pt x="39" y="196"/>
                    </a:lnTo>
                    <a:lnTo>
                      <a:pt x="37" y="199"/>
                    </a:lnTo>
                    <a:lnTo>
                      <a:pt x="41" y="189"/>
                    </a:lnTo>
                    <a:lnTo>
                      <a:pt x="41" y="184"/>
                    </a:lnTo>
                    <a:lnTo>
                      <a:pt x="41" y="182"/>
                    </a:lnTo>
                    <a:lnTo>
                      <a:pt x="41" y="181"/>
                    </a:lnTo>
                    <a:lnTo>
                      <a:pt x="42" y="181"/>
                    </a:lnTo>
                    <a:lnTo>
                      <a:pt x="42" y="179"/>
                    </a:lnTo>
                    <a:lnTo>
                      <a:pt x="66" y="179"/>
                    </a:lnTo>
                    <a:lnTo>
                      <a:pt x="88" y="179"/>
                    </a:lnTo>
                    <a:lnTo>
                      <a:pt x="88" y="169"/>
                    </a:lnTo>
                    <a:lnTo>
                      <a:pt x="92" y="169"/>
                    </a:lnTo>
                    <a:lnTo>
                      <a:pt x="93" y="169"/>
                    </a:lnTo>
                    <a:lnTo>
                      <a:pt x="98" y="169"/>
                    </a:lnTo>
                    <a:lnTo>
                      <a:pt x="103" y="167"/>
                    </a:lnTo>
                    <a:lnTo>
                      <a:pt x="109" y="169"/>
                    </a:lnTo>
                    <a:lnTo>
                      <a:pt x="114" y="169"/>
                    </a:lnTo>
                    <a:lnTo>
                      <a:pt x="117" y="165"/>
                    </a:lnTo>
                    <a:lnTo>
                      <a:pt x="119" y="160"/>
                    </a:lnTo>
                    <a:lnTo>
                      <a:pt x="120" y="157"/>
                    </a:lnTo>
                    <a:lnTo>
                      <a:pt x="124" y="157"/>
                    </a:lnTo>
                    <a:lnTo>
                      <a:pt x="126" y="160"/>
                    </a:lnTo>
                    <a:lnTo>
                      <a:pt x="129" y="162"/>
                    </a:lnTo>
                    <a:lnTo>
                      <a:pt x="132" y="164"/>
                    </a:lnTo>
                    <a:lnTo>
                      <a:pt x="136" y="164"/>
                    </a:lnTo>
                    <a:lnTo>
                      <a:pt x="137" y="165"/>
                    </a:lnTo>
                    <a:lnTo>
                      <a:pt x="141" y="165"/>
                    </a:lnTo>
                    <a:lnTo>
                      <a:pt x="143" y="169"/>
                    </a:lnTo>
                    <a:lnTo>
                      <a:pt x="144" y="169"/>
                    </a:lnTo>
                    <a:lnTo>
                      <a:pt x="148" y="169"/>
                    </a:lnTo>
                    <a:lnTo>
                      <a:pt x="149" y="169"/>
                    </a:lnTo>
                    <a:lnTo>
                      <a:pt x="153" y="170"/>
                    </a:lnTo>
                    <a:lnTo>
                      <a:pt x="156" y="172"/>
                    </a:lnTo>
                    <a:lnTo>
                      <a:pt x="158" y="174"/>
                    </a:lnTo>
                    <a:lnTo>
                      <a:pt x="161" y="175"/>
                    </a:lnTo>
                    <a:lnTo>
                      <a:pt x="165" y="174"/>
                    </a:lnTo>
                    <a:lnTo>
                      <a:pt x="166" y="175"/>
                    </a:lnTo>
                    <a:lnTo>
                      <a:pt x="171" y="175"/>
                    </a:lnTo>
                    <a:lnTo>
                      <a:pt x="173" y="174"/>
                    </a:lnTo>
                    <a:lnTo>
                      <a:pt x="173" y="172"/>
                    </a:lnTo>
                    <a:lnTo>
                      <a:pt x="178" y="172"/>
                    </a:lnTo>
                    <a:lnTo>
                      <a:pt x="182" y="170"/>
                    </a:lnTo>
                    <a:lnTo>
                      <a:pt x="185" y="170"/>
                    </a:lnTo>
                    <a:lnTo>
                      <a:pt x="187" y="169"/>
                    </a:lnTo>
                    <a:lnTo>
                      <a:pt x="188" y="167"/>
                    </a:lnTo>
                    <a:lnTo>
                      <a:pt x="190" y="165"/>
                    </a:lnTo>
                    <a:lnTo>
                      <a:pt x="183" y="158"/>
                    </a:lnTo>
                    <a:lnTo>
                      <a:pt x="180" y="157"/>
                    </a:lnTo>
                    <a:lnTo>
                      <a:pt x="178" y="158"/>
                    </a:lnTo>
                    <a:lnTo>
                      <a:pt x="175" y="158"/>
                    </a:lnTo>
                    <a:lnTo>
                      <a:pt x="170" y="160"/>
                    </a:lnTo>
                    <a:lnTo>
                      <a:pt x="166" y="162"/>
                    </a:lnTo>
                    <a:lnTo>
                      <a:pt x="163" y="164"/>
                    </a:lnTo>
                    <a:lnTo>
                      <a:pt x="158" y="162"/>
                    </a:lnTo>
                    <a:lnTo>
                      <a:pt x="154" y="160"/>
                    </a:lnTo>
                    <a:lnTo>
                      <a:pt x="154" y="157"/>
                    </a:lnTo>
                    <a:lnTo>
                      <a:pt x="151" y="153"/>
                    </a:lnTo>
                    <a:lnTo>
                      <a:pt x="148" y="153"/>
                    </a:lnTo>
                    <a:lnTo>
                      <a:pt x="143" y="155"/>
                    </a:lnTo>
                    <a:lnTo>
                      <a:pt x="139" y="153"/>
                    </a:lnTo>
                    <a:lnTo>
                      <a:pt x="139" y="150"/>
                    </a:lnTo>
                    <a:lnTo>
                      <a:pt x="136" y="148"/>
                    </a:lnTo>
                    <a:lnTo>
                      <a:pt x="132" y="147"/>
                    </a:lnTo>
                    <a:lnTo>
                      <a:pt x="129" y="147"/>
                    </a:lnTo>
                    <a:lnTo>
                      <a:pt x="126" y="145"/>
                    </a:lnTo>
                    <a:lnTo>
                      <a:pt x="122" y="147"/>
                    </a:lnTo>
                    <a:lnTo>
                      <a:pt x="117" y="148"/>
                    </a:lnTo>
                    <a:lnTo>
                      <a:pt x="115" y="148"/>
                    </a:lnTo>
                    <a:lnTo>
                      <a:pt x="112" y="147"/>
                    </a:lnTo>
                    <a:lnTo>
                      <a:pt x="109" y="148"/>
                    </a:lnTo>
                    <a:lnTo>
                      <a:pt x="105" y="152"/>
                    </a:lnTo>
                    <a:lnTo>
                      <a:pt x="103" y="157"/>
                    </a:lnTo>
                    <a:lnTo>
                      <a:pt x="90" y="157"/>
                    </a:lnTo>
                    <a:lnTo>
                      <a:pt x="78" y="157"/>
                    </a:lnTo>
                    <a:lnTo>
                      <a:pt x="71" y="157"/>
                    </a:lnTo>
                    <a:lnTo>
                      <a:pt x="61" y="157"/>
                    </a:lnTo>
                    <a:lnTo>
                      <a:pt x="56" y="157"/>
                    </a:lnTo>
                    <a:lnTo>
                      <a:pt x="52" y="157"/>
                    </a:lnTo>
                    <a:lnTo>
                      <a:pt x="51" y="157"/>
                    </a:lnTo>
                    <a:lnTo>
                      <a:pt x="51" y="155"/>
                    </a:lnTo>
                    <a:lnTo>
                      <a:pt x="51" y="157"/>
                    </a:lnTo>
                    <a:lnTo>
                      <a:pt x="49" y="155"/>
                    </a:lnTo>
                    <a:lnTo>
                      <a:pt x="51" y="157"/>
                    </a:lnTo>
                    <a:lnTo>
                      <a:pt x="49" y="157"/>
                    </a:lnTo>
                    <a:lnTo>
                      <a:pt x="47" y="155"/>
                    </a:lnTo>
                    <a:lnTo>
                      <a:pt x="52" y="153"/>
                    </a:lnTo>
                    <a:lnTo>
                      <a:pt x="52" y="152"/>
                    </a:lnTo>
                    <a:lnTo>
                      <a:pt x="51" y="152"/>
                    </a:lnTo>
                    <a:lnTo>
                      <a:pt x="52" y="150"/>
                    </a:lnTo>
                    <a:lnTo>
                      <a:pt x="52" y="148"/>
                    </a:lnTo>
                    <a:lnTo>
                      <a:pt x="54" y="147"/>
                    </a:lnTo>
                    <a:lnTo>
                      <a:pt x="52" y="145"/>
                    </a:lnTo>
                    <a:lnTo>
                      <a:pt x="52" y="143"/>
                    </a:lnTo>
                    <a:lnTo>
                      <a:pt x="54" y="143"/>
                    </a:lnTo>
                    <a:lnTo>
                      <a:pt x="52" y="143"/>
                    </a:lnTo>
                    <a:lnTo>
                      <a:pt x="54" y="141"/>
                    </a:lnTo>
                    <a:lnTo>
                      <a:pt x="54" y="140"/>
                    </a:lnTo>
                    <a:lnTo>
                      <a:pt x="54" y="141"/>
                    </a:lnTo>
                    <a:lnTo>
                      <a:pt x="52" y="141"/>
                    </a:lnTo>
                    <a:lnTo>
                      <a:pt x="52" y="140"/>
                    </a:lnTo>
                    <a:lnTo>
                      <a:pt x="54" y="138"/>
                    </a:lnTo>
                    <a:lnTo>
                      <a:pt x="52" y="136"/>
                    </a:lnTo>
                    <a:lnTo>
                      <a:pt x="51" y="136"/>
                    </a:lnTo>
                    <a:lnTo>
                      <a:pt x="49" y="136"/>
                    </a:lnTo>
                    <a:lnTo>
                      <a:pt x="47" y="136"/>
                    </a:lnTo>
                    <a:lnTo>
                      <a:pt x="51" y="135"/>
                    </a:lnTo>
                    <a:lnTo>
                      <a:pt x="49" y="135"/>
                    </a:lnTo>
                    <a:lnTo>
                      <a:pt x="47" y="135"/>
                    </a:lnTo>
                    <a:lnTo>
                      <a:pt x="46" y="136"/>
                    </a:lnTo>
                    <a:lnTo>
                      <a:pt x="44" y="135"/>
                    </a:lnTo>
                    <a:lnTo>
                      <a:pt x="41" y="136"/>
                    </a:lnTo>
                    <a:lnTo>
                      <a:pt x="39" y="138"/>
                    </a:lnTo>
                    <a:lnTo>
                      <a:pt x="39" y="140"/>
                    </a:lnTo>
                    <a:lnTo>
                      <a:pt x="37" y="131"/>
                    </a:lnTo>
                    <a:lnTo>
                      <a:pt x="35" y="128"/>
                    </a:lnTo>
                    <a:lnTo>
                      <a:pt x="35" y="130"/>
                    </a:lnTo>
                    <a:lnTo>
                      <a:pt x="34" y="126"/>
                    </a:lnTo>
                    <a:lnTo>
                      <a:pt x="34" y="124"/>
                    </a:lnTo>
                    <a:lnTo>
                      <a:pt x="30" y="121"/>
                    </a:lnTo>
                    <a:lnTo>
                      <a:pt x="30" y="118"/>
                    </a:lnTo>
                    <a:lnTo>
                      <a:pt x="27" y="114"/>
                    </a:lnTo>
                    <a:lnTo>
                      <a:pt x="24" y="113"/>
                    </a:lnTo>
                    <a:lnTo>
                      <a:pt x="22" y="109"/>
                    </a:lnTo>
                    <a:lnTo>
                      <a:pt x="17" y="102"/>
                    </a:lnTo>
                    <a:lnTo>
                      <a:pt x="13" y="101"/>
                    </a:lnTo>
                    <a:lnTo>
                      <a:pt x="8" y="99"/>
                    </a:lnTo>
                    <a:lnTo>
                      <a:pt x="5" y="99"/>
                    </a:lnTo>
                    <a:lnTo>
                      <a:pt x="7" y="101"/>
                    </a:lnTo>
                    <a:lnTo>
                      <a:pt x="7" y="102"/>
                    </a:lnTo>
                    <a:lnTo>
                      <a:pt x="5" y="101"/>
                    </a:lnTo>
                    <a:lnTo>
                      <a:pt x="5" y="102"/>
                    </a:lnTo>
                    <a:lnTo>
                      <a:pt x="5" y="104"/>
                    </a:lnTo>
                    <a:lnTo>
                      <a:pt x="5" y="102"/>
                    </a:lnTo>
                    <a:lnTo>
                      <a:pt x="3" y="102"/>
                    </a:lnTo>
                    <a:lnTo>
                      <a:pt x="1" y="101"/>
                    </a:lnTo>
                    <a:lnTo>
                      <a:pt x="0" y="99"/>
                    </a:lnTo>
                    <a:lnTo>
                      <a:pt x="12" y="96"/>
                    </a:lnTo>
                    <a:lnTo>
                      <a:pt x="20" y="90"/>
                    </a:lnTo>
                    <a:lnTo>
                      <a:pt x="22" y="87"/>
                    </a:lnTo>
                    <a:lnTo>
                      <a:pt x="32" y="75"/>
                    </a:lnTo>
                    <a:lnTo>
                      <a:pt x="35" y="72"/>
                    </a:lnTo>
                    <a:lnTo>
                      <a:pt x="46" y="55"/>
                    </a:lnTo>
                    <a:lnTo>
                      <a:pt x="51" y="46"/>
                    </a:lnTo>
                    <a:lnTo>
                      <a:pt x="51" y="44"/>
                    </a:lnTo>
                    <a:lnTo>
                      <a:pt x="51" y="46"/>
                    </a:lnTo>
                    <a:lnTo>
                      <a:pt x="51" y="41"/>
                    </a:lnTo>
                    <a:lnTo>
                      <a:pt x="52" y="33"/>
                    </a:lnTo>
                    <a:lnTo>
                      <a:pt x="52" y="31"/>
                    </a:lnTo>
                    <a:lnTo>
                      <a:pt x="52" y="33"/>
                    </a:lnTo>
                    <a:lnTo>
                      <a:pt x="56" y="29"/>
                    </a:lnTo>
                    <a:lnTo>
                      <a:pt x="54" y="26"/>
                    </a:lnTo>
                    <a:lnTo>
                      <a:pt x="56" y="24"/>
                    </a:lnTo>
                    <a:lnTo>
                      <a:pt x="58" y="24"/>
                    </a:lnTo>
                    <a:lnTo>
                      <a:pt x="59" y="22"/>
                    </a:lnTo>
                    <a:lnTo>
                      <a:pt x="59" y="21"/>
                    </a:lnTo>
                    <a:lnTo>
                      <a:pt x="59" y="19"/>
                    </a:lnTo>
                    <a:lnTo>
                      <a:pt x="61" y="17"/>
                    </a:lnTo>
                    <a:lnTo>
                      <a:pt x="61" y="14"/>
                    </a:lnTo>
                    <a:lnTo>
                      <a:pt x="63" y="14"/>
                    </a:lnTo>
                    <a:lnTo>
                      <a:pt x="63" y="12"/>
                    </a:lnTo>
                    <a:lnTo>
                      <a:pt x="63" y="10"/>
                    </a:lnTo>
                    <a:lnTo>
                      <a:pt x="63" y="9"/>
                    </a:lnTo>
                    <a:lnTo>
                      <a:pt x="64" y="9"/>
                    </a:lnTo>
                    <a:lnTo>
                      <a:pt x="68" y="9"/>
                    </a:lnTo>
                    <a:lnTo>
                      <a:pt x="69" y="7"/>
                    </a:lnTo>
                    <a:lnTo>
                      <a:pt x="71" y="7"/>
                    </a:lnTo>
                    <a:lnTo>
                      <a:pt x="73" y="9"/>
                    </a:lnTo>
                    <a:lnTo>
                      <a:pt x="75" y="10"/>
                    </a:lnTo>
                    <a:lnTo>
                      <a:pt x="78" y="9"/>
                    </a:lnTo>
                    <a:lnTo>
                      <a:pt x="80" y="10"/>
                    </a:lnTo>
                    <a:lnTo>
                      <a:pt x="83" y="9"/>
                    </a:lnTo>
                    <a:lnTo>
                      <a:pt x="85" y="9"/>
                    </a:lnTo>
                    <a:lnTo>
                      <a:pt x="85" y="10"/>
                    </a:lnTo>
                    <a:lnTo>
                      <a:pt x="86" y="9"/>
                    </a:lnTo>
                    <a:lnTo>
                      <a:pt x="93" y="10"/>
                    </a:lnTo>
                    <a:lnTo>
                      <a:pt x="97" y="10"/>
                    </a:lnTo>
                    <a:lnTo>
                      <a:pt x="97" y="9"/>
                    </a:lnTo>
                    <a:lnTo>
                      <a:pt x="100" y="9"/>
                    </a:lnTo>
                    <a:lnTo>
                      <a:pt x="102" y="9"/>
                    </a:lnTo>
                    <a:lnTo>
                      <a:pt x="102" y="7"/>
                    </a:lnTo>
                    <a:lnTo>
                      <a:pt x="105" y="5"/>
                    </a:lnTo>
                    <a:lnTo>
                      <a:pt x="107" y="7"/>
                    </a:lnTo>
                    <a:lnTo>
                      <a:pt x="112" y="5"/>
                    </a:lnTo>
                    <a:lnTo>
                      <a:pt x="117" y="7"/>
                    </a:lnTo>
                    <a:lnTo>
                      <a:pt x="120" y="5"/>
                    </a:lnTo>
                    <a:lnTo>
                      <a:pt x="122" y="5"/>
                    </a:lnTo>
                    <a:lnTo>
                      <a:pt x="124" y="4"/>
                    </a:lnTo>
                    <a:lnTo>
                      <a:pt x="122" y="2"/>
                    </a:lnTo>
                    <a:lnTo>
                      <a:pt x="124" y="0"/>
                    </a:lnTo>
                    <a:lnTo>
                      <a:pt x="126" y="4"/>
                    </a:lnTo>
                    <a:lnTo>
                      <a:pt x="127" y="4"/>
                    </a:lnTo>
                    <a:lnTo>
                      <a:pt x="129" y="2"/>
                    </a:lnTo>
                    <a:lnTo>
                      <a:pt x="129" y="0"/>
                    </a:lnTo>
                    <a:lnTo>
                      <a:pt x="131" y="0"/>
                    </a:lnTo>
                    <a:lnTo>
                      <a:pt x="131" y="2"/>
                    </a:lnTo>
                    <a:lnTo>
                      <a:pt x="131" y="4"/>
                    </a:lnTo>
                    <a:lnTo>
                      <a:pt x="132" y="2"/>
                    </a:lnTo>
                    <a:lnTo>
                      <a:pt x="134" y="4"/>
                    </a:lnTo>
                    <a:lnTo>
                      <a:pt x="134" y="2"/>
                    </a:lnTo>
                    <a:lnTo>
                      <a:pt x="136" y="2"/>
                    </a:lnTo>
                    <a:lnTo>
                      <a:pt x="137" y="2"/>
                    </a:lnTo>
                    <a:lnTo>
                      <a:pt x="139" y="4"/>
                    </a:lnTo>
                    <a:lnTo>
                      <a:pt x="141" y="2"/>
                    </a:lnTo>
                    <a:lnTo>
                      <a:pt x="141" y="4"/>
                    </a:lnTo>
                    <a:lnTo>
                      <a:pt x="143" y="2"/>
                    </a:lnTo>
                    <a:lnTo>
                      <a:pt x="146" y="2"/>
                    </a:lnTo>
                    <a:lnTo>
                      <a:pt x="146" y="4"/>
                    </a:lnTo>
                    <a:lnTo>
                      <a:pt x="148" y="4"/>
                    </a:lnTo>
                    <a:lnTo>
                      <a:pt x="151" y="4"/>
                    </a:lnTo>
                    <a:lnTo>
                      <a:pt x="151" y="2"/>
                    </a:lnTo>
                    <a:lnTo>
                      <a:pt x="154" y="4"/>
                    </a:lnTo>
                    <a:lnTo>
                      <a:pt x="156" y="4"/>
                    </a:lnTo>
                    <a:lnTo>
                      <a:pt x="158" y="2"/>
                    </a:lnTo>
                    <a:lnTo>
                      <a:pt x="161" y="2"/>
                    </a:lnTo>
                    <a:lnTo>
                      <a:pt x="161" y="5"/>
                    </a:lnTo>
                    <a:lnTo>
                      <a:pt x="165" y="5"/>
                    </a:lnTo>
                    <a:lnTo>
                      <a:pt x="166" y="9"/>
                    </a:lnTo>
                    <a:lnTo>
                      <a:pt x="166" y="7"/>
                    </a:lnTo>
                    <a:lnTo>
                      <a:pt x="168" y="7"/>
                    </a:lnTo>
                    <a:lnTo>
                      <a:pt x="168" y="9"/>
                    </a:lnTo>
                    <a:lnTo>
                      <a:pt x="171" y="10"/>
                    </a:lnTo>
                    <a:lnTo>
                      <a:pt x="171" y="12"/>
                    </a:lnTo>
                    <a:lnTo>
                      <a:pt x="175" y="14"/>
                    </a:lnTo>
                    <a:lnTo>
                      <a:pt x="177" y="17"/>
                    </a:lnTo>
                    <a:lnTo>
                      <a:pt x="180" y="17"/>
                    </a:lnTo>
                    <a:lnTo>
                      <a:pt x="182" y="19"/>
                    </a:lnTo>
                    <a:lnTo>
                      <a:pt x="180" y="19"/>
                    </a:lnTo>
                    <a:lnTo>
                      <a:pt x="180" y="21"/>
                    </a:lnTo>
                    <a:lnTo>
                      <a:pt x="182" y="21"/>
                    </a:lnTo>
                    <a:lnTo>
                      <a:pt x="180" y="24"/>
                    </a:lnTo>
                    <a:lnTo>
                      <a:pt x="183" y="22"/>
                    </a:lnTo>
                    <a:lnTo>
                      <a:pt x="183" y="24"/>
                    </a:lnTo>
                    <a:lnTo>
                      <a:pt x="185" y="24"/>
                    </a:lnTo>
                    <a:lnTo>
                      <a:pt x="185" y="27"/>
                    </a:lnTo>
                    <a:lnTo>
                      <a:pt x="187" y="29"/>
                    </a:lnTo>
                    <a:lnTo>
                      <a:pt x="188" y="27"/>
                    </a:lnTo>
                    <a:lnTo>
                      <a:pt x="192" y="27"/>
                    </a:lnTo>
                    <a:lnTo>
                      <a:pt x="194" y="26"/>
                    </a:lnTo>
                    <a:lnTo>
                      <a:pt x="194" y="27"/>
                    </a:lnTo>
                    <a:lnTo>
                      <a:pt x="195" y="29"/>
                    </a:lnTo>
                    <a:lnTo>
                      <a:pt x="200" y="27"/>
                    </a:lnTo>
                    <a:lnTo>
                      <a:pt x="204" y="29"/>
                    </a:lnTo>
                    <a:lnTo>
                      <a:pt x="205" y="27"/>
                    </a:lnTo>
                    <a:lnTo>
                      <a:pt x="204" y="29"/>
                    </a:lnTo>
                    <a:lnTo>
                      <a:pt x="204" y="31"/>
                    </a:lnTo>
                    <a:lnTo>
                      <a:pt x="207" y="29"/>
                    </a:lnTo>
                    <a:lnTo>
                      <a:pt x="207" y="31"/>
                    </a:lnTo>
                    <a:lnTo>
                      <a:pt x="211" y="33"/>
                    </a:lnTo>
                    <a:lnTo>
                      <a:pt x="211" y="38"/>
                    </a:lnTo>
                    <a:lnTo>
                      <a:pt x="214" y="39"/>
                    </a:lnTo>
                    <a:lnTo>
                      <a:pt x="212" y="41"/>
                    </a:lnTo>
                    <a:lnTo>
                      <a:pt x="214" y="41"/>
                    </a:lnTo>
                    <a:lnTo>
                      <a:pt x="214" y="44"/>
                    </a:lnTo>
                    <a:lnTo>
                      <a:pt x="216" y="46"/>
                    </a:lnTo>
                    <a:lnTo>
                      <a:pt x="214" y="46"/>
                    </a:lnTo>
                    <a:lnTo>
                      <a:pt x="219" y="50"/>
                    </a:lnTo>
                    <a:lnTo>
                      <a:pt x="219" y="51"/>
                    </a:lnTo>
                    <a:lnTo>
                      <a:pt x="217" y="51"/>
                    </a:lnTo>
                    <a:lnTo>
                      <a:pt x="217" y="55"/>
                    </a:lnTo>
                    <a:lnTo>
                      <a:pt x="221" y="53"/>
                    </a:lnTo>
                    <a:lnTo>
                      <a:pt x="226" y="56"/>
                    </a:lnTo>
                    <a:lnTo>
                      <a:pt x="224" y="60"/>
                    </a:lnTo>
                    <a:lnTo>
                      <a:pt x="228" y="62"/>
                    </a:lnTo>
                    <a:lnTo>
                      <a:pt x="231" y="60"/>
                    </a:lnTo>
                    <a:lnTo>
                      <a:pt x="231" y="63"/>
                    </a:lnTo>
                    <a:lnTo>
                      <a:pt x="233" y="63"/>
                    </a:lnTo>
                    <a:lnTo>
                      <a:pt x="233" y="65"/>
                    </a:lnTo>
                    <a:lnTo>
                      <a:pt x="233" y="67"/>
                    </a:lnTo>
                    <a:lnTo>
                      <a:pt x="233" y="68"/>
                    </a:lnTo>
                    <a:lnTo>
                      <a:pt x="238" y="70"/>
                    </a:lnTo>
                    <a:lnTo>
                      <a:pt x="238" y="72"/>
                    </a:lnTo>
                    <a:lnTo>
                      <a:pt x="236" y="72"/>
                    </a:lnTo>
                    <a:lnTo>
                      <a:pt x="234" y="72"/>
                    </a:lnTo>
                    <a:lnTo>
                      <a:pt x="238" y="75"/>
                    </a:lnTo>
                    <a:lnTo>
                      <a:pt x="239" y="75"/>
                    </a:lnTo>
                    <a:lnTo>
                      <a:pt x="241" y="75"/>
                    </a:lnTo>
                    <a:lnTo>
                      <a:pt x="239" y="77"/>
                    </a:lnTo>
                    <a:lnTo>
                      <a:pt x="245" y="82"/>
                    </a:lnTo>
                    <a:lnTo>
                      <a:pt x="246" y="80"/>
                    </a:lnTo>
                    <a:lnTo>
                      <a:pt x="250" y="82"/>
                    </a:lnTo>
                    <a:lnTo>
                      <a:pt x="253" y="84"/>
                    </a:lnTo>
                    <a:lnTo>
                      <a:pt x="255" y="85"/>
                    </a:lnTo>
                    <a:lnTo>
                      <a:pt x="256" y="87"/>
                    </a:lnTo>
                    <a:lnTo>
                      <a:pt x="258" y="90"/>
                    </a:lnTo>
                    <a:lnTo>
                      <a:pt x="260" y="94"/>
                    </a:lnTo>
                    <a:lnTo>
                      <a:pt x="263" y="94"/>
                    </a:lnTo>
                    <a:lnTo>
                      <a:pt x="267" y="97"/>
                    </a:lnTo>
                    <a:lnTo>
                      <a:pt x="268" y="97"/>
                    </a:lnTo>
                    <a:close/>
                    <a:moveTo>
                      <a:pt x="46" y="138"/>
                    </a:moveTo>
                    <a:lnTo>
                      <a:pt x="47" y="136"/>
                    </a:lnTo>
                    <a:lnTo>
                      <a:pt x="49" y="136"/>
                    </a:lnTo>
                    <a:lnTo>
                      <a:pt x="51" y="136"/>
                    </a:lnTo>
                    <a:lnTo>
                      <a:pt x="51" y="140"/>
                    </a:lnTo>
                    <a:lnTo>
                      <a:pt x="51" y="141"/>
                    </a:lnTo>
                    <a:lnTo>
                      <a:pt x="49" y="143"/>
                    </a:lnTo>
                    <a:lnTo>
                      <a:pt x="46" y="145"/>
                    </a:lnTo>
                    <a:lnTo>
                      <a:pt x="44" y="143"/>
                    </a:lnTo>
                    <a:lnTo>
                      <a:pt x="42" y="143"/>
                    </a:lnTo>
                    <a:lnTo>
                      <a:pt x="42" y="141"/>
                    </a:lnTo>
                    <a:lnTo>
                      <a:pt x="41" y="141"/>
                    </a:lnTo>
                    <a:lnTo>
                      <a:pt x="41" y="138"/>
                    </a:lnTo>
                    <a:lnTo>
                      <a:pt x="42" y="136"/>
                    </a:lnTo>
                    <a:lnTo>
                      <a:pt x="46" y="138"/>
                    </a:lnTo>
                    <a:close/>
                    <a:moveTo>
                      <a:pt x="52" y="145"/>
                    </a:moveTo>
                    <a:lnTo>
                      <a:pt x="52" y="147"/>
                    </a:lnTo>
                    <a:lnTo>
                      <a:pt x="52" y="148"/>
                    </a:lnTo>
                    <a:lnTo>
                      <a:pt x="52" y="150"/>
                    </a:lnTo>
                    <a:lnTo>
                      <a:pt x="51" y="153"/>
                    </a:lnTo>
                    <a:lnTo>
                      <a:pt x="49" y="153"/>
                    </a:lnTo>
                    <a:lnTo>
                      <a:pt x="47" y="153"/>
                    </a:lnTo>
                    <a:lnTo>
                      <a:pt x="46" y="152"/>
                    </a:lnTo>
                    <a:lnTo>
                      <a:pt x="46" y="148"/>
                    </a:lnTo>
                    <a:lnTo>
                      <a:pt x="49" y="145"/>
                    </a:lnTo>
                    <a:lnTo>
                      <a:pt x="52" y="143"/>
                    </a:lnTo>
                    <a:lnTo>
                      <a:pt x="52" y="145"/>
                    </a:lnTo>
                    <a:close/>
                    <a:moveTo>
                      <a:pt x="44" y="201"/>
                    </a:moveTo>
                    <a:lnTo>
                      <a:pt x="44" y="199"/>
                    </a:lnTo>
                    <a:lnTo>
                      <a:pt x="46" y="206"/>
                    </a:lnTo>
                    <a:lnTo>
                      <a:pt x="41" y="208"/>
                    </a:lnTo>
                    <a:lnTo>
                      <a:pt x="39" y="208"/>
                    </a:lnTo>
                    <a:lnTo>
                      <a:pt x="37" y="204"/>
                    </a:lnTo>
                    <a:lnTo>
                      <a:pt x="39" y="201"/>
                    </a:lnTo>
                    <a:lnTo>
                      <a:pt x="41" y="199"/>
                    </a:lnTo>
                    <a:lnTo>
                      <a:pt x="44" y="201"/>
                    </a:lnTo>
                    <a:close/>
                    <a:moveTo>
                      <a:pt x="46" y="191"/>
                    </a:moveTo>
                    <a:lnTo>
                      <a:pt x="47" y="191"/>
                    </a:lnTo>
                    <a:lnTo>
                      <a:pt x="49" y="192"/>
                    </a:lnTo>
                    <a:lnTo>
                      <a:pt x="47" y="198"/>
                    </a:lnTo>
                    <a:lnTo>
                      <a:pt x="46" y="196"/>
                    </a:lnTo>
                    <a:lnTo>
                      <a:pt x="46" y="194"/>
                    </a:lnTo>
                    <a:lnTo>
                      <a:pt x="47" y="194"/>
                    </a:lnTo>
                    <a:lnTo>
                      <a:pt x="46" y="192"/>
                    </a:lnTo>
                    <a:lnTo>
                      <a:pt x="44" y="192"/>
                    </a:lnTo>
                    <a:lnTo>
                      <a:pt x="46" y="192"/>
                    </a:lnTo>
                    <a:lnTo>
                      <a:pt x="44" y="191"/>
                    </a:lnTo>
                    <a:lnTo>
                      <a:pt x="46" y="189"/>
                    </a:lnTo>
                    <a:lnTo>
                      <a:pt x="46" y="191"/>
                    </a:lnTo>
                    <a:close/>
                    <a:moveTo>
                      <a:pt x="42" y="141"/>
                    </a:moveTo>
                    <a:lnTo>
                      <a:pt x="42" y="143"/>
                    </a:lnTo>
                    <a:lnTo>
                      <a:pt x="44" y="143"/>
                    </a:lnTo>
                    <a:lnTo>
                      <a:pt x="44" y="145"/>
                    </a:lnTo>
                    <a:lnTo>
                      <a:pt x="44" y="147"/>
                    </a:lnTo>
                    <a:lnTo>
                      <a:pt x="42" y="147"/>
                    </a:lnTo>
                    <a:lnTo>
                      <a:pt x="41" y="143"/>
                    </a:lnTo>
                    <a:lnTo>
                      <a:pt x="41" y="145"/>
                    </a:lnTo>
                    <a:lnTo>
                      <a:pt x="41" y="143"/>
                    </a:lnTo>
                    <a:lnTo>
                      <a:pt x="41" y="141"/>
                    </a:lnTo>
                    <a:lnTo>
                      <a:pt x="42" y="141"/>
                    </a:lnTo>
                    <a:close/>
                    <a:moveTo>
                      <a:pt x="49" y="199"/>
                    </a:moveTo>
                    <a:lnTo>
                      <a:pt x="49" y="201"/>
                    </a:lnTo>
                    <a:lnTo>
                      <a:pt x="49" y="203"/>
                    </a:lnTo>
                    <a:lnTo>
                      <a:pt x="47" y="204"/>
                    </a:lnTo>
                    <a:lnTo>
                      <a:pt x="46" y="204"/>
                    </a:lnTo>
                    <a:lnTo>
                      <a:pt x="46" y="201"/>
                    </a:lnTo>
                    <a:lnTo>
                      <a:pt x="47" y="199"/>
                    </a:lnTo>
                    <a:lnTo>
                      <a:pt x="49" y="199"/>
                    </a:lnTo>
                    <a:close/>
                    <a:moveTo>
                      <a:pt x="47" y="199"/>
                    </a:moveTo>
                    <a:lnTo>
                      <a:pt x="46" y="201"/>
                    </a:lnTo>
                    <a:lnTo>
                      <a:pt x="44" y="199"/>
                    </a:lnTo>
                    <a:lnTo>
                      <a:pt x="44" y="201"/>
                    </a:lnTo>
                    <a:lnTo>
                      <a:pt x="42" y="201"/>
                    </a:lnTo>
                    <a:lnTo>
                      <a:pt x="42" y="199"/>
                    </a:lnTo>
                    <a:lnTo>
                      <a:pt x="44" y="198"/>
                    </a:lnTo>
                    <a:lnTo>
                      <a:pt x="46" y="198"/>
                    </a:lnTo>
                    <a:lnTo>
                      <a:pt x="47" y="198"/>
                    </a:lnTo>
                    <a:lnTo>
                      <a:pt x="47" y="199"/>
                    </a:lnTo>
                    <a:close/>
                    <a:moveTo>
                      <a:pt x="52" y="138"/>
                    </a:moveTo>
                    <a:lnTo>
                      <a:pt x="52" y="141"/>
                    </a:lnTo>
                    <a:lnTo>
                      <a:pt x="51" y="140"/>
                    </a:lnTo>
                    <a:lnTo>
                      <a:pt x="51" y="136"/>
                    </a:lnTo>
                    <a:lnTo>
                      <a:pt x="52" y="138"/>
                    </a:lnTo>
                    <a:close/>
                    <a:moveTo>
                      <a:pt x="41" y="210"/>
                    </a:moveTo>
                    <a:lnTo>
                      <a:pt x="44" y="210"/>
                    </a:lnTo>
                    <a:lnTo>
                      <a:pt x="44" y="211"/>
                    </a:lnTo>
                    <a:lnTo>
                      <a:pt x="41" y="211"/>
                    </a:lnTo>
                    <a:lnTo>
                      <a:pt x="41" y="210"/>
                    </a:lnTo>
                    <a:close/>
                    <a:moveTo>
                      <a:pt x="49" y="141"/>
                    </a:moveTo>
                    <a:lnTo>
                      <a:pt x="52" y="141"/>
                    </a:lnTo>
                    <a:lnTo>
                      <a:pt x="52" y="143"/>
                    </a:lnTo>
                    <a:lnTo>
                      <a:pt x="49" y="143"/>
                    </a:lnTo>
                    <a:lnTo>
                      <a:pt x="49" y="141"/>
                    </a:lnTo>
                    <a:close/>
                    <a:moveTo>
                      <a:pt x="46" y="145"/>
                    </a:moveTo>
                    <a:lnTo>
                      <a:pt x="47" y="145"/>
                    </a:lnTo>
                    <a:lnTo>
                      <a:pt x="47" y="147"/>
                    </a:lnTo>
                    <a:lnTo>
                      <a:pt x="46" y="147"/>
                    </a:lnTo>
                    <a:lnTo>
                      <a:pt x="46" y="145"/>
                    </a:lnTo>
                    <a:close/>
                    <a:moveTo>
                      <a:pt x="49" y="201"/>
                    </a:moveTo>
                    <a:lnTo>
                      <a:pt x="51" y="201"/>
                    </a:lnTo>
                    <a:lnTo>
                      <a:pt x="51" y="203"/>
                    </a:lnTo>
                    <a:lnTo>
                      <a:pt x="49" y="203"/>
                    </a:lnTo>
                    <a:lnTo>
                      <a:pt x="49" y="201"/>
                    </a:lnTo>
                    <a:close/>
                    <a:moveTo>
                      <a:pt x="41" y="213"/>
                    </a:moveTo>
                    <a:lnTo>
                      <a:pt x="42" y="213"/>
                    </a:lnTo>
                    <a:lnTo>
                      <a:pt x="42" y="215"/>
                    </a:lnTo>
                    <a:lnTo>
                      <a:pt x="41" y="215"/>
                    </a:lnTo>
                    <a:lnTo>
                      <a:pt x="41" y="213"/>
                    </a:lnTo>
                    <a:close/>
                    <a:moveTo>
                      <a:pt x="44" y="145"/>
                    </a:moveTo>
                    <a:lnTo>
                      <a:pt x="46" y="145"/>
                    </a:lnTo>
                    <a:lnTo>
                      <a:pt x="46" y="147"/>
                    </a:lnTo>
                    <a:lnTo>
                      <a:pt x="44" y="147"/>
                    </a:lnTo>
                    <a:lnTo>
                      <a:pt x="44" y="145"/>
                    </a:lnTo>
                    <a:close/>
                    <a:moveTo>
                      <a:pt x="39" y="147"/>
                    </a:moveTo>
                    <a:lnTo>
                      <a:pt x="39" y="141"/>
                    </a:lnTo>
                    <a:lnTo>
                      <a:pt x="39" y="145"/>
                    </a:lnTo>
                    <a:lnTo>
                      <a:pt x="39" y="147"/>
                    </a:lnTo>
                    <a:close/>
                    <a:moveTo>
                      <a:pt x="46" y="189"/>
                    </a:moveTo>
                    <a:lnTo>
                      <a:pt x="47" y="189"/>
                    </a:lnTo>
                    <a:lnTo>
                      <a:pt x="47" y="191"/>
                    </a:lnTo>
                    <a:lnTo>
                      <a:pt x="46" y="191"/>
                    </a:lnTo>
                    <a:lnTo>
                      <a:pt x="46" y="189"/>
                    </a:lnTo>
                    <a:close/>
                    <a:moveTo>
                      <a:pt x="44" y="143"/>
                    </a:moveTo>
                    <a:lnTo>
                      <a:pt x="44" y="147"/>
                    </a:lnTo>
                    <a:lnTo>
                      <a:pt x="44" y="143"/>
                    </a:lnTo>
                    <a:close/>
                    <a:moveTo>
                      <a:pt x="42" y="215"/>
                    </a:moveTo>
                    <a:lnTo>
                      <a:pt x="44" y="215"/>
                    </a:lnTo>
                    <a:lnTo>
                      <a:pt x="42" y="215"/>
                    </a:lnTo>
                    <a:close/>
                    <a:moveTo>
                      <a:pt x="44" y="145"/>
                    </a:moveTo>
                    <a:lnTo>
                      <a:pt x="46" y="145"/>
                    </a:lnTo>
                    <a:lnTo>
                      <a:pt x="46" y="147"/>
                    </a:lnTo>
                    <a:lnTo>
                      <a:pt x="44" y="147"/>
                    </a:lnTo>
                    <a:lnTo>
                      <a:pt x="44" y="145"/>
                    </a:lnTo>
                    <a:close/>
                    <a:moveTo>
                      <a:pt x="51" y="152"/>
                    </a:moveTo>
                    <a:lnTo>
                      <a:pt x="52" y="152"/>
                    </a:lnTo>
                    <a:lnTo>
                      <a:pt x="51" y="152"/>
                    </a:lnTo>
                    <a:close/>
                    <a:moveTo>
                      <a:pt x="44" y="153"/>
                    </a:moveTo>
                    <a:lnTo>
                      <a:pt x="46" y="153"/>
                    </a:lnTo>
                    <a:lnTo>
                      <a:pt x="46" y="155"/>
                    </a:lnTo>
                    <a:lnTo>
                      <a:pt x="44" y="155"/>
                    </a:lnTo>
                    <a:lnTo>
                      <a:pt x="44" y="153"/>
                    </a:lnTo>
                    <a:close/>
                    <a:moveTo>
                      <a:pt x="46" y="152"/>
                    </a:moveTo>
                    <a:lnTo>
                      <a:pt x="46" y="153"/>
                    </a:lnTo>
                    <a:lnTo>
                      <a:pt x="46" y="152"/>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r>
                  <a:rPr lang="en-US" sz="1200" b="1" kern="1200" dirty="0">
                    <a:latin typeface="Arial" charset="0"/>
                    <a:ea typeface="+mn-ea"/>
                    <a:cs typeface="+mn-cs"/>
                  </a:rPr>
                  <a:t>10</a:t>
                </a:r>
              </a:p>
            </p:txBody>
          </p:sp>
          <p:sp>
            <p:nvSpPr>
              <p:cNvPr id="256" name="Freeform 51">
                <a:extLst>
                  <a:ext uri="{FF2B5EF4-FFF2-40B4-BE49-F238E27FC236}">
                    <a16:creationId xmlns:a16="http://schemas.microsoft.com/office/drawing/2014/main" id="{0FB8FBEE-D590-4763-844C-51C4009299F1}"/>
                  </a:ext>
                </a:extLst>
              </p:cNvPr>
              <p:cNvSpPr>
                <a:spLocks noEditPoints="1"/>
              </p:cNvSpPr>
              <p:nvPr/>
            </p:nvSpPr>
            <p:spPr bwMode="gray">
              <a:xfrm>
                <a:off x="3506788" y="2649538"/>
                <a:ext cx="242887" cy="247650"/>
              </a:xfrm>
              <a:custGeom>
                <a:avLst/>
                <a:gdLst>
                  <a:gd name="T0" fmla="*/ 151 w 153"/>
                  <a:gd name="T1" fmla="*/ 92 h 156"/>
                  <a:gd name="T2" fmla="*/ 136 w 153"/>
                  <a:gd name="T3" fmla="*/ 98 h 156"/>
                  <a:gd name="T4" fmla="*/ 127 w 153"/>
                  <a:gd name="T5" fmla="*/ 121 h 156"/>
                  <a:gd name="T6" fmla="*/ 114 w 153"/>
                  <a:gd name="T7" fmla="*/ 131 h 156"/>
                  <a:gd name="T8" fmla="*/ 104 w 153"/>
                  <a:gd name="T9" fmla="*/ 141 h 156"/>
                  <a:gd name="T10" fmla="*/ 100 w 153"/>
                  <a:gd name="T11" fmla="*/ 148 h 156"/>
                  <a:gd name="T12" fmla="*/ 87 w 153"/>
                  <a:gd name="T13" fmla="*/ 153 h 156"/>
                  <a:gd name="T14" fmla="*/ 39 w 153"/>
                  <a:gd name="T15" fmla="*/ 132 h 156"/>
                  <a:gd name="T16" fmla="*/ 44 w 153"/>
                  <a:gd name="T17" fmla="*/ 131 h 156"/>
                  <a:gd name="T18" fmla="*/ 49 w 153"/>
                  <a:gd name="T19" fmla="*/ 124 h 156"/>
                  <a:gd name="T20" fmla="*/ 41 w 153"/>
                  <a:gd name="T21" fmla="*/ 117 h 156"/>
                  <a:gd name="T22" fmla="*/ 25 w 153"/>
                  <a:gd name="T23" fmla="*/ 112 h 156"/>
                  <a:gd name="T24" fmla="*/ 17 w 153"/>
                  <a:gd name="T25" fmla="*/ 105 h 156"/>
                  <a:gd name="T26" fmla="*/ 19 w 153"/>
                  <a:gd name="T27" fmla="*/ 93 h 156"/>
                  <a:gd name="T28" fmla="*/ 7 w 153"/>
                  <a:gd name="T29" fmla="*/ 87 h 156"/>
                  <a:gd name="T30" fmla="*/ 2 w 153"/>
                  <a:gd name="T31" fmla="*/ 76 h 156"/>
                  <a:gd name="T32" fmla="*/ 10 w 153"/>
                  <a:gd name="T33" fmla="*/ 80 h 156"/>
                  <a:gd name="T34" fmla="*/ 8 w 153"/>
                  <a:gd name="T35" fmla="*/ 80 h 156"/>
                  <a:gd name="T36" fmla="*/ 14 w 153"/>
                  <a:gd name="T37" fmla="*/ 76 h 156"/>
                  <a:gd name="T38" fmla="*/ 17 w 153"/>
                  <a:gd name="T39" fmla="*/ 73 h 156"/>
                  <a:gd name="T40" fmla="*/ 20 w 153"/>
                  <a:gd name="T41" fmla="*/ 73 h 156"/>
                  <a:gd name="T42" fmla="*/ 14 w 153"/>
                  <a:gd name="T43" fmla="*/ 68 h 156"/>
                  <a:gd name="T44" fmla="*/ 10 w 153"/>
                  <a:gd name="T45" fmla="*/ 68 h 156"/>
                  <a:gd name="T46" fmla="*/ 8 w 153"/>
                  <a:gd name="T47" fmla="*/ 70 h 156"/>
                  <a:gd name="T48" fmla="*/ 7 w 153"/>
                  <a:gd name="T49" fmla="*/ 75 h 156"/>
                  <a:gd name="T50" fmla="*/ 12 w 153"/>
                  <a:gd name="T51" fmla="*/ 59 h 156"/>
                  <a:gd name="T52" fmla="*/ 7 w 153"/>
                  <a:gd name="T53" fmla="*/ 56 h 156"/>
                  <a:gd name="T54" fmla="*/ 5 w 153"/>
                  <a:gd name="T55" fmla="*/ 46 h 156"/>
                  <a:gd name="T56" fmla="*/ 20 w 153"/>
                  <a:gd name="T57" fmla="*/ 37 h 156"/>
                  <a:gd name="T58" fmla="*/ 29 w 153"/>
                  <a:gd name="T59" fmla="*/ 34 h 156"/>
                  <a:gd name="T60" fmla="*/ 34 w 153"/>
                  <a:gd name="T61" fmla="*/ 24 h 156"/>
                  <a:gd name="T62" fmla="*/ 37 w 153"/>
                  <a:gd name="T63" fmla="*/ 15 h 156"/>
                  <a:gd name="T64" fmla="*/ 41 w 153"/>
                  <a:gd name="T65" fmla="*/ 10 h 156"/>
                  <a:gd name="T66" fmla="*/ 71 w 153"/>
                  <a:gd name="T67" fmla="*/ 3 h 156"/>
                  <a:gd name="T68" fmla="*/ 109 w 153"/>
                  <a:gd name="T69" fmla="*/ 7 h 156"/>
                  <a:gd name="T70" fmla="*/ 121 w 153"/>
                  <a:gd name="T71" fmla="*/ 17 h 156"/>
                  <a:gd name="T72" fmla="*/ 124 w 153"/>
                  <a:gd name="T73" fmla="*/ 27 h 156"/>
                  <a:gd name="T74" fmla="*/ 134 w 153"/>
                  <a:gd name="T75" fmla="*/ 36 h 156"/>
                  <a:gd name="T76" fmla="*/ 131 w 153"/>
                  <a:gd name="T77" fmla="*/ 46 h 156"/>
                  <a:gd name="T78" fmla="*/ 141 w 153"/>
                  <a:gd name="T79" fmla="*/ 61 h 156"/>
                  <a:gd name="T80" fmla="*/ 138 w 153"/>
                  <a:gd name="T81" fmla="*/ 73 h 156"/>
                  <a:gd name="T82" fmla="*/ 133 w 153"/>
                  <a:gd name="T83" fmla="*/ 87 h 156"/>
                  <a:gd name="T84" fmla="*/ 148 w 153"/>
                  <a:gd name="T85" fmla="*/ 76 h 156"/>
                  <a:gd name="T86" fmla="*/ 36 w 153"/>
                  <a:gd name="T87" fmla="*/ 121 h 156"/>
                  <a:gd name="T88" fmla="*/ 39 w 153"/>
                  <a:gd name="T89" fmla="*/ 132 h 156"/>
                  <a:gd name="T90" fmla="*/ 22 w 153"/>
                  <a:gd name="T91" fmla="*/ 121 h 156"/>
                  <a:gd name="T92" fmla="*/ 41 w 153"/>
                  <a:gd name="T93" fmla="*/ 122 h 156"/>
                  <a:gd name="T94" fmla="*/ 41 w 153"/>
                  <a:gd name="T95" fmla="*/ 122 h 156"/>
                  <a:gd name="T96" fmla="*/ 17 w 153"/>
                  <a:gd name="T97" fmla="*/ 73 h 156"/>
                  <a:gd name="T98" fmla="*/ 12 w 153"/>
                  <a:gd name="T99" fmla="*/ 75 h 156"/>
                  <a:gd name="T100" fmla="*/ 37 w 153"/>
                  <a:gd name="T101" fmla="*/ 119 h 156"/>
                  <a:gd name="T102" fmla="*/ 12 w 153"/>
                  <a:gd name="T103" fmla="*/ 119 h 156"/>
                  <a:gd name="T104" fmla="*/ 7 w 153"/>
                  <a:gd name="T105" fmla="*/ 93 h 156"/>
                  <a:gd name="T106" fmla="*/ 41 w 153"/>
                  <a:gd name="T107" fmla="*/ 117 h 156"/>
                  <a:gd name="T108" fmla="*/ 15 w 153"/>
                  <a:gd name="T109" fmla="*/ 73 h 156"/>
                  <a:gd name="T110" fmla="*/ 8 w 153"/>
                  <a:gd name="T111" fmla="*/ 71 h 156"/>
                  <a:gd name="T112" fmla="*/ 10 w 153"/>
                  <a:gd name="T113" fmla="*/ 56 h 156"/>
                  <a:gd name="T114" fmla="*/ 41 w 153"/>
                  <a:gd name="T115" fmla="*/ 121 h 156"/>
                  <a:gd name="T116" fmla="*/ 41 w 153"/>
                  <a:gd name="T117" fmla="*/ 131 h 156"/>
                  <a:gd name="T118" fmla="*/ 8 w 153"/>
                  <a:gd name="T119" fmla="*/ 56 h 156"/>
                  <a:gd name="T120" fmla="*/ 12 w 153"/>
                  <a:gd name="T121" fmla="*/ 5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 h="156">
                    <a:moveTo>
                      <a:pt x="153" y="76"/>
                    </a:moveTo>
                    <a:lnTo>
                      <a:pt x="153" y="85"/>
                    </a:lnTo>
                    <a:lnTo>
                      <a:pt x="153" y="87"/>
                    </a:lnTo>
                    <a:lnTo>
                      <a:pt x="151" y="87"/>
                    </a:lnTo>
                    <a:lnTo>
                      <a:pt x="153" y="90"/>
                    </a:lnTo>
                    <a:lnTo>
                      <a:pt x="151" y="92"/>
                    </a:lnTo>
                    <a:lnTo>
                      <a:pt x="150" y="93"/>
                    </a:lnTo>
                    <a:lnTo>
                      <a:pt x="148" y="93"/>
                    </a:lnTo>
                    <a:lnTo>
                      <a:pt x="144" y="93"/>
                    </a:lnTo>
                    <a:lnTo>
                      <a:pt x="143" y="93"/>
                    </a:lnTo>
                    <a:lnTo>
                      <a:pt x="138" y="98"/>
                    </a:lnTo>
                    <a:lnTo>
                      <a:pt x="136" y="98"/>
                    </a:lnTo>
                    <a:lnTo>
                      <a:pt x="138" y="112"/>
                    </a:lnTo>
                    <a:lnTo>
                      <a:pt x="134" y="114"/>
                    </a:lnTo>
                    <a:lnTo>
                      <a:pt x="133" y="114"/>
                    </a:lnTo>
                    <a:lnTo>
                      <a:pt x="129" y="119"/>
                    </a:lnTo>
                    <a:lnTo>
                      <a:pt x="127" y="119"/>
                    </a:lnTo>
                    <a:lnTo>
                      <a:pt x="127" y="121"/>
                    </a:lnTo>
                    <a:lnTo>
                      <a:pt x="126" y="122"/>
                    </a:lnTo>
                    <a:lnTo>
                      <a:pt x="126" y="124"/>
                    </a:lnTo>
                    <a:lnTo>
                      <a:pt x="124" y="124"/>
                    </a:lnTo>
                    <a:lnTo>
                      <a:pt x="121" y="127"/>
                    </a:lnTo>
                    <a:lnTo>
                      <a:pt x="121" y="126"/>
                    </a:lnTo>
                    <a:lnTo>
                      <a:pt x="114" y="131"/>
                    </a:lnTo>
                    <a:lnTo>
                      <a:pt x="112" y="132"/>
                    </a:lnTo>
                    <a:lnTo>
                      <a:pt x="109" y="134"/>
                    </a:lnTo>
                    <a:lnTo>
                      <a:pt x="109" y="136"/>
                    </a:lnTo>
                    <a:lnTo>
                      <a:pt x="107" y="139"/>
                    </a:lnTo>
                    <a:lnTo>
                      <a:pt x="105" y="139"/>
                    </a:lnTo>
                    <a:lnTo>
                      <a:pt x="104" y="141"/>
                    </a:lnTo>
                    <a:lnTo>
                      <a:pt x="104" y="139"/>
                    </a:lnTo>
                    <a:lnTo>
                      <a:pt x="102" y="143"/>
                    </a:lnTo>
                    <a:lnTo>
                      <a:pt x="100" y="141"/>
                    </a:lnTo>
                    <a:lnTo>
                      <a:pt x="100" y="144"/>
                    </a:lnTo>
                    <a:lnTo>
                      <a:pt x="99" y="144"/>
                    </a:lnTo>
                    <a:lnTo>
                      <a:pt x="100" y="148"/>
                    </a:lnTo>
                    <a:lnTo>
                      <a:pt x="99" y="148"/>
                    </a:lnTo>
                    <a:lnTo>
                      <a:pt x="99" y="151"/>
                    </a:lnTo>
                    <a:lnTo>
                      <a:pt x="95" y="153"/>
                    </a:lnTo>
                    <a:lnTo>
                      <a:pt x="95" y="155"/>
                    </a:lnTo>
                    <a:lnTo>
                      <a:pt x="93" y="156"/>
                    </a:lnTo>
                    <a:lnTo>
                      <a:pt x="87" y="153"/>
                    </a:lnTo>
                    <a:lnTo>
                      <a:pt x="88" y="153"/>
                    </a:lnTo>
                    <a:lnTo>
                      <a:pt x="87" y="153"/>
                    </a:lnTo>
                    <a:lnTo>
                      <a:pt x="83" y="149"/>
                    </a:lnTo>
                    <a:lnTo>
                      <a:pt x="71" y="143"/>
                    </a:lnTo>
                    <a:lnTo>
                      <a:pt x="49" y="134"/>
                    </a:lnTo>
                    <a:lnTo>
                      <a:pt x="39" y="132"/>
                    </a:lnTo>
                    <a:lnTo>
                      <a:pt x="42" y="131"/>
                    </a:lnTo>
                    <a:lnTo>
                      <a:pt x="44" y="131"/>
                    </a:lnTo>
                    <a:lnTo>
                      <a:pt x="48" y="132"/>
                    </a:lnTo>
                    <a:lnTo>
                      <a:pt x="48" y="131"/>
                    </a:lnTo>
                    <a:lnTo>
                      <a:pt x="46" y="131"/>
                    </a:lnTo>
                    <a:lnTo>
                      <a:pt x="44" y="131"/>
                    </a:lnTo>
                    <a:lnTo>
                      <a:pt x="42" y="131"/>
                    </a:lnTo>
                    <a:lnTo>
                      <a:pt x="41" y="129"/>
                    </a:lnTo>
                    <a:lnTo>
                      <a:pt x="44" y="126"/>
                    </a:lnTo>
                    <a:lnTo>
                      <a:pt x="48" y="126"/>
                    </a:lnTo>
                    <a:lnTo>
                      <a:pt x="48" y="124"/>
                    </a:lnTo>
                    <a:lnTo>
                      <a:pt x="49" y="124"/>
                    </a:lnTo>
                    <a:lnTo>
                      <a:pt x="48" y="124"/>
                    </a:lnTo>
                    <a:lnTo>
                      <a:pt x="46" y="124"/>
                    </a:lnTo>
                    <a:lnTo>
                      <a:pt x="42" y="124"/>
                    </a:lnTo>
                    <a:lnTo>
                      <a:pt x="42" y="121"/>
                    </a:lnTo>
                    <a:lnTo>
                      <a:pt x="39" y="117"/>
                    </a:lnTo>
                    <a:lnTo>
                      <a:pt x="41" y="117"/>
                    </a:lnTo>
                    <a:lnTo>
                      <a:pt x="41" y="114"/>
                    </a:lnTo>
                    <a:lnTo>
                      <a:pt x="36" y="117"/>
                    </a:lnTo>
                    <a:lnTo>
                      <a:pt x="32" y="115"/>
                    </a:lnTo>
                    <a:lnTo>
                      <a:pt x="31" y="115"/>
                    </a:lnTo>
                    <a:lnTo>
                      <a:pt x="25" y="114"/>
                    </a:lnTo>
                    <a:lnTo>
                      <a:pt x="25" y="112"/>
                    </a:lnTo>
                    <a:lnTo>
                      <a:pt x="27" y="110"/>
                    </a:lnTo>
                    <a:lnTo>
                      <a:pt x="25" y="112"/>
                    </a:lnTo>
                    <a:lnTo>
                      <a:pt x="22" y="110"/>
                    </a:lnTo>
                    <a:lnTo>
                      <a:pt x="20" y="109"/>
                    </a:lnTo>
                    <a:lnTo>
                      <a:pt x="19" y="107"/>
                    </a:lnTo>
                    <a:lnTo>
                      <a:pt x="17" y="105"/>
                    </a:lnTo>
                    <a:lnTo>
                      <a:pt x="20" y="104"/>
                    </a:lnTo>
                    <a:lnTo>
                      <a:pt x="24" y="104"/>
                    </a:lnTo>
                    <a:lnTo>
                      <a:pt x="20" y="102"/>
                    </a:lnTo>
                    <a:lnTo>
                      <a:pt x="20" y="98"/>
                    </a:lnTo>
                    <a:lnTo>
                      <a:pt x="20" y="97"/>
                    </a:lnTo>
                    <a:lnTo>
                      <a:pt x="19" y="93"/>
                    </a:lnTo>
                    <a:lnTo>
                      <a:pt x="15" y="90"/>
                    </a:lnTo>
                    <a:lnTo>
                      <a:pt x="12" y="90"/>
                    </a:lnTo>
                    <a:lnTo>
                      <a:pt x="7" y="93"/>
                    </a:lnTo>
                    <a:lnTo>
                      <a:pt x="8" y="90"/>
                    </a:lnTo>
                    <a:lnTo>
                      <a:pt x="7" y="88"/>
                    </a:lnTo>
                    <a:lnTo>
                      <a:pt x="7" y="87"/>
                    </a:lnTo>
                    <a:lnTo>
                      <a:pt x="5" y="85"/>
                    </a:lnTo>
                    <a:lnTo>
                      <a:pt x="3" y="83"/>
                    </a:lnTo>
                    <a:lnTo>
                      <a:pt x="0" y="80"/>
                    </a:lnTo>
                    <a:lnTo>
                      <a:pt x="2" y="78"/>
                    </a:lnTo>
                    <a:lnTo>
                      <a:pt x="0" y="76"/>
                    </a:lnTo>
                    <a:lnTo>
                      <a:pt x="2" y="76"/>
                    </a:lnTo>
                    <a:lnTo>
                      <a:pt x="2" y="78"/>
                    </a:lnTo>
                    <a:lnTo>
                      <a:pt x="2" y="76"/>
                    </a:lnTo>
                    <a:lnTo>
                      <a:pt x="3" y="76"/>
                    </a:lnTo>
                    <a:lnTo>
                      <a:pt x="5" y="76"/>
                    </a:lnTo>
                    <a:lnTo>
                      <a:pt x="8" y="80"/>
                    </a:lnTo>
                    <a:lnTo>
                      <a:pt x="10" y="80"/>
                    </a:lnTo>
                    <a:lnTo>
                      <a:pt x="12" y="83"/>
                    </a:lnTo>
                    <a:lnTo>
                      <a:pt x="12" y="81"/>
                    </a:lnTo>
                    <a:lnTo>
                      <a:pt x="14" y="83"/>
                    </a:lnTo>
                    <a:lnTo>
                      <a:pt x="12" y="81"/>
                    </a:lnTo>
                    <a:lnTo>
                      <a:pt x="12" y="80"/>
                    </a:lnTo>
                    <a:lnTo>
                      <a:pt x="8" y="80"/>
                    </a:lnTo>
                    <a:lnTo>
                      <a:pt x="8" y="78"/>
                    </a:lnTo>
                    <a:lnTo>
                      <a:pt x="10" y="78"/>
                    </a:lnTo>
                    <a:lnTo>
                      <a:pt x="10" y="76"/>
                    </a:lnTo>
                    <a:lnTo>
                      <a:pt x="12" y="76"/>
                    </a:lnTo>
                    <a:lnTo>
                      <a:pt x="14" y="75"/>
                    </a:lnTo>
                    <a:lnTo>
                      <a:pt x="14" y="76"/>
                    </a:lnTo>
                    <a:lnTo>
                      <a:pt x="15" y="78"/>
                    </a:lnTo>
                    <a:lnTo>
                      <a:pt x="15" y="76"/>
                    </a:lnTo>
                    <a:lnTo>
                      <a:pt x="14" y="76"/>
                    </a:lnTo>
                    <a:lnTo>
                      <a:pt x="14" y="75"/>
                    </a:lnTo>
                    <a:lnTo>
                      <a:pt x="15" y="73"/>
                    </a:lnTo>
                    <a:lnTo>
                      <a:pt x="17" y="73"/>
                    </a:lnTo>
                    <a:lnTo>
                      <a:pt x="17" y="75"/>
                    </a:lnTo>
                    <a:lnTo>
                      <a:pt x="19" y="75"/>
                    </a:lnTo>
                    <a:lnTo>
                      <a:pt x="22" y="73"/>
                    </a:lnTo>
                    <a:lnTo>
                      <a:pt x="24" y="73"/>
                    </a:lnTo>
                    <a:lnTo>
                      <a:pt x="20" y="71"/>
                    </a:lnTo>
                    <a:lnTo>
                      <a:pt x="20" y="73"/>
                    </a:lnTo>
                    <a:lnTo>
                      <a:pt x="19" y="71"/>
                    </a:lnTo>
                    <a:lnTo>
                      <a:pt x="15" y="71"/>
                    </a:lnTo>
                    <a:lnTo>
                      <a:pt x="12" y="73"/>
                    </a:lnTo>
                    <a:lnTo>
                      <a:pt x="10" y="71"/>
                    </a:lnTo>
                    <a:lnTo>
                      <a:pt x="15" y="68"/>
                    </a:lnTo>
                    <a:lnTo>
                      <a:pt x="14" y="68"/>
                    </a:lnTo>
                    <a:lnTo>
                      <a:pt x="14" y="66"/>
                    </a:lnTo>
                    <a:lnTo>
                      <a:pt x="12" y="68"/>
                    </a:lnTo>
                    <a:lnTo>
                      <a:pt x="12" y="66"/>
                    </a:lnTo>
                    <a:lnTo>
                      <a:pt x="12" y="70"/>
                    </a:lnTo>
                    <a:lnTo>
                      <a:pt x="10" y="70"/>
                    </a:lnTo>
                    <a:lnTo>
                      <a:pt x="10" y="68"/>
                    </a:lnTo>
                    <a:lnTo>
                      <a:pt x="10" y="70"/>
                    </a:lnTo>
                    <a:lnTo>
                      <a:pt x="8" y="70"/>
                    </a:lnTo>
                    <a:lnTo>
                      <a:pt x="8" y="68"/>
                    </a:lnTo>
                    <a:lnTo>
                      <a:pt x="8" y="66"/>
                    </a:lnTo>
                    <a:lnTo>
                      <a:pt x="7" y="68"/>
                    </a:lnTo>
                    <a:lnTo>
                      <a:pt x="8" y="70"/>
                    </a:lnTo>
                    <a:lnTo>
                      <a:pt x="10" y="70"/>
                    </a:lnTo>
                    <a:lnTo>
                      <a:pt x="8" y="70"/>
                    </a:lnTo>
                    <a:lnTo>
                      <a:pt x="10" y="71"/>
                    </a:lnTo>
                    <a:lnTo>
                      <a:pt x="8" y="73"/>
                    </a:lnTo>
                    <a:lnTo>
                      <a:pt x="8" y="75"/>
                    </a:lnTo>
                    <a:lnTo>
                      <a:pt x="7" y="75"/>
                    </a:lnTo>
                    <a:lnTo>
                      <a:pt x="3" y="68"/>
                    </a:lnTo>
                    <a:lnTo>
                      <a:pt x="3" y="59"/>
                    </a:lnTo>
                    <a:lnTo>
                      <a:pt x="5" y="58"/>
                    </a:lnTo>
                    <a:lnTo>
                      <a:pt x="8" y="59"/>
                    </a:lnTo>
                    <a:lnTo>
                      <a:pt x="10" y="59"/>
                    </a:lnTo>
                    <a:lnTo>
                      <a:pt x="12" y="59"/>
                    </a:lnTo>
                    <a:lnTo>
                      <a:pt x="12" y="58"/>
                    </a:lnTo>
                    <a:lnTo>
                      <a:pt x="8" y="58"/>
                    </a:lnTo>
                    <a:lnTo>
                      <a:pt x="7" y="56"/>
                    </a:lnTo>
                    <a:lnTo>
                      <a:pt x="12" y="54"/>
                    </a:lnTo>
                    <a:lnTo>
                      <a:pt x="8" y="54"/>
                    </a:lnTo>
                    <a:lnTo>
                      <a:pt x="7" y="56"/>
                    </a:lnTo>
                    <a:lnTo>
                      <a:pt x="5" y="54"/>
                    </a:lnTo>
                    <a:lnTo>
                      <a:pt x="3" y="53"/>
                    </a:lnTo>
                    <a:lnTo>
                      <a:pt x="3" y="51"/>
                    </a:lnTo>
                    <a:lnTo>
                      <a:pt x="2" y="53"/>
                    </a:lnTo>
                    <a:lnTo>
                      <a:pt x="0" y="47"/>
                    </a:lnTo>
                    <a:lnTo>
                      <a:pt x="5" y="46"/>
                    </a:lnTo>
                    <a:lnTo>
                      <a:pt x="8" y="47"/>
                    </a:lnTo>
                    <a:lnTo>
                      <a:pt x="12" y="47"/>
                    </a:lnTo>
                    <a:lnTo>
                      <a:pt x="19" y="42"/>
                    </a:lnTo>
                    <a:lnTo>
                      <a:pt x="17" y="39"/>
                    </a:lnTo>
                    <a:lnTo>
                      <a:pt x="19" y="36"/>
                    </a:lnTo>
                    <a:lnTo>
                      <a:pt x="20" y="37"/>
                    </a:lnTo>
                    <a:lnTo>
                      <a:pt x="22" y="37"/>
                    </a:lnTo>
                    <a:lnTo>
                      <a:pt x="22" y="36"/>
                    </a:lnTo>
                    <a:lnTo>
                      <a:pt x="24" y="36"/>
                    </a:lnTo>
                    <a:lnTo>
                      <a:pt x="27" y="36"/>
                    </a:lnTo>
                    <a:lnTo>
                      <a:pt x="27" y="34"/>
                    </a:lnTo>
                    <a:lnTo>
                      <a:pt x="29" y="34"/>
                    </a:lnTo>
                    <a:lnTo>
                      <a:pt x="27" y="30"/>
                    </a:lnTo>
                    <a:lnTo>
                      <a:pt x="31" y="30"/>
                    </a:lnTo>
                    <a:lnTo>
                      <a:pt x="31" y="29"/>
                    </a:lnTo>
                    <a:lnTo>
                      <a:pt x="32" y="30"/>
                    </a:lnTo>
                    <a:lnTo>
                      <a:pt x="32" y="27"/>
                    </a:lnTo>
                    <a:lnTo>
                      <a:pt x="34" y="24"/>
                    </a:lnTo>
                    <a:lnTo>
                      <a:pt x="32" y="24"/>
                    </a:lnTo>
                    <a:lnTo>
                      <a:pt x="34" y="22"/>
                    </a:lnTo>
                    <a:lnTo>
                      <a:pt x="36" y="20"/>
                    </a:lnTo>
                    <a:lnTo>
                      <a:pt x="36" y="17"/>
                    </a:lnTo>
                    <a:lnTo>
                      <a:pt x="37" y="17"/>
                    </a:lnTo>
                    <a:lnTo>
                      <a:pt x="37" y="15"/>
                    </a:lnTo>
                    <a:lnTo>
                      <a:pt x="39" y="13"/>
                    </a:lnTo>
                    <a:lnTo>
                      <a:pt x="39" y="15"/>
                    </a:lnTo>
                    <a:lnTo>
                      <a:pt x="39" y="13"/>
                    </a:lnTo>
                    <a:lnTo>
                      <a:pt x="41" y="13"/>
                    </a:lnTo>
                    <a:lnTo>
                      <a:pt x="41" y="12"/>
                    </a:lnTo>
                    <a:lnTo>
                      <a:pt x="41" y="10"/>
                    </a:lnTo>
                    <a:lnTo>
                      <a:pt x="41" y="7"/>
                    </a:lnTo>
                    <a:lnTo>
                      <a:pt x="42" y="7"/>
                    </a:lnTo>
                    <a:lnTo>
                      <a:pt x="54" y="3"/>
                    </a:lnTo>
                    <a:lnTo>
                      <a:pt x="56" y="5"/>
                    </a:lnTo>
                    <a:lnTo>
                      <a:pt x="59" y="7"/>
                    </a:lnTo>
                    <a:lnTo>
                      <a:pt x="71" y="3"/>
                    </a:lnTo>
                    <a:lnTo>
                      <a:pt x="71" y="0"/>
                    </a:lnTo>
                    <a:lnTo>
                      <a:pt x="88" y="0"/>
                    </a:lnTo>
                    <a:lnTo>
                      <a:pt x="107" y="0"/>
                    </a:lnTo>
                    <a:lnTo>
                      <a:pt x="107" y="1"/>
                    </a:lnTo>
                    <a:lnTo>
                      <a:pt x="109" y="3"/>
                    </a:lnTo>
                    <a:lnTo>
                      <a:pt x="109" y="7"/>
                    </a:lnTo>
                    <a:lnTo>
                      <a:pt x="114" y="8"/>
                    </a:lnTo>
                    <a:lnTo>
                      <a:pt x="117" y="13"/>
                    </a:lnTo>
                    <a:lnTo>
                      <a:pt x="119" y="17"/>
                    </a:lnTo>
                    <a:lnTo>
                      <a:pt x="121" y="17"/>
                    </a:lnTo>
                    <a:lnTo>
                      <a:pt x="121" y="18"/>
                    </a:lnTo>
                    <a:lnTo>
                      <a:pt x="121" y="17"/>
                    </a:lnTo>
                    <a:lnTo>
                      <a:pt x="121" y="20"/>
                    </a:lnTo>
                    <a:lnTo>
                      <a:pt x="124" y="22"/>
                    </a:lnTo>
                    <a:lnTo>
                      <a:pt x="124" y="24"/>
                    </a:lnTo>
                    <a:lnTo>
                      <a:pt x="126" y="24"/>
                    </a:lnTo>
                    <a:lnTo>
                      <a:pt x="124" y="25"/>
                    </a:lnTo>
                    <a:lnTo>
                      <a:pt x="124" y="27"/>
                    </a:lnTo>
                    <a:lnTo>
                      <a:pt x="127" y="29"/>
                    </a:lnTo>
                    <a:lnTo>
                      <a:pt x="126" y="30"/>
                    </a:lnTo>
                    <a:lnTo>
                      <a:pt x="129" y="30"/>
                    </a:lnTo>
                    <a:lnTo>
                      <a:pt x="131" y="32"/>
                    </a:lnTo>
                    <a:lnTo>
                      <a:pt x="133" y="32"/>
                    </a:lnTo>
                    <a:lnTo>
                      <a:pt x="134" y="36"/>
                    </a:lnTo>
                    <a:lnTo>
                      <a:pt x="133" y="37"/>
                    </a:lnTo>
                    <a:lnTo>
                      <a:pt x="134" y="39"/>
                    </a:lnTo>
                    <a:lnTo>
                      <a:pt x="133" y="41"/>
                    </a:lnTo>
                    <a:lnTo>
                      <a:pt x="131" y="41"/>
                    </a:lnTo>
                    <a:lnTo>
                      <a:pt x="131" y="42"/>
                    </a:lnTo>
                    <a:lnTo>
                      <a:pt x="131" y="46"/>
                    </a:lnTo>
                    <a:lnTo>
                      <a:pt x="134" y="46"/>
                    </a:lnTo>
                    <a:lnTo>
                      <a:pt x="138" y="47"/>
                    </a:lnTo>
                    <a:lnTo>
                      <a:pt x="138" y="53"/>
                    </a:lnTo>
                    <a:lnTo>
                      <a:pt x="139" y="58"/>
                    </a:lnTo>
                    <a:lnTo>
                      <a:pt x="139" y="61"/>
                    </a:lnTo>
                    <a:lnTo>
                      <a:pt x="141" y="61"/>
                    </a:lnTo>
                    <a:lnTo>
                      <a:pt x="141" y="64"/>
                    </a:lnTo>
                    <a:lnTo>
                      <a:pt x="143" y="64"/>
                    </a:lnTo>
                    <a:lnTo>
                      <a:pt x="144" y="66"/>
                    </a:lnTo>
                    <a:lnTo>
                      <a:pt x="143" y="70"/>
                    </a:lnTo>
                    <a:lnTo>
                      <a:pt x="138" y="71"/>
                    </a:lnTo>
                    <a:lnTo>
                      <a:pt x="138" y="73"/>
                    </a:lnTo>
                    <a:lnTo>
                      <a:pt x="136" y="73"/>
                    </a:lnTo>
                    <a:lnTo>
                      <a:pt x="136" y="76"/>
                    </a:lnTo>
                    <a:lnTo>
                      <a:pt x="134" y="80"/>
                    </a:lnTo>
                    <a:lnTo>
                      <a:pt x="136" y="81"/>
                    </a:lnTo>
                    <a:lnTo>
                      <a:pt x="133" y="81"/>
                    </a:lnTo>
                    <a:lnTo>
                      <a:pt x="133" y="87"/>
                    </a:lnTo>
                    <a:lnTo>
                      <a:pt x="134" y="83"/>
                    </a:lnTo>
                    <a:lnTo>
                      <a:pt x="138" y="85"/>
                    </a:lnTo>
                    <a:lnTo>
                      <a:pt x="139" y="85"/>
                    </a:lnTo>
                    <a:lnTo>
                      <a:pt x="141" y="85"/>
                    </a:lnTo>
                    <a:lnTo>
                      <a:pt x="148" y="78"/>
                    </a:lnTo>
                    <a:lnTo>
                      <a:pt x="148" y="76"/>
                    </a:lnTo>
                    <a:lnTo>
                      <a:pt x="150" y="76"/>
                    </a:lnTo>
                    <a:lnTo>
                      <a:pt x="151" y="76"/>
                    </a:lnTo>
                    <a:lnTo>
                      <a:pt x="153" y="76"/>
                    </a:lnTo>
                    <a:close/>
                    <a:moveTo>
                      <a:pt x="36" y="119"/>
                    </a:moveTo>
                    <a:lnTo>
                      <a:pt x="37" y="121"/>
                    </a:lnTo>
                    <a:lnTo>
                      <a:pt x="36" y="121"/>
                    </a:lnTo>
                    <a:lnTo>
                      <a:pt x="36" y="122"/>
                    </a:lnTo>
                    <a:lnTo>
                      <a:pt x="37" y="124"/>
                    </a:lnTo>
                    <a:lnTo>
                      <a:pt x="41" y="124"/>
                    </a:lnTo>
                    <a:lnTo>
                      <a:pt x="41" y="127"/>
                    </a:lnTo>
                    <a:lnTo>
                      <a:pt x="39" y="127"/>
                    </a:lnTo>
                    <a:lnTo>
                      <a:pt x="39" y="132"/>
                    </a:lnTo>
                    <a:lnTo>
                      <a:pt x="37" y="132"/>
                    </a:lnTo>
                    <a:lnTo>
                      <a:pt x="37" y="129"/>
                    </a:lnTo>
                    <a:lnTo>
                      <a:pt x="34" y="127"/>
                    </a:lnTo>
                    <a:lnTo>
                      <a:pt x="17" y="122"/>
                    </a:lnTo>
                    <a:lnTo>
                      <a:pt x="20" y="122"/>
                    </a:lnTo>
                    <a:lnTo>
                      <a:pt x="22" y="121"/>
                    </a:lnTo>
                    <a:lnTo>
                      <a:pt x="24" y="121"/>
                    </a:lnTo>
                    <a:lnTo>
                      <a:pt x="25" y="121"/>
                    </a:lnTo>
                    <a:lnTo>
                      <a:pt x="29" y="121"/>
                    </a:lnTo>
                    <a:lnTo>
                      <a:pt x="31" y="119"/>
                    </a:lnTo>
                    <a:lnTo>
                      <a:pt x="36" y="119"/>
                    </a:lnTo>
                    <a:close/>
                    <a:moveTo>
                      <a:pt x="41" y="122"/>
                    </a:moveTo>
                    <a:lnTo>
                      <a:pt x="41" y="124"/>
                    </a:lnTo>
                    <a:lnTo>
                      <a:pt x="39" y="124"/>
                    </a:lnTo>
                    <a:lnTo>
                      <a:pt x="37" y="124"/>
                    </a:lnTo>
                    <a:lnTo>
                      <a:pt x="36" y="122"/>
                    </a:lnTo>
                    <a:lnTo>
                      <a:pt x="37" y="121"/>
                    </a:lnTo>
                    <a:lnTo>
                      <a:pt x="41" y="122"/>
                    </a:lnTo>
                    <a:close/>
                    <a:moveTo>
                      <a:pt x="3" y="54"/>
                    </a:moveTo>
                    <a:lnTo>
                      <a:pt x="5" y="54"/>
                    </a:lnTo>
                    <a:lnTo>
                      <a:pt x="5" y="56"/>
                    </a:lnTo>
                    <a:lnTo>
                      <a:pt x="3" y="56"/>
                    </a:lnTo>
                    <a:lnTo>
                      <a:pt x="3" y="54"/>
                    </a:lnTo>
                    <a:close/>
                    <a:moveTo>
                      <a:pt x="17" y="73"/>
                    </a:moveTo>
                    <a:lnTo>
                      <a:pt x="19" y="73"/>
                    </a:lnTo>
                    <a:lnTo>
                      <a:pt x="19" y="75"/>
                    </a:lnTo>
                    <a:lnTo>
                      <a:pt x="17" y="75"/>
                    </a:lnTo>
                    <a:lnTo>
                      <a:pt x="17" y="73"/>
                    </a:lnTo>
                    <a:close/>
                    <a:moveTo>
                      <a:pt x="12" y="73"/>
                    </a:moveTo>
                    <a:lnTo>
                      <a:pt x="12" y="75"/>
                    </a:lnTo>
                    <a:lnTo>
                      <a:pt x="12" y="73"/>
                    </a:lnTo>
                    <a:close/>
                    <a:moveTo>
                      <a:pt x="37" y="119"/>
                    </a:moveTo>
                    <a:lnTo>
                      <a:pt x="39" y="119"/>
                    </a:lnTo>
                    <a:lnTo>
                      <a:pt x="39" y="121"/>
                    </a:lnTo>
                    <a:lnTo>
                      <a:pt x="37" y="121"/>
                    </a:lnTo>
                    <a:lnTo>
                      <a:pt x="37" y="119"/>
                    </a:lnTo>
                    <a:close/>
                    <a:moveTo>
                      <a:pt x="44" y="131"/>
                    </a:moveTo>
                    <a:lnTo>
                      <a:pt x="48" y="131"/>
                    </a:lnTo>
                    <a:lnTo>
                      <a:pt x="48" y="132"/>
                    </a:lnTo>
                    <a:lnTo>
                      <a:pt x="44" y="132"/>
                    </a:lnTo>
                    <a:lnTo>
                      <a:pt x="44" y="131"/>
                    </a:lnTo>
                    <a:close/>
                    <a:moveTo>
                      <a:pt x="12" y="119"/>
                    </a:moveTo>
                    <a:lnTo>
                      <a:pt x="14" y="119"/>
                    </a:lnTo>
                    <a:lnTo>
                      <a:pt x="14" y="121"/>
                    </a:lnTo>
                    <a:lnTo>
                      <a:pt x="12" y="121"/>
                    </a:lnTo>
                    <a:lnTo>
                      <a:pt x="12" y="119"/>
                    </a:lnTo>
                    <a:close/>
                    <a:moveTo>
                      <a:pt x="3" y="93"/>
                    </a:moveTo>
                    <a:lnTo>
                      <a:pt x="7" y="93"/>
                    </a:lnTo>
                    <a:lnTo>
                      <a:pt x="7" y="97"/>
                    </a:lnTo>
                    <a:lnTo>
                      <a:pt x="3" y="97"/>
                    </a:lnTo>
                    <a:lnTo>
                      <a:pt x="3" y="93"/>
                    </a:lnTo>
                    <a:close/>
                    <a:moveTo>
                      <a:pt x="39" y="115"/>
                    </a:moveTo>
                    <a:lnTo>
                      <a:pt x="41" y="115"/>
                    </a:lnTo>
                    <a:lnTo>
                      <a:pt x="41" y="117"/>
                    </a:lnTo>
                    <a:lnTo>
                      <a:pt x="39" y="117"/>
                    </a:lnTo>
                    <a:lnTo>
                      <a:pt x="39" y="115"/>
                    </a:lnTo>
                    <a:close/>
                    <a:moveTo>
                      <a:pt x="15" y="71"/>
                    </a:moveTo>
                    <a:lnTo>
                      <a:pt x="17" y="71"/>
                    </a:lnTo>
                    <a:lnTo>
                      <a:pt x="17" y="73"/>
                    </a:lnTo>
                    <a:lnTo>
                      <a:pt x="15" y="73"/>
                    </a:lnTo>
                    <a:lnTo>
                      <a:pt x="15" y="71"/>
                    </a:lnTo>
                    <a:close/>
                    <a:moveTo>
                      <a:pt x="8" y="71"/>
                    </a:moveTo>
                    <a:lnTo>
                      <a:pt x="10" y="71"/>
                    </a:lnTo>
                    <a:lnTo>
                      <a:pt x="10" y="73"/>
                    </a:lnTo>
                    <a:lnTo>
                      <a:pt x="8" y="73"/>
                    </a:lnTo>
                    <a:lnTo>
                      <a:pt x="8" y="71"/>
                    </a:lnTo>
                    <a:close/>
                    <a:moveTo>
                      <a:pt x="42" y="124"/>
                    </a:moveTo>
                    <a:lnTo>
                      <a:pt x="42" y="126"/>
                    </a:lnTo>
                    <a:lnTo>
                      <a:pt x="42" y="124"/>
                    </a:lnTo>
                    <a:close/>
                    <a:moveTo>
                      <a:pt x="8" y="54"/>
                    </a:moveTo>
                    <a:lnTo>
                      <a:pt x="10" y="54"/>
                    </a:lnTo>
                    <a:lnTo>
                      <a:pt x="10" y="56"/>
                    </a:lnTo>
                    <a:lnTo>
                      <a:pt x="8" y="56"/>
                    </a:lnTo>
                    <a:lnTo>
                      <a:pt x="8" y="54"/>
                    </a:lnTo>
                    <a:close/>
                    <a:moveTo>
                      <a:pt x="15" y="122"/>
                    </a:moveTo>
                    <a:lnTo>
                      <a:pt x="17" y="122"/>
                    </a:lnTo>
                    <a:lnTo>
                      <a:pt x="15" y="122"/>
                    </a:lnTo>
                    <a:close/>
                    <a:moveTo>
                      <a:pt x="41" y="121"/>
                    </a:moveTo>
                    <a:lnTo>
                      <a:pt x="42" y="121"/>
                    </a:lnTo>
                    <a:lnTo>
                      <a:pt x="41" y="121"/>
                    </a:lnTo>
                    <a:close/>
                    <a:moveTo>
                      <a:pt x="41" y="129"/>
                    </a:moveTo>
                    <a:lnTo>
                      <a:pt x="42" y="129"/>
                    </a:lnTo>
                    <a:lnTo>
                      <a:pt x="42" y="131"/>
                    </a:lnTo>
                    <a:lnTo>
                      <a:pt x="41" y="131"/>
                    </a:lnTo>
                    <a:lnTo>
                      <a:pt x="41" y="129"/>
                    </a:lnTo>
                    <a:close/>
                    <a:moveTo>
                      <a:pt x="87" y="153"/>
                    </a:moveTo>
                    <a:lnTo>
                      <a:pt x="88" y="153"/>
                    </a:lnTo>
                    <a:lnTo>
                      <a:pt x="87" y="153"/>
                    </a:lnTo>
                    <a:close/>
                    <a:moveTo>
                      <a:pt x="7" y="56"/>
                    </a:moveTo>
                    <a:lnTo>
                      <a:pt x="8" y="56"/>
                    </a:lnTo>
                    <a:lnTo>
                      <a:pt x="8" y="58"/>
                    </a:lnTo>
                    <a:lnTo>
                      <a:pt x="7" y="58"/>
                    </a:lnTo>
                    <a:lnTo>
                      <a:pt x="7" y="56"/>
                    </a:lnTo>
                    <a:close/>
                    <a:moveTo>
                      <a:pt x="10" y="58"/>
                    </a:moveTo>
                    <a:lnTo>
                      <a:pt x="12" y="58"/>
                    </a:lnTo>
                    <a:lnTo>
                      <a:pt x="12" y="59"/>
                    </a:lnTo>
                    <a:lnTo>
                      <a:pt x="10" y="59"/>
                    </a:lnTo>
                    <a:lnTo>
                      <a:pt x="10" y="58"/>
                    </a:lnTo>
                    <a:close/>
                    <a:moveTo>
                      <a:pt x="10" y="58"/>
                    </a:moveTo>
                    <a:lnTo>
                      <a:pt x="10" y="59"/>
                    </a:lnTo>
                    <a:lnTo>
                      <a:pt x="10" y="58"/>
                    </a:lnTo>
                    <a:close/>
                  </a:path>
                </a:pathLst>
              </a:custGeom>
              <a:solidFill>
                <a:schemeClr val="accent1"/>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57" name="Freeform 52">
                <a:extLst>
                  <a:ext uri="{FF2B5EF4-FFF2-40B4-BE49-F238E27FC236}">
                    <a16:creationId xmlns:a16="http://schemas.microsoft.com/office/drawing/2014/main" id="{29D6A2BB-457C-4470-A049-F157D9B99D73}"/>
                  </a:ext>
                </a:extLst>
              </p:cNvPr>
              <p:cNvSpPr>
                <a:spLocks noEditPoints="1"/>
              </p:cNvSpPr>
              <p:nvPr/>
            </p:nvSpPr>
            <p:spPr bwMode="gray">
              <a:xfrm>
                <a:off x="7872413" y="2489200"/>
                <a:ext cx="836612" cy="1096963"/>
              </a:xfrm>
              <a:custGeom>
                <a:avLst/>
                <a:gdLst>
                  <a:gd name="T0" fmla="*/ 0 w 527"/>
                  <a:gd name="T1" fmla="*/ 647 h 691"/>
                  <a:gd name="T2" fmla="*/ 0 w 527"/>
                  <a:gd name="T3" fmla="*/ 557 h 691"/>
                  <a:gd name="T4" fmla="*/ 0 w 527"/>
                  <a:gd name="T5" fmla="*/ 490 h 691"/>
                  <a:gd name="T6" fmla="*/ 43 w 527"/>
                  <a:gd name="T7" fmla="*/ 409 h 691"/>
                  <a:gd name="T8" fmla="*/ 55 w 527"/>
                  <a:gd name="T9" fmla="*/ 395 h 691"/>
                  <a:gd name="T10" fmla="*/ 79 w 527"/>
                  <a:gd name="T11" fmla="*/ 395 h 691"/>
                  <a:gd name="T12" fmla="*/ 106 w 527"/>
                  <a:gd name="T13" fmla="*/ 373 h 691"/>
                  <a:gd name="T14" fmla="*/ 201 w 527"/>
                  <a:gd name="T15" fmla="*/ 358 h 691"/>
                  <a:gd name="T16" fmla="*/ 269 w 527"/>
                  <a:gd name="T17" fmla="*/ 290 h 691"/>
                  <a:gd name="T18" fmla="*/ 332 w 527"/>
                  <a:gd name="T19" fmla="*/ 225 h 691"/>
                  <a:gd name="T20" fmla="*/ 266 w 527"/>
                  <a:gd name="T21" fmla="*/ 189 h 691"/>
                  <a:gd name="T22" fmla="*/ 193 w 527"/>
                  <a:gd name="T23" fmla="*/ 165 h 691"/>
                  <a:gd name="T24" fmla="*/ 143 w 527"/>
                  <a:gd name="T25" fmla="*/ 142 h 691"/>
                  <a:gd name="T26" fmla="*/ 116 w 527"/>
                  <a:gd name="T27" fmla="*/ 121 h 691"/>
                  <a:gd name="T28" fmla="*/ 94 w 527"/>
                  <a:gd name="T29" fmla="*/ 89 h 691"/>
                  <a:gd name="T30" fmla="*/ 102 w 527"/>
                  <a:gd name="T31" fmla="*/ 46 h 691"/>
                  <a:gd name="T32" fmla="*/ 123 w 527"/>
                  <a:gd name="T33" fmla="*/ 31 h 691"/>
                  <a:gd name="T34" fmla="*/ 136 w 527"/>
                  <a:gd name="T35" fmla="*/ 53 h 691"/>
                  <a:gd name="T36" fmla="*/ 172 w 527"/>
                  <a:gd name="T37" fmla="*/ 80 h 691"/>
                  <a:gd name="T38" fmla="*/ 203 w 527"/>
                  <a:gd name="T39" fmla="*/ 79 h 691"/>
                  <a:gd name="T40" fmla="*/ 220 w 527"/>
                  <a:gd name="T41" fmla="*/ 67 h 691"/>
                  <a:gd name="T42" fmla="*/ 242 w 527"/>
                  <a:gd name="T43" fmla="*/ 57 h 691"/>
                  <a:gd name="T44" fmla="*/ 276 w 527"/>
                  <a:gd name="T45" fmla="*/ 67 h 691"/>
                  <a:gd name="T46" fmla="*/ 308 w 527"/>
                  <a:gd name="T47" fmla="*/ 51 h 691"/>
                  <a:gd name="T48" fmla="*/ 344 w 527"/>
                  <a:gd name="T49" fmla="*/ 45 h 691"/>
                  <a:gd name="T50" fmla="*/ 369 w 527"/>
                  <a:gd name="T51" fmla="*/ 40 h 691"/>
                  <a:gd name="T52" fmla="*/ 400 w 527"/>
                  <a:gd name="T53" fmla="*/ 38 h 691"/>
                  <a:gd name="T54" fmla="*/ 430 w 527"/>
                  <a:gd name="T55" fmla="*/ 31 h 691"/>
                  <a:gd name="T56" fmla="*/ 453 w 527"/>
                  <a:gd name="T57" fmla="*/ 24 h 691"/>
                  <a:gd name="T58" fmla="*/ 480 w 527"/>
                  <a:gd name="T59" fmla="*/ 14 h 691"/>
                  <a:gd name="T60" fmla="*/ 497 w 527"/>
                  <a:gd name="T61" fmla="*/ 0 h 691"/>
                  <a:gd name="T62" fmla="*/ 521 w 527"/>
                  <a:gd name="T63" fmla="*/ 7 h 691"/>
                  <a:gd name="T64" fmla="*/ 510 w 527"/>
                  <a:gd name="T65" fmla="*/ 38 h 691"/>
                  <a:gd name="T66" fmla="*/ 515 w 527"/>
                  <a:gd name="T67" fmla="*/ 72 h 691"/>
                  <a:gd name="T68" fmla="*/ 514 w 527"/>
                  <a:gd name="T69" fmla="*/ 79 h 691"/>
                  <a:gd name="T70" fmla="*/ 527 w 527"/>
                  <a:gd name="T71" fmla="*/ 79 h 691"/>
                  <a:gd name="T72" fmla="*/ 515 w 527"/>
                  <a:gd name="T73" fmla="*/ 79 h 691"/>
                  <a:gd name="T74" fmla="*/ 500 w 527"/>
                  <a:gd name="T75" fmla="*/ 108 h 691"/>
                  <a:gd name="T76" fmla="*/ 498 w 527"/>
                  <a:gd name="T77" fmla="*/ 130 h 691"/>
                  <a:gd name="T78" fmla="*/ 476 w 527"/>
                  <a:gd name="T79" fmla="*/ 159 h 691"/>
                  <a:gd name="T80" fmla="*/ 463 w 527"/>
                  <a:gd name="T81" fmla="*/ 193 h 691"/>
                  <a:gd name="T82" fmla="*/ 447 w 527"/>
                  <a:gd name="T83" fmla="*/ 213 h 691"/>
                  <a:gd name="T84" fmla="*/ 425 w 527"/>
                  <a:gd name="T85" fmla="*/ 250 h 691"/>
                  <a:gd name="T86" fmla="*/ 400 w 527"/>
                  <a:gd name="T87" fmla="*/ 308 h 691"/>
                  <a:gd name="T88" fmla="*/ 359 w 527"/>
                  <a:gd name="T89" fmla="*/ 371 h 691"/>
                  <a:gd name="T90" fmla="*/ 300 w 527"/>
                  <a:gd name="T91" fmla="*/ 438 h 691"/>
                  <a:gd name="T92" fmla="*/ 254 w 527"/>
                  <a:gd name="T93" fmla="*/ 485 h 691"/>
                  <a:gd name="T94" fmla="*/ 191 w 527"/>
                  <a:gd name="T95" fmla="*/ 521 h 691"/>
                  <a:gd name="T96" fmla="*/ 155 w 527"/>
                  <a:gd name="T97" fmla="*/ 550 h 691"/>
                  <a:gd name="T98" fmla="*/ 121 w 527"/>
                  <a:gd name="T99" fmla="*/ 580 h 691"/>
                  <a:gd name="T100" fmla="*/ 79 w 527"/>
                  <a:gd name="T101" fmla="*/ 626 h 691"/>
                  <a:gd name="T102" fmla="*/ 72 w 527"/>
                  <a:gd name="T103" fmla="*/ 633 h 691"/>
                  <a:gd name="T104" fmla="*/ 51 w 527"/>
                  <a:gd name="T105" fmla="*/ 649 h 691"/>
                  <a:gd name="T106" fmla="*/ 55 w 527"/>
                  <a:gd name="T107" fmla="*/ 652 h 691"/>
                  <a:gd name="T108" fmla="*/ 50 w 527"/>
                  <a:gd name="T109" fmla="*/ 657 h 691"/>
                  <a:gd name="T110" fmla="*/ 48 w 527"/>
                  <a:gd name="T111" fmla="*/ 657 h 691"/>
                  <a:gd name="T112" fmla="*/ 45 w 527"/>
                  <a:gd name="T113" fmla="*/ 667 h 691"/>
                  <a:gd name="T114" fmla="*/ 41 w 527"/>
                  <a:gd name="T115" fmla="*/ 667 h 691"/>
                  <a:gd name="T116" fmla="*/ 34 w 527"/>
                  <a:gd name="T117" fmla="*/ 669 h 691"/>
                  <a:gd name="T118" fmla="*/ 28 w 527"/>
                  <a:gd name="T119" fmla="*/ 691 h 691"/>
                  <a:gd name="T120" fmla="*/ 125 w 527"/>
                  <a:gd name="T121" fmla="*/ 24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7" h="691">
                    <a:moveTo>
                      <a:pt x="28" y="691"/>
                    </a:moveTo>
                    <a:lnTo>
                      <a:pt x="28" y="688"/>
                    </a:lnTo>
                    <a:lnTo>
                      <a:pt x="11" y="666"/>
                    </a:lnTo>
                    <a:lnTo>
                      <a:pt x="6" y="659"/>
                    </a:lnTo>
                    <a:lnTo>
                      <a:pt x="0" y="650"/>
                    </a:lnTo>
                    <a:lnTo>
                      <a:pt x="0" y="647"/>
                    </a:lnTo>
                    <a:lnTo>
                      <a:pt x="0" y="618"/>
                    </a:lnTo>
                    <a:lnTo>
                      <a:pt x="0" y="608"/>
                    </a:lnTo>
                    <a:lnTo>
                      <a:pt x="0" y="587"/>
                    </a:lnTo>
                    <a:lnTo>
                      <a:pt x="0" y="574"/>
                    </a:lnTo>
                    <a:lnTo>
                      <a:pt x="0" y="560"/>
                    </a:lnTo>
                    <a:lnTo>
                      <a:pt x="0" y="557"/>
                    </a:lnTo>
                    <a:lnTo>
                      <a:pt x="0" y="545"/>
                    </a:lnTo>
                    <a:lnTo>
                      <a:pt x="0" y="536"/>
                    </a:lnTo>
                    <a:lnTo>
                      <a:pt x="0" y="521"/>
                    </a:lnTo>
                    <a:lnTo>
                      <a:pt x="0" y="507"/>
                    </a:lnTo>
                    <a:lnTo>
                      <a:pt x="0" y="497"/>
                    </a:lnTo>
                    <a:lnTo>
                      <a:pt x="0" y="490"/>
                    </a:lnTo>
                    <a:lnTo>
                      <a:pt x="0" y="489"/>
                    </a:lnTo>
                    <a:lnTo>
                      <a:pt x="0" y="473"/>
                    </a:lnTo>
                    <a:lnTo>
                      <a:pt x="0" y="465"/>
                    </a:lnTo>
                    <a:lnTo>
                      <a:pt x="2" y="461"/>
                    </a:lnTo>
                    <a:lnTo>
                      <a:pt x="17" y="448"/>
                    </a:lnTo>
                    <a:lnTo>
                      <a:pt x="43" y="409"/>
                    </a:lnTo>
                    <a:lnTo>
                      <a:pt x="46" y="405"/>
                    </a:lnTo>
                    <a:lnTo>
                      <a:pt x="48" y="404"/>
                    </a:lnTo>
                    <a:lnTo>
                      <a:pt x="48" y="402"/>
                    </a:lnTo>
                    <a:lnTo>
                      <a:pt x="50" y="400"/>
                    </a:lnTo>
                    <a:lnTo>
                      <a:pt x="51" y="398"/>
                    </a:lnTo>
                    <a:lnTo>
                      <a:pt x="55" y="395"/>
                    </a:lnTo>
                    <a:lnTo>
                      <a:pt x="55" y="397"/>
                    </a:lnTo>
                    <a:lnTo>
                      <a:pt x="57" y="395"/>
                    </a:lnTo>
                    <a:lnTo>
                      <a:pt x="58" y="397"/>
                    </a:lnTo>
                    <a:lnTo>
                      <a:pt x="60" y="397"/>
                    </a:lnTo>
                    <a:lnTo>
                      <a:pt x="60" y="395"/>
                    </a:lnTo>
                    <a:lnTo>
                      <a:pt x="79" y="395"/>
                    </a:lnTo>
                    <a:lnTo>
                      <a:pt x="87" y="392"/>
                    </a:lnTo>
                    <a:lnTo>
                      <a:pt x="92" y="392"/>
                    </a:lnTo>
                    <a:lnTo>
                      <a:pt x="99" y="387"/>
                    </a:lnTo>
                    <a:lnTo>
                      <a:pt x="102" y="381"/>
                    </a:lnTo>
                    <a:lnTo>
                      <a:pt x="102" y="378"/>
                    </a:lnTo>
                    <a:lnTo>
                      <a:pt x="106" y="373"/>
                    </a:lnTo>
                    <a:lnTo>
                      <a:pt x="125" y="364"/>
                    </a:lnTo>
                    <a:lnTo>
                      <a:pt x="135" y="361"/>
                    </a:lnTo>
                    <a:lnTo>
                      <a:pt x="152" y="356"/>
                    </a:lnTo>
                    <a:lnTo>
                      <a:pt x="182" y="358"/>
                    </a:lnTo>
                    <a:lnTo>
                      <a:pt x="198" y="358"/>
                    </a:lnTo>
                    <a:lnTo>
                      <a:pt x="201" y="358"/>
                    </a:lnTo>
                    <a:lnTo>
                      <a:pt x="210" y="351"/>
                    </a:lnTo>
                    <a:lnTo>
                      <a:pt x="230" y="330"/>
                    </a:lnTo>
                    <a:lnTo>
                      <a:pt x="237" y="322"/>
                    </a:lnTo>
                    <a:lnTo>
                      <a:pt x="250" y="308"/>
                    </a:lnTo>
                    <a:lnTo>
                      <a:pt x="259" y="300"/>
                    </a:lnTo>
                    <a:lnTo>
                      <a:pt x="269" y="290"/>
                    </a:lnTo>
                    <a:lnTo>
                      <a:pt x="279" y="278"/>
                    </a:lnTo>
                    <a:lnTo>
                      <a:pt x="295" y="262"/>
                    </a:lnTo>
                    <a:lnTo>
                      <a:pt x="300" y="259"/>
                    </a:lnTo>
                    <a:lnTo>
                      <a:pt x="322" y="235"/>
                    </a:lnTo>
                    <a:lnTo>
                      <a:pt x="329" y="228"/>
                    </a:lnTo>
                    <a:lnTo>
                      <a:pt x="332" y="225"/>
                    </a:lnTo>
                    <a:lnTo>
                      <a:pt x="354" y="203"/>
                    </a:lnTo>
                    <a:lnTo>
                      <a:pt x="351" y="203"/>
                    </a:lnTo>
                    <a:lnTo>
                      <a:pt x="305" y="203"/>
                    </a:lnTo>
                    <a:lnTo>
                      <a:pt x="303" y="203"/>
                    </a:lnTo>
                    <a:lnTo>
                      <a:pt x="267" y="189"/>
                    </a:lnTo>
                    <a:lnTo>
                      <a:pt x="266" y="189"/>
                    </a:lnTo>
                    <a:lnTo>
                      <a:pt x="235" y="179"/>
                    </a:lnTo>
                    <a:lnTo>
                      <a:pt x="227" y="177"/>
                    </a:lnTo>
                    <a:lnTo>
                      <a:pt x="213" y="172"/>
                    </a:lnTo>
                    <a:lnTo>
                      <a:pt x="204" y="169"/>
                    </a:lnTo>
                    <a:lnTo>
                      <a:pt x="198" y="167"/>
                    </a:lnTo>
                    <a:lnTo>
                      <a:pt x="193" y="165"/>
                    </a:lnTo>
                    <a:lnTo>
                      <a:pt x="187" y="164"/>
                    </a:lnTo>
                    <a:lnTo>
                      <a:pt x="172" y="159"/>
                    </a:lnTo>
                    <a:lnTo>
                      <a:pt x="164" y="155"/>
                    </a:lnTo>
                    <a:lnTo>
                      <a:pt x="153" y="152"/>
                    </a:lnTo>
                    <a:lnTo>
                      <a:pt x="150" y="150"/>
                    </a:lnTo>
                    <a:lnTo>
                      <a:pt x="143" y="142"/>
                    </a:lnTo>
                    <a:lnTo>
                      <a:pt x="135" y="133"/>
                    </a:lnTo>
                    <a:lnTo>
                      <a:pt x="128" y="131"/>
                    </a:lnTo>
                    <a:lnTo>
                      <a:pt x="125" y="130"/>
                    </a:lnTo>
                    <a:lnTo>
                      <a:pt x="121" y="123"/>
                    </a:lnTo>
                    <a:lnTo>
                      <a:pt x="118" y="121"/>
                    </a:lnTo>
                    <a:lnTo>
                      <a:pt x="116" y="121"/>
                    </a:lnTo>
                    <a:lnTo>
                      <a:pt x="114" y="109"/>
                    </a:lnTo>
                    <a:lnTo>
                      <a:pt x="109" y="106"/>
                    </a:lnTo>
                    <a:lnTo>
                      <a:pt x="108" y="106"/>
                    </a:lnTo>
                    <a:lnTo>
                      <a:pt x="106" y="106"/>
                    </a:lnTo>
                    <a:lnTo>
                      <a:pt x="102" y="96"/>
                    </a:lnTo>
                    <a:lnTo>
                      <a:pt x="94" y="89"/>
                    </a:lnTo>
                    <a:lnTo>
                      <a:pt x="89" y="75"/>
                    </a:lnTo>
                    <a:lnTo>
                      <a:pt x="85" y="74"/>
                    </a:lnTo>
                    <a:lnTo>
                      <a:pt x="85" y="70"/>
                    </a:lnTo>
                    <a:lnTo>
                      <a:pt x="87" y="68"/>
                    </a:lnTo>
                    <a:lnTo>
                      <a:pt x="99" y="51"/>
                    </a:lnTo>
                    <a:lnTo>
                      <a:pt x="102" y="46"/>
                    </a:lnTo>
                    <a:lnTo>
                      <a:pt x="114" y="28"/>
                    </a:lnTo>
                    <a:lnTo>
                      <a:pt x="118" y="26"/>
                    </a:lnTo>
                    <a:lnTo>
                      <a:pt x="118" y="29"/>
                    </a:lnTo>
                    <a:lnTo>
                      <a:pt x="119" y="28"/>
                    </a:lnTo>
                    <a:lnTo>
                      <a:pt x="119" y="29"/>
                    </a:lnTo>
                    <a:lnTo>
                      <a:pt x="123" y="31"/>
                    </a:lnTo>
                    <a:lnTo>
                      <a:pt x="125" y="33"/>
                    </a:lnTo>
                    <a:lnTo>
                      <a:pt x="126" y="31"/>
                    </a:lnTo>
                    <a:lnTo>
                      <a:pt x="126" y="33"/>
                    </a:lnTo>
                    <a:lnTo>
                      <a:pt x="128" y="40"/>
                    </a:lnTo>
                    <a:lnTo>
                      <a:pt x="130" y="41"/>
                    </a:lnTo>
                    <a:lnTo>
                      <a:pt x="136" y="53"/>
                    </a:lnTo>
                    <a:lnTo>
                      <a:pt x="147" y="65"/>
                    </a:lnTo>
                    <a:lnTo>
                      <a:pt x="155" y="70"/>
                    </a:lnTo>
                    <a:lnTo>
                      <a:pt x="157" y="72"/>
                    </a:lnTo>
                    <a:lnTo>
                      <a:pt x="160" y="74"/>
                    </a:lnTo>
                    <a:lnTo>
                      <a:pt x="167" y="79"/>
                    </a:lnTo>
                    <a:lnTo>
                      <a:pt x="172" y="80"/>
                    </a:lnTo>
                    <a:lnTo>
                      <a:pt x="176" y="80"/>
                    </a:lnTo>
                    <a:lnTo>
                      <a:pt x="182" y="82"/>
                    </a:lnTo>
                    <a:lnTo>
                      <a:pt x="189" y="80"/>
                    </a:lnTo>
                    <a:lnTo>
                      <a:pt x="196" y="80"/>
                    </a:lnTo>
                    <a:lnTo>
                      <a:pt x="199" y="80"/>
                    </a:lnTo>
                    <a:lnTo>
                      <a:pt x="203" y="79"/>
                    </a:lnTo>
                    <a:lnTo>
                      <a:pt x="201" y="79"/>
                    </a:lnTo>
                    <a:lnTo>
                      <a:pt x="206" y="77"/>
                    </a:lnTo>
                    <a:lnTo>
                      <a:pt x="206" y="75"/>
                    </a:lnTo>
                    <a:lnTo>
                      <a:pt x="210" y="75"/>
                    </a:lnTo>
                    <a:lnTo>
                      <a:pt x="215" y="72"/>
                    </a:lnTo>
                    <a:lnTo>
                      <a:pt x="220" y="67"/>
                    </a:lnTo>
                    <a:lnTo>
                      <a:pt x="227" y="67"/>
                    </a:lnTo>
                    <a:lnTo>
                      <a:pt x="232" y="63"/>
                    </a:lnTo>
                    <a:lnTo>
                      <a:pt x="233" y="62"/>
                    </a:lnTo>
                    <a:lnTo>
                      <a:pt x="237" y="62"/>
                    </a:lnTo>
                    <a:lnTo>
                      <a:pt x="240" y="58"/>
                    </a:lnTo>
                    <a:lnTo>
                      <a:pt x="242" y="57"/>
                    </a:lnTo>
                    <a:lnTo>
                      <a:pt x="244" y="57"/>
                    </a:lnTo>
                    <a:lnTo>
                      <a:pt x="252" y="62"/>
                    </a:lnTo>
                    <a:lnTo>
                      <a:pt x="259" y="62"/>
                    </a:lnTo>
                    <a:lnTo>
                      <a:pt x="266" y="62"/>
                    </a:lnTo>
                    <a:lnTo>
                      <a:pt x="271" y="65"/>
                    </a:lnTo>
                    <a:lnTo>
                      <a:pt x="276" y="67"/>
                    </a:lnTo>
                    <a:lnTo>
                      <a:pt x="288" y="63"/>
                    </a:lnTo>
                    <a:lnTo>
                      <a:pt x="298" y="57"/>
                    </a:lnTo>
                    <a:lnTo>
                      <a:pt x="300" y="55"/>
                    </a:lnTo>
                    <a:lnTo>
                      <a:pt x="303" y="53"/>
                    </a:lnTo>
                    <a:lnTo>
                      <a:pt x="305" y="51"/>
                    </a:lnTo>
                    <a:lnTo>
                      <a:pt x="308" y="51"/>
                    </a:lnTo>
                    <a:lnTo>
                      <a:pt x="312" y="46"/>
                    </a:lnTo>
                    <a:lnTo>
                      <a:pt x="325" y="41"/>
                    </a:lnTo>
                    <a:lnTo>
                      <a:pt x="332" y="41"/>
                    </a:lnTo>
                    <a:lnTo>
                      <a:pt x="335" y="45"/>
                    </a:lnTo>
                    <a:lnTo>
                      <a:pt x="339" y="46"/>
                    </a:lnTo>
                    <a:lnTo>
                      <a:pt x="344" y="45"/>
                    </a:lnTo>
                    <a:lnTo>
                      <a:pt x="347" y="45"/>
                    </a:lnTo>
                    <a:lnTo>
                      <a:pt x="351" y="43"/>
                    </a:lnTo>
                    <a:lnTo>
                      <a:pt x="352" y="45"/>
                    </a:lnTo>
                    <a:lnTo>
                      <a:pt x="361" y="43"/>
                    </a:lnTo>
                    <a:lnTo>
                      <a:pt x="366" y="40"/>
                    </a:lnTo>
                    <a:lnTo>
                      <a:pt x="369" y="40"/>
                    </a:lnTo>
                    <a:lnTo>
                      <a:pt x="373" y="36"/>
                    </a:lnTo>
                    <a:lnTo>
                      <a:pt x="378" y="36"/>
                    </a:lnTo>
                    <a:lnTo>
                      <a:pt x="381" y="34"/>
                    </a:lnTo>
                    <a:lnTo>
                      <a:pt x="385" y="34"/>
                    </a:lnTo>
                    <a:lnTo>
                      <a:pt x="388" y="34"/>
                    </a:lnTo>
                    <a:lnTo>
                      <a:pt x="400" y="38"/>
                    </a:lnTo>
                    <a:lnTo>
                      <a:pt x="403" y="38"/>
                    </a:lnTo>
                    <a:lnTo>
                      <a:pt x="419" y="34"/>
                    </a:lnTo>
                    <a:lnTo>
                      <a:pt x="420" y="33"/>
                    </a:lnTo>
                    <a:lnTo>
                      <a:pt x="427" y="33"/>
                    </a:lnTo>
                    <a:lnTo>
                      <a:pt x="429" y="31"/>
                    </a:lnTo>
                    <a:lnTo>
                      <a:pt x="430" y="31"/>
                    </a:lnTo>
                    <a:lnTo>
                      <a:pt x="434" y="28"/>
                    </a:lnTo>
                    <a:lnTo>
                      <a:pt x="439" y="28"/>
                    </a:lnTo>
                    <a:lnTo>
                      <a:pt x="441" y="26"/>
                    </a:lnTo>
                    <a:lnTo>
                      <a:pt x="444" y="28"/>
                    </a:lnTo>
                    <a:lnTo>
                      <a:pt x="447" y="28"/>
                    </a:lnTo>
                    <a:lnTo>
                      <a:pt x="453" y="24"/>
                    </a:lnTo>
                    <a:lnTo>
                      <a:pt x="459" y="24"/>
                    </a:lnTo>
                    <a:lnTo>
                      <a:pt x="463" y="23"/>
                    </a:lnTo>
                    <a:lnTo>
                      <a:pt x="470" y="21"/>
                    </a:lnTo>
                    <a:lnTo>
                      <a:pt x="471" y="19"/>
                    </a:lnTo>
                    <a:lnTo>
                      <a:pt x="476" y="16"/>
                    </a:lnTo>
                    <a:lnTo>
                      <a:pt x="480" y="14"/>
                    </a:lnTo>
                    <a:lnTo>
                      <a:pt x="481" y="12"/>
                    </a:lnTo>
                    <a:lnTo>
                      <a:pt x="483" y="6"/>
                    </a:lnTo>
                    <a:lnTo>
                      <a:pt x="485" y="4"/>
                    </a:lnTo>
                    <a:lnTo>
                      <a:pt x="488" y="2"/>
                    </a:lnTo>
                    <a:lnTo>
                      <a:pt x="490" y="2"/>
                    </a:lnTo>
                    <a:lnTo>
                      <a:pt x="497" y="0"/>
                    </a:lnTo>
                    <a:lnTo>
                      <a:pt x="498" y="2"/>
                    </a:lnTo>
                    <a:lnTo>
                      <a:pt x="505" y="4"/>
                    </a:lnTo>
                    <a:lnTo>
                      <a:pt x="509" y="6"/>
                    </a:lnTo>
                    <a:lnTo>
                      <a:pt x="514" y="6"/>
                    </a:lnTo>
                    <a:lnTo>
                      <a:pt x="519" y="7"/>
                    </a:lnTo>
                    <a:lnTo>
                      <a:pt x="521" y="7"/>
                    </a:lnTo>
                    <a:lnTo>
                      <a:pt x="519" y="14"/>
                    </a:lnTo>
                    <a:lnTo>
                      <a:pt x="519" y="16"/>
                    </a:lnTo>
                    <a:lnTo>
                      <a:pt x="512" y="24"/>
                    </a:lnTo>
                    <a:lnTo>
                      <a:pt x="512" y="28"/>
                    </a:lnTo>
                    <a:lnTo>
                      <a:pt x="510" y="33"/>
                    </a:lnTo>
                    <a:lnTo>
                      <a:pt x="510" y="38"/>
                    </a:lnTo>
                    <a:lnTo>
                      <a:pt x="512" y="41"/>
                    </a:lnTo>
                    <a:lnTo>
                      <a:pt x="515" y="43"/>
                    </a:lnTo>
                    <a:lnTo>
                      <a:pt x="514" y="48"/>
                    </a:lnTo>
                    <a:lnTo>
                      <a:pt x="512" y="51"/>
                    </a:lnTo>
                    <a:lnTo>
                      <a:pt x="514" y="67"/>
                    </a:lnTo>
                    <a:lnTo>
                      <a:pt x="515" y="72"/>
                    </a:lnTo>
                    <a:lnTo>
                      <a:pt x="512" y="74"/>
                    </a:lnTo>
                    <a:lnTo>
                      <a:pt x="512" y="77"/>
                    </a:lnTo>
                    <a:lnTo>
                      <a:pt x="510" y="77"/>
                    </a:lnTo>
                    <a:lnTo>
                      <a:pt x="509" y="79"/>
                    </a:lnTo>
                    <a:lnTo>
                      <a:pt x="509" y="80"/>
                    </a:lnTo>
                    <a:lnTo>
                      <a:pt x="514" y="79"/>
                    </a:lnTo>
                    <a:lnTo>
                      <a:pt x="519" y="79"/>
                    </a:lnTo>
                    <a:lnTo>
                      <a:pt x="517" y="77"/>
                    </a:lnTo>
                    <a:lnTo>
                      <a:pt x="515" y="74"/>
                    </a:lnTo>
                    <a:lnTo>
                      <a:pt x="521" y="77"/>
                    </a:lnTo>
                    <a:lnTo>
                      <a:pt x="526" y="77"/>
                    </a:lnTo>
                    <a:lnTo>
                      <a:pt x="527" y="79"/>
                    </a:lnTo>
                    <a:lnTo>
                      <a:pt x="526" y="82"/>
                    </a:lnTo>
                    <a:lnTo>
                      <a:pt x="524" y="82"/>
                    </a:lnTo>
                    <a:lnTo>
                      <a:pt x="521" y="82"/>
                    </a:lnTo>
                    <a:lnTo>
                      <a:pt x="521" y="80"/>
                    </a:lnTo>
                    <a:lnTo>
                      <a:pt x="519" y="79"/>
                    </a:lnTo>
                    <a:lnTo>
                      <a:pt x="515" y="79"/>
                    </a:lnTo>
                    <a:lnTo>
                      <a:pt x="507" y="80"/>
                    </a:lnTo>
                    <a:lnTo>
                      <a:pt x="502" y="85"/>
                    </a:lnTo>
                    <a:lnTo>
                      <a:pt x="502" y="92"/>
                    </a:lnTo>
                    <a:lnTo>
                      <a:pt x="500" y="96"/>
                    </a:lnTo>
                    <a:lnTo>
                      <a:pt x="502" y="101"/>
                    </a:lnTo>
                    <a:lnTo>
                      <a:pt x="500" y="108"/>
                    </a:lnTo>
                    <a:lnTo>
                      <a:pt x="498" y="108"/>
                    </a:lnTo>
                    <a:lnTo>
                      <a:pt x="497" y="118"/>
                    </a:lnTo>
                    <a:lnTo>
                      <a:pt x="497" y="121"/>
                    </a:lnTo>
                    <a:lnTo>
                      <a:pt x="497" y="125"/>
                    </a:lnTo>
                    <a:lnTo>
                      <a:pt x="498" y="128"/>
                    </a:lnTo>
                    <a:lnTo>
                      <a:pt x="498" y="130"/>
                    </a:lnTo>
                    <a:lnTo>
                      <a:pt x="493" y="137"/>
                    </a:lnTo>
                    <a:lnTo>
                      <a:pt x="492" y="138"/>
                    </a:lnTo>
                    <a:lnTo>
                      <a:pt x="488" y="142"/>
                    </a:lnTo>
                    <a:lnTo>
                      <a:pt x="488" y="148"/>
                    </a:lnTo>
                    <a:lnTo>
                      <a:pt x="478" y="157"/>
                    </a:lnTo>
                    <a:lnTo>
                      <a:pt x="476" y="159"/>
                    </a:lnTo>
                    <a:lnTo>
                      <a:pt x="475" y="167"/>
                    </a:lnTo>
                    <a:lnTo>
                      <a:pt x="473" y="171"/>
                    </a:lnTo>
                    <a:lnTo>
                      <a:pt x="473" y="176"/>
                    </a:lnTo>
                    <a:lnTo>
                      <a:pt x="466" y="182"/>
                    </a:lnTo>
                    <a:lnTo>
                      <a:pt x="463" y="188"/>
                    </a:lnTo>
                    <a:lnTo>
                      <a:pt x="463" y="193"/>
                    </a:lnTo>
                    <a:lnTo>
                      <a:pt x="459" y="194"/>
                    </a:lnTo>
                    <a:lnTo>
                      <a:pt x="454" y="198"/>
                    </a:lnTo>
                    <a:lnTo>
                      <a:pt x="447" y="206"/>
                    </a:lnTo>
                    <a:lnTo>
                      <a:pt x="446" y="211"/>
                    </a:lnTo>
                    <a:lnTo>
                      <a:pt x="446" y="213"/>
                    </a:lnTo>
                    <a:lnTo>
                      <a:pt x="447" y="213"/>
                    </a:lnTo>
                    <a:lnTo>
                      <a:pt x="447" y="215"/>
                    </a:lnTo>
                    <a:lnTo>
                      <a:pt x="444" y="220"/>
                    </a:lnTo>
                    <a:lnTo>
                      <a:pt x="444" y="222"/>
                    </a:lnTo>
                    <a:lnTo>
                      <a:pt x="439" y="230"/>
                    </a:lnTo>
                    <a:lnTo>
                      <a:pt x="425" y="249"/>
                    </a:lnTo>
                    <a:lnTo>
                      <a:pt x="425" y="250"/>
                    </a:lnTo>
                    <a:lnTo>
                      <a:pt x="415" y="266"/>
                    </a:lnTo>
                    <a:lnTo>
                      <a:pt x="410" y="281"/>
                    </a:lnTo>
                    <a:lnTo>
                      <a:pt x="408" y="290"/>
                    </a:lnTo>
                    <a:lnTo>
                      <a:pt x="408" y="293"/>
                    </a:lnTo>
                    <a:lnTo>
                      <a:pt x="402" y="305"/>
                    </a:lnTo>
                    <a:lnTo>
                      <a:pt x="400" y="308"/>
                    </a:lnTo>
                    <a:lnTo>
                      <a:pt x="390" y="324"/>
                    </a:lnTo>
                    <a:lnTo>
                      <a:pt x="386" y="330"/>
                    </a:lnTo>
                    <a:lnTo>
                      <a:pt x="381" y="337"/>
                    </a:lnTo>
                    <a:lnTo>
                      <a:pt x="369" y="353"/>
                    </a:lnTo>
                    <a:lnTo>
                      <a:pt x="366" y="358"/>
                    </a:lnTo>
                    <a:lnTo>
                      <a:pt x="359" y="371"/>
                    </a:lnTo>
                    <a:lnTo>
                      <a:pt x="351" y="381"/>
                    </a:lnTo>
                    <a:lnTo>
                      <a:pt x="342" y="393"/>
                    </a:lnTo>
                    <a:lnTo>
                      <a:pt x="335" y="398"/>
                    </a:lnTo>
                    <a:lnTo>
                      <a:pt x="327" y="409"/>
                    </a:lnTo>
                    <a:lnTo>
                      <a:pt x="313" y="422"/>
                    </a:lnTo>
                    <a:lnTo>
                      <a:pt x="300" y="438"/>
                    </a:lnTo>
                    <a:lnTo>
                      <a:pt x="288" y="451"/>
                    </a:lnTo>
                    <a:lnTo>
                      <a:pt x="271" y="467"/>
                    </a:lnTo>
                    <a:lnTo>
                      <a:pt x="269" y="470"/>
                    </a:lnTo>
                    <a:lnTo>
                      <a:pt x="264" y="473"/>
                    </a:lnTo>
                    <a:lnTo>
                      <a:pt x="259" y="480"/>
                    </a:lnTo>
                    <a:lnTo>
                      <a:pt x="254" y="485"/>
                    </a:lnTo>
                    <a:lnTo>
                      <a:pt x="249" y="489"/>
                    </a:lnTo>
                    <a:lnTo>
                      <a:pt x="244" y="490"/>
                    </a:lnTo>
                    <a:lnTo>
                      <a:pt x="225" y="502"/>
                    </a:lnTo>
                    <a:lnTo>
                      <a:pt x="223" y="504"/>
                    </a:lnTo>
                    <a:lnTo>
                      <a:pt x="204" y="512"/>
                    </a:lnTo>
                    <a:lnTo>
                      <a:pt x="191" y="521"/>
                    </a:lnTo>
                    <a:lnTo>
                      <a:pt x="184" y="526"/>
                    </a:lnTo>
                    <a:lnTo>
                      <a:pt x="182" y="526"/>
                    </a:lnTo>
                    <a:lnTo>
                      <a:pt x="169" y="538"/>
                    </a:lnTo>
                    <a:lnTo>
                      <a:pt x="160" y="545"/>
                    </a:lnTo>
                    <a:lnTo>
                      <a:pt x="159" y="548"/>
                    </a:lnTo>
                    <a:lnTo>
                      <a:pt x="155" y="550"/>
                    </a:lnTo>
                    <a:lnTo>
                      <a:pt x="153" y="552"/>
                    </a:lnTo>
                    <a:lnTo>
                      <a:pt x="150" y="555"/>
                    </a:lnTo>
                    <a:lnTo>
                      <a:pt x="148" y="555"/>
                    </a:lnTo>
                    <a:lnTo>
                      <a:pt x="142" y="562"/>
                    </a:lnTo>
                    <a:lnTo>
                      <a:pt x="126" y="574"/>
                    </a:lnTo>
                    <a:lnTo>
                      <a:pt x="121" y="580"/>
                    </a:lnTo>
                    <a:lnTo>
                      <a:pt x="106" y="596"/>
                    </a:lnTo>
                    <a:lnTo>
                      <a:pt x="96" y="608"/>
                    </a:lnTo>
                    <a:lnTo>
                      <a:pt x="82" y="621"/>
                    </a:lnTo>
                    <a:lnTo>
                      <a:pt x="79" y="626"/>
                    </a:lnTo>
                    <a:lnTo>
                      <a:pt x="79" y="628"/>
                    </a:lnTo>
                    <a:lnTo>
                      <a:pt x="79" y="626"/>
                    </a:lnTo>
                    <a:lnTo>
                      <a:pt x="77" y="626"/>
                    </a:lnTo>
                    <a:lnTo>
                      <a:pt x="77" y="628"/>
                    </a:lnTo>
                    <a:lnTo>
                      <a:pt x="75" y="630"/>
                    </a:lnTo>
                    <a:lnTo>
                      <a:pt x="75" y="632"/>
                    </a:lnTo>
                    <a:lnTo>
                      <a:pt x="74" y="630"/>
                    </a:lnTo>
                    <a:lnTo>
                      <a:pt x="72" y="633"/>
                    </a:lnTo>
                    <a:lnTo>
                      <a:pt x="60" y="649"/>
                    </a:lnTo>
                    <a:lnTo>
                      <a:pt x="57" y="650"/>
                    </a:lnTo>
                    <a:lnTo>
                      <a:pt x="55" y="650"/>
                    </a:lnTo>
                    <a:lnTo>
                      <a:pt x="53" y="652"/>
                    </a:lnTo>
                    <a:lnTo>
                      <a:pt x="53" y="649"/>
                    </a:lnTo>
                    <a:lnTo>
                      <a:pt x="51" y="649"/>
                    </a:lnTo>
                    <a:lnTo>
                      <a:pt x="50" y="647"/>
                    </a:lnTo>
                    <a:lnTo>
                      <a:pt x="50" y="649"/>
                    </a:lnTo>
                    <a:lnTo>
                      <a:pt x="51" y="649"/>
                    </a:lnTo>
                    <a:lnTo>
                      <a:pt x="53" y="649"/>
                    </a:lnTo>
                    <a:lnTo>
                      <a:pt x="53" y="652"/>
                    </a:lnTo>
                    <a:lnTo>
                      <a:pt x="55" y="652"/>
                    </a:lnTo>
                    <a:lnTo>
                      <a:pt x="55" y="650"/>
                    </a:lnTo>
                    <a:lnTo>
                      <a:pt x="57" y="652"/>
                    </a:lnTo>
                    <a:lnTo>
                      <a:pt x="51" y="655"/>
                    </a:lnTo>
                    <a:lnTo>
                      <a:pt x="53" y="657"/>
                    </a:lnTo>
                    <a:lnTo>
                      <a:pt x="50" y="659"/>
                    </a:lnTo>
                    <a:lnTo>
                      <a:pt x="50" y="657"/>
                    </a:lnTo>
                    <a:lnTo>
                      <a:pt x="48" y="657"/>
                    </a:lnTo>
                    <a:lnTo>
                      <a:pt x="50" y="654"/>
                    </a:lnTo>
                    <a:lnTo>
                      <a:pt x="48" y="652"/>
                    </a:lnTo>
                    <a:lnTo>
                      <a:pt x="46" y="652"/>
                    </a:lnTo>
                    <a:lnTo>
                      <a:pt x="50" y="654"/>
                    </a:lnTo>
                    <a:lnTo>
                      <a:pt x="48" y="657"/>
                    </a:lnTo>
                    <a:lnTo>
                      <a:pt x="50" y="659"/>
                    </a:lnTo>
                    <a:lnTo>
                      <a:pt x="48" y="659"/>
                    </a:lnTo>
                    <a:lnTo>
                      <a:pt x="50" y="660"/>
                    </a:lnTo>
                    <a:lnTo>
                      <a:pt x="46" y="666"/>
                    </a:lnTo>
                    <a:lnTo>
                      <a:pt x="48" y="666"/>
                    </a:lnTo>
                    <a:lnTo>
                      <a:pt x="45" y="667"/>
                    </a:lnTo>
                    <a:lnTo>
                      <a:pt x="45" y="669"/>
                    </a:lnTo>
                    <a:lnTo>
                      <a:pt x="46" y="667"/>
                    </a:lnTo>
                    <a:lnTo>
                      <a:pt x="45" y="669"/>
                    </a:lnTo>
                    <a:lnTo>
                      <a:pt x="43" y="669"/>
                    </a:lnTo>
                    <a:lnTo>
                      <a:pt x="43" y="667"/>
                    </a:lnTo>
                    <a:lnTo>
                      <a:pt x="41" y="667"/>
                    </a:lnTo>
                    <a:lnTo>
                      <a:pt x="41" y="666"/>
                    </a:lnTo>
                    <a:lnTo>
                      <a:pt x="40" y="666"/>
                    </a:lnTo>
                    <a:lnTo>
                      <a:pt x="38" y="664"/>
                    </a:lnTo>
                    <a:lnTo>
                      <a:pt x="40" y="666"/>
                    </a:lnTo>
                    <a:lnTo>
                      <a:pt x="38" y="666"/>
                    </a:lnTo>
                    <a:lnTo>
                      <a:pt x="34" y="669"/>
                    </a:lnTo>
                    <a:lnTo>
                      <a:pt x="40" y="666"/>
                    </a:lnTo>
                    <a:lnTo>
                      <a:pt x="41" y="667"/>
                    </a:lnTo>
                    <a:lnTo>
                      <a:pt x="43" y="671"/>
                    </a:lnTo>
                    <a:lnTo>
                      <a:pt x="29" y="689"/>
                    </a:lnTo>
                    <a:lnTo>
                      <a:pt x="29" y="691"/>
                    </a:lnTo>
                    <a:lnTo>
                      <a:pt x="28" y="691"/>
                    </a:lnTo>
                    <a:close/>
                    <a:moveTo>
                      <a:pt x="125" y="28"/>
                    </a:moveTo>
                    <a:lnTo>
                      <a:pt x="125" y="29"/>
                    </a:lnTo>
                    <a:lnTo>
                      <a:pt x="125" y="28"/>
                    </a:lnTo>
                    <a:close/>
                    <a:moveTo>
                      <a:pt x="125" y="24"/>
                    </a:moveTo>
                    <a:lnTo>
                      <a:pt x="125" y="26"/>
                    </a:lnTo>
                    <a:lnTo>
                      <a:pt x="125" y="24"/>
                    </a:lnTo>
                    <a:close/>
                    <a:moveTo>
                      <a:pt x="315" y="38"/>
                    </a:moveTo>
                    <a:lnTo>
                      <a:pt x="317" y="38"/>
                    </a:lnTo>
                    <a:lnTo>
                      <a:pt x="317" y="40"/>
                    </a:lnTo>
                    <a:lnTo>
                      <a:pt x="315" y="40"/>
                    </a:lnTo>
                    <a:lnTo>
                      <a:pt x="315" y="38"/>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63" name="Freeform 53">
                <a:extLst>
                  <a:ext uri="{FF2B5EF4-FFF2-40B4-BE49-F238E27FC236}">
                    <a16:creationId xmlns:a16="http://schemas.microsoft.com/office/drawing/2014/main" id="{97855C08-A523-4D4F-8482-E521060B0AFA}"/>
                  </a:ext>
                </a:extLst>
              </p:cNvPr>
              <p:cNvSpPr>
                <a:spLocks noEditPoints="1"/>
              </p:cNvSpPr>
              <p:nvPr/>
            </p:nvSpPr>
            <p:spPr bwMode="gray">
              <a:xfrm>
                <a:off x="5900738" y="5233988"/>
                <a:ext cx="1319212" cy="1022350"/>
              </a:xfrm>
              <a:custGeom>
                <a:avLst/>
                <a:gdLst>
                  <a:gd name="T0" fmla="*/ 789 w 831"/>
                  <a:gd name="T1" fmla="*/ 153 h 644"/>
                  <a:gd name="T2" fmla="*/ 726 w 831"/>
                  <a:gd name="T3" fmla="*/ 219 h 644"/>
                  <a:gd name="T4" fmla="*/ 789 w 831"/>
                  <a:gd name="T5" fmla="*/ 238 h 644"/>
                  <a:gd name="T6" fmla="*/ 802 w 831"/>
                  <a:gd name="T7" fmla="*/ 330 h 644"/>
                  <a:gd name="T8" fmla="*/ 678 w 831"/>
                  <a:gd name="T9" fmla="*/ 471 h 644"/>
                  <a:gd name="T10" fmla="*/ 636 w 831"/>
                  <a:gd name="T11" fmla="*/ 507 h 644"/>
                  <a:gd name="T12" fmla="*/ 569 w 831"/>
                  <a:gd name="T13" fmla="*/ 558 h 644"/>
                  <a:gd name="T14" fmla="*/ 484 w 831"/>
                  <a:gd name="T15" fmla="*/ 587 h 644"/>
                  <a:gd name="T16" fmla="*/ 428 w 831"/>
                  <a:gd name="T17" fmla="*/ 605 h 644"/>
                  <a:gd name="T18" fmla="*/ 352 w 831"/>
                  <a:gd name="T19" fmla="*/ 602 h 644"/>
                  <a:gd name="T20" fmla="*/ 289 w 831"/>
                  <a:gd name="T21" fmla="*/ 610 h 644"/>
                  <a:gd name="T22" fmla="*/ 212 w 831"/>
                  <a:gd name="T23" fmla="*/ 624 h 644"/>
                  <a:gd name="T24" fmla="*/ 160 w 831"/>
                  <a:gd name="T25" fmla="*/ 639 h 644"/>
                  <a:gd name="T26" fmla="*/ 131 w 831"/>
                  <a:gd name="T27" fmla="*/ 619 h 644"/>
                  <a:gd name="T28" fmla="*/ 98 w 831"/>
                  <a:gd name="T29" fmla="*/ 610 h 644"/>
                  <a:gd name="T30" fmla="*/ 100 w 831"/>
                  <a:gd name="T31" fmla="*/ 597 h 644"/>
                  <a:gd name="T32" fmla="*/ 78 w 831"/>
                  <a:gd name="T33" fmla="*/ 559 h 644"/>
                  <a:gd name="T34" fmla="*/ 80 w 831"/>
                  <a:gd name="T35" fmla="*/ 553 h 644"/>
                  <a:gd name="T36" fmla="*/ 69 w 831"/>
                  <a:gd name="T37" fmla="*/ 542 h 644"/>
                  <a:gd name="T38" fmla="*/ 93 w 831"/>
                  <a:gd name="T39" fmla="*/ 507 h 644"/>
                  <a:gd name="T40" fmla="*/ 41 w 831"/>
                  <a:gd name="T41" fmla="*/ 416 h 644"/>
                  <a:gd name="T42" fmla="*/ 5 w 831"/>
                  <a:gd name="T43" fmla="*/ 337 h 644"/>
                  <a:gd name="T44" fmla="*/ 18 w 831"/>
                  <a:gd name="T45" fmla="*/ 309 h 644"/>
                  <a:gd name="T46" fmla="*/ 42 w 831"/>
                  <a:gd name="T47" fmla="*/ 309 h 644"/>
                  <a:gd name="T48" fmla="*/ 56 w 831"/>
                  <a:gd name="T49" fmla="*/ 331 h 644"/>
                  <a:gd name="T50" fmla="*/ 90 w 831"/>
                  <a:gd name="T51" fmla="*/ 343 h 644"/>
                  <a:gd name="T52" fmla="*/ 141 w 831"/>
                  <a:gd name="T53" fmla="*/ 343 h 644"/>
                  <a:gd name="T54" fmla="*/ 173 w 831"/>
                  <a:gd name="T55" fmla="*/ 320 h 644"/>
                  <a:gd name="T56" fmla="*/ 185 w 831"/>
                  <a:gd name="T57" fmla="*/ 139 h 644"/>
                  <a:gd name="T58" fmla="*/ 205 w 831"/>
                  <a:gd name="T59" fmla="*/ 160 h 644"/>
                  <a:gd name="T60" fmla="*/ 214 w 831"/>
                  <a:gd name="T61" fmla="*/ 178 h 644"/>
                  <a:gd name="T62" fmla="*/ 221 w 831"/>
                  <a:gd name="T63" fmla="*/ 206 h 644"/>
                  <a:gd name="T64" fmla="*/ 216 w 831"/>
                  <a:gd name="T65" fmla="*/ 240 h 644"/>
                  <a:gd name="T66" fmla="*/ 256 w 831"/>
                  <a:gd name="T67" fmla="*/ 240 h 644"/>
                  <a:gd name="T68" fmla="*/ 292 w 831"/>
                  <a:gd name="T69" fmla="*/ 214 h 644"/>
                  <a:gd name="T70" fmla="*/ 313 w 831"/>
                  <a:gd name="T71" fmla="*/ 200 h 644"/>
                  <a:gd name="T72" fmla="*/ 323 w 831"/>
                  <a:gd name="T73" fmla="*/ 177 h 644"/>
                  <a:gd name="T74" fmla="*/ 335 w 831"/>
                  <a:gd name="T75" fmla="*/ 163 h 644"/>
                  <a:gd name="T76" fmla="*/ 360 w 831"/>
                  <a:gd name="T77" fmla="*/ 165 h 644"/>
                  <a:gd name="T78" fmla="*/ 382 w 831"/>
                  <a:gd name="T79" fmla="*/ 177 h 644"/>
                  <a:gd name="T80" fmla="*/ 404 w 831"/>
                  <a:gd name="T81" fmla="*/ 183 h 644"/>
                  <a:gd name="T82" fmla="*/ 466 w 831"/>
                  <a:gd name="T83" fmla="*/ 166 h 644"/>
                  <a:gd name="T84" fmla="*/ 517 w 831"/>
                  <a:gd name="T85" fmla="*/ 112 h 644"/>
                  <a:gd name="T86" fmla="*/ 534 w 831"/>
                  <a:gd name="T87" fmla="*/ 78 h 644"/>
                  <a:gd name="T88" fmla="*/ 549 w 831"/>
                  <a:gd name="T89" fmla="*/ 68 h 644"/>
                  <a:gd name="T90" fmla="*/ 573 w 831"/>
                  <a:gd name="T91" fmla="*/ 52 h 644"/>
                  <a:gd name="T92" fmla="*/ 602 w 831"/>
                  <a:gd name="T93" fmla="*/ 22 h 644"/>
                  <a:gd name="T94" fmla="*/ 651 w 831"/>
                  <a:gd name="T95" fmla="*/ 3 h 644"/>
                  <a:gd name="T96" fmla="*/ 697 w 831"/>
                  <a:gd name="T97" fmla="*/ 8 h 644"/>
                  <a:gd name="T98" fmla="*/ 749 w 831"/>
                  <a:gd name="T99" fmla="*/ 12 h 644"/>
                  <a:gd name="T100" fmla="*/ 590 w 831"/>
                  <a:gd name="T101" fmla="*/ 335 h 644"/>
                  <a:gd name="T102" fmla="*/ 569 w 831"/>
                  <a:gd name="T103" fmla="*/ 348 h 644"/>
                  <a:gd name="T104" fmla="*/ 556 w 831"/>
                  <a:gd name="T105" fmla="*/ 364 h 644"/>
                  <a:gd name="T106" fmla="*/ 535 w 831"/>
                  <a:gd name="T107" fmla="*/ 381 h 644"/>
                  <a:gd name="T108" fmla="*/ 557 w 831"/>
                  <a:gd name="T109" fmla="*/ 415 h 644"/>
                  <a:gd name="T110" fmla="*/ 591 w 831"/>
                  <a:gd name="T111" fmla="*/ 427 h 644"/>
                  <a:gd name="T112" fmla="*/ 608 w 831"/>
                  <a:gd name="T113" fmla="*/ 406 h 644"/>
                  <a:gd name="T114" fmla="*/ 642 w 831"/>
                  <a:gd name="T115" fmla="*/ 386 h 644"/>
                  <a:gd name="T116" fmla="*/ 656 w 831"/>
                  <a:gd name="T117" fmla="*/ 362 h 644"/>
                  <a:gd name="T118" fmla="*/ 632 w 831"/>
                  <a:gd name="T119" fmla="*/ 342 h 644"/>
                  <a:gd name="T120" fmla="*/ 97 w 831"/>
                  <a:gd name="T121" fmla="*/ 59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1" h="644">
                    <a:moveTo>
                      <a:pt x="751" y="15"/>
                    </a:moveTo>
                    <a:lnTo>
                      <a:pt x="753" y="20"/>
                    </a:lnTo>
                    <a:lnTo>
                      <a:pt x="760" y="41"/>
                    </a:lnTo>
                    <a:lnTo>
                      <a:pt x="763" y="51"/>
                    </a:lnTo>
                    <a:lnTo>
                      <a:pt x="765" y="54"/>
                    </a:lnTo>
                    <a:lnTo>
                      <a:pt x="763" y="64"/>
                    </a:lnTo>
                    <a:lnTo>
                      <a:pt x="765" y="68"/>
                    </a:lnTo>
                    <a:lnTo>
                      <a:pt x="770" y="76"/>
                    </a:lnTo>
                    <a:lnTo>
                      <a:pt x="772" y="81"/>
                    </a:lnTo>
                    <a:lnTo>
                      <a:pt x="775" y="90"/>
                    </a:lnTo>
                    <a:lnTo>
                      <a:pt x="780" y="93"/>
                    </a:lnTo>
                    <a:lnTo>
                      <a:pt x="782" y="103"/>
                    </a:lnTo>
                    <a:lnTo>
                      <a:pt x="785" y="110"/>
                    </a:lnTo>
                    <a:lnTo>
                      <a:pt x="787" y="117"/>
                    </a:lnTo>
                    <a:lnTo>
                      <a:pt x="787" y="129"/>
                    </a:lnTo>
                    <a:lnTo>
                      <a:pt x="789" y="153"/>
                    </a:lnTo>
                    <a:lnTo>
                      <a:pt x="787" y="165"/>
                    </a:lnTo>
                    <a:lnTo>
                      <a:pt x="785" y="170"/>
                    </a:lnTo>
                    <a:lnTo>
                      <a:pt x="787" y="178"/>
                    </a:lnTo>
                    <a:lnTo>
                      <a:pt x="783" y="189"/>
                    </a:lnTo>
                    <a:lnTo>
                      <a:pt x="785" y="194"/>
                    </a:lnTo>
                    <a:lnTo>
                      <a:pt x="780" y="195"/>
                    </a:lnTo>
                    <a:lnTo>
                      <a:pt x="763" y="185"/>
                    </a:lnTo>
                    <a:lnTo>
                      <a:pt x="756" y="182"/>
                    </a:lnTo>
                    <a:lnTo>
                      <a:pt x="751" y="183"/>
                    </a:lnTo>
                    <a:lnTo>
                      <a:pt x="749" y="187"/>
                    </a:lnTo>
                    <a:lnTo>
                      <a:pt x="743" y="192"/>
                    </a:lnTo>
                    <a:lnTo>
                      <a:pt x="741" y="195"/>
                    </a:lnTo>
                    <a:lnTo>
                      <a:pt x="734" y="209"/>
                    </a:lnTo>
                    <a:lnTo>
                      <a:pt x="731" y="212"/>
                    </a:lnTo>
                    <a:lnTo>
                      <a:pt x="727" y="217"/>
                    </a:lnTo>
                    <a:lnTo>
                      <a:pt x="726" y="219"/>
                    </a:lnTo>
                    <a:lnTo>
                      <a:pt x="726" y="224"/>
                    </a:lnTo>
                    <a:lnTo>
                      <a:pt x="726" y="238"/>
                    </a:lnTo>
                    <a:lnTo>
                      <a:pt x="727" y="240"/>
                    </a:lnTo>
                    <a:lnTo>
                      <a:pt x="731" y="236"/>
                    </a:lnTo>
                    <a:lnTo>
                      <a:pt x="731" y="240"/>
                    </a:lnTo>
                    <a:lnTo>
                      <a:pt x="734" y="241"/>
                    </a:lnTo>
                    <a:lnTo>
                      <a:pt x="734" y="245"/>
                    </a:lnTo>
                    <a:lnTo>
                      <a:pt x="734" y="246"/>
                    </a:lnTo>
                    <a:lnTo>
                      <a:pt x="734" y="248"/>
                    </a:lnTo>
                    <a:lnTo>
                      <a:pt x="739" y="251"/>
                    </a:lnTo>
                    <a:lnTo>
                      <a:pt x="743" y="257"/>
                    </a:lnTo>
                    <a:lnTo>
                      <a:pt x="761" y="263"/>
                    </a:lnTo>
                    <a:lnTo>
                      <a:pt x="785" y="263"/>
                    </a:lnTo>
                    <a:lnTo>
                      <a:pt x="785" y="253"/>
                    </a:lnTo>
                    <a:lnTo>
                      <a:pt x="787" y="238"/>
                    </a:lnTo>
                    <a:lnTo>
                      <a:pt x="789" y="238"/>
                    </a:lnTo>
                    <a:lnTo>
                      <a:pt x="792" y="236"/>
                    </a:lnTo>
                    <a:lnTo>
                      <a:pt x="792" y="238"/>
                    </a:lnTo>
                    <a:lnTo>
                      <a:pt x="795" y="240"/>
                    </a:lnTo>
                    <a:lnTo>
                      <a:pt x="797" y="238"/>
                    </a:lnTo>
                    <a:lnTo>
                      <a:pt x="804" y="240"/>
                    </a:lnTo>
                    <a:lnTo>
                      <a:pt x="821" y="240"/>
                    </a:lnTo>
                    <a:lnTo>
                      <a:pt x="831" y="240"/>
                    </a:lnTo>
                    <a:lnTo>
                      <a:pt x="829" y="253"/>
                    </a:lnTo>
                    <a:lnTo>
                      <a:pt x="821" y="272"/>
                    </a:lnTo>
                    <a:lnTo>
                      <a:pt x="821" y="274"/>
                    </a:lnTo>
                    <a:lnTo>
                      <a:pt x="817" y="289"/>
                    </a:lnTo>
                    <a:lnTo>
                      <a:pt x="814" y="304"/>
                    </a:lnTo>
                    <a:lnTo>
                      <a:pt x="809" y="316"/>
                    </a:lnTo>
                    <a:lnTo>
                      <a:pt x="807" y="323"/>
                    </a:lnTo>
                    <a:lnTo>
                      <a:pt x="806" y="325"/>
                    </a:lnTo>
                    <a:lnTo>
                      <a:pt x="802" y="330"/>
                    </a:lnTo>
                    <a:lnTo>
                      <a:pt x="787" y="342"/>
                    </a:lnTo>
                    <a:lnTo>
                      <a:pt x="773" y="347"/>
                    </a:lnTo>
                    <a:lnTo>
                      <a:pt x="765" y="357"/>
                    </a:lnTo>
                    <a:lnTo>
                      <a:pt x="753" y="367"/>
                    </a:lnTo>
                    <a:lnTo>
                      <a:pt x="744" y="377"/>
                    </a:lnTo>
                    <a:lnTo>
                      <a:pt x="739" y="388"/>
                    </a:lnTo>
                    <a:lnTo>
                      <a:pt x="738" y="391"/>
                    </a:lnTo>
                    <a:lnTo>
                      <a:pt x="739" y="393"/>
                    </a:lnTo>
                    <a:lnTo>
                      <a:pt x="729" y="401"/>
                    </a:lnTo>
                    <a:lnTo>
                      <a:pt x="722" y="416"/>
                    </a:lnTo>
                    <a:lnTo>
                      <a:pt x="712" y="430"/>
                    </a:lnTo>
                    <a:lnTo>
                      <a:pt x="705" y="442"/>
                    </a:lnTo>
                    <a:lnTo>
                      <a:pt x="697" y="452"/>
                    </a:lnTo>
                    <a:lnTo>
                      <a:pt x="690" y="459"/>
                    </a:lnTo>
                    <a:lnTo>
                      <a:pt x="688" y="461"/>
                    </a:lnTo>
                    <a:lnTo>
                      <a:pt x="678" y="471"/>
                    </a:lnTo>
                    <a:lnTo>
                      <a:pt x="676" y="473"/>
                    </a:lnTo>
                    <a:lnTo>
                      <a:pt x="673" y="473"/>
                    </a:lnTo>
                    <a:lnTo>
                      <a:pt x="671" y="473"/>
                    </a:lnTo>
                    <a:lnTo>
                      <a:pt x="668" y="478"/>
                    </a:lnTo>
                    <a:lnTo>
                      <a:pt x="663" y="483"/>
                    </a:lnTo>
                    <a:lnTo>
                      <a:pt x="656" y="485"/>
                    </a:lnTo>
                    <a:lnTo>
                      <a:pt x="654" y="486"/>
                    </a:lnTo>
                    <a:lnTo>
                      <a:pt x="653" y="488"/>
                    </a:lnTo>
                    <a:lnTo>
                      <a:pt x="653" y="490"/>
                    </a:lnTo>
                    <a:lnTo>
                      <a:pt x="651" y="491"/>
                    </a:lnTo>
                    <a:lnTo>
                      <a:pt x="647" y="493"/>
                    </a:lnTo>
                    <a:lnTo>
                      <a:pt x="646" y="498"/>
                    </a:lnTo>
                    <a:lnTo>
                      <a:pt x="644" y="498"/>
                    </a:lnTo>
                    <a:lnTo>
                      <a:pt x="641" y="500"/>
                    </a:lnTo>
                    <a:lnTo>
                      <a:pt x="639" y="505"/>
                    </a:lnTo>
                    <a:lnTo>
                      <a:pt x="636" y="507"/>
                    </a:lnTo>
                    <a:lnTo>
                      <a:pt x="632" y="512"/>
                    </a:lnTo>
                    <a:lnTo>
                      <a:pt x="629" y="512"/>
                    </a:lnTo>
                    <a:lnTo>
                      <a:pt x="629" y="515"/>
                    </a:lnTo>
                    <a:lnTo>
                      <a:pt x="624" y="517"/>
                    </a:lnTo>
                    <a:lnTo>
                      <a:pt x="622" y="520"/>
                    </a:lnTo>
                    <a:lnTo>
                      <a:pt x="617" y="524"/>
                    </a:lnTo>
                    <a:lnTo>
                      <a:pt x="617" y="525"/>
                    </a:lnTo>
                    <a:lnTo>
                      <a:pt x="615" y="525"/>
                    </a:lnTo>
                    <a:lnTo>
                      <a:pt x="610" y="530"/>
                    </a:lnTo>
                    <a:lnTo>
                      <a:pt x="605" y="532"/>
                    </a:lnTo>
                    <a:lnTo>
                      <a:pt x="603" y="536"/>
                    </a:lnTo>
                    <a:lnTo>
                      <a:pt x="591" y="541"/>
                    </a:lnTo>
                    <a:lnTo>
                      <a:pt x="588" y="546"/>
                    </a:lnTo>
                    <a:lnTo>
                      <a:pt x="581" y="549"/>
                    </a:lnTo>
                    <a:lnTo>
                      <a:pt x="579" y="553"/>
                    </a:lnTo>
                    <a:lnTo>
                      <a:pt x="569" y="558"/>
                    </a:lnTo>
                    <a:lnTo>
                      <a:pt x="564" y="561"/>
                    </a:lnTo>
                    <a:lnTo>
                      <a:pt x="559" y="564"/>
                    </a:lnTo>
                    <a:lnTo>
                      <a:pt x="544" y="575"/>
                    </a:lnTo>
                    <a:lnTo>
                      <a:pt x="540" y="575"/>
                    </a:lnTo>
                    <a:lnTo>
                      <a:pt x="539" y="578"/>
                    </a:lnTo>
                    <a:lnTo>
                      <a:pt x="535" y="578"/>
                    </a:lnTo>
                    <a:lnTo>
                      <a:pt x="534" y="580"/>
                    </a:lnTo>
                    <a:lnTo>
                      <a:pt x="530" y="580"/>
                    </a:lnTo>
                    <a:lnTo>
                      <a:pt x="527" y="583"/>
                    </a:lnTo>
                    <a:lnTo>
                      <a:pt x="520" y="583"/>
                    </a:lnTo>
                    <a:lnTo>
                      <a:pt x="511" y="588"/>
                    </a:lnTo>
                    <a:lnTo>
                      <a:pt x="506" y="590"/>
                    </a:lnTo>
                    <a:lnTo>
                      <a:pt x="501" y="590"/>
                    </a:lnTo>
                    <a:lnTo>
                      <a:pt x="500" y="590"/>
                    </a:lnTo>
                    <a:lnTo>
                      <a:pt x="489" y="587"/>
                    </a:lnTo>
                    <a:lnTo>
                      <a:pt x="484" y="587"/>
                    </a:lnTo>
                    <a:lnTo>
                      <a:pt x="477" y="587"/>
                    </a:lnTo>
                    <a:lnTo>
                      <a:pt x="472" y="588"/>
                    </a:lnTo>
                    <a:lnTo>
                      <a:pt x="466" y="592"/>
                    </a:lnTo>
                    <a:lnTo>
                      <a:pt x="462" y="597"/>
                    </a:lnTo>
                    <a:lnTo>
                      <a:pt x="462" y="598"/>
                    </a:lnTo>
                    <a:lnTo>
                      <a:pt x="466" y="600"/>
                    </a:lnTo>
                    <a:lnTo>
                      <a:pt x="467" y="604"/>
                    </a:lnTo>
                    <a:lnTo>
                      <a:pt x="466" y="604"/>
                    </a:lnTo>
                    <a:lnTo>
                      <a:pt x="464" y="604"/>
                    </a:lnTo>
                    <a:lnTo>
                      <a:pt x="460" y="604"/>
                    </a:lnTo>
                    <a:lnTo>
                      <a:pt x="455" y="604"/>
                    </a:lnTo>
                    <a:lnTo>
                      <a:pt x="452" y="604"/>
                    </a:lnTo>
                    <a:lnTo>
                      <a:pt x="442" y="600"/>
                    </a:lnTo>
                    <a:lnTo>
                      <a:pt x="433" y="600"/>
                    </a:lnTo>
                    <a:lnTo>
                      <a:pt x="428" y="602"/>
                    </a:lnTo>
                    <a:lnTo>
                      <a:pt x="428" y="605"/>
                    </a:lnTo>
                    <a:lnTo>
                      <a:pt x="423" y="609"/>
                    </a:lnTo>
                    <a:lnTo>
                      <a:pt x="423" y="610"/>
                    </a:lnTo>
                    <a:lnTo>
                      <a:pt x="425" y="612"/>
                    </a:lnTo>
                    <a:lnTo>
                      <a:pt x="423" y="612"/>
                    </a:lnTo>
                    <a:lnTo>
                      <a:pt x="415" y="610"/>
                    </a:lnTo>
                    <a:lnTo>
                      <a:pt x="413" y="610"/>
                    </a:lnTo>
                    <a:lnTo>
                      <a:pt x="411" y="610"/>
                    </a:lnTo>
                    <a:lnTo>
                      <a:pt x="406" y="610"/>
                    </a:lnTo>
                    <a:lnTo>
                      <a:pt x="401" y="607"/>
                    </a:lnTo>
                    <a:lnTo>
                      <a:pt x="398" y="607"/>
                    </a:lnTo>
                    <a:lnTo>
                      <a:pt x="391" y="604"/>
                    </a:lnTo>
                    <a:lnTo>
                      <a:pt x="375" y="604"/>
                    </a:lnTo>
                    <a:lnTo>
                      <a:pt x="364" y="600"/>
                    </a:lnTo>
                    <a:lnTo>
                      <a:pt x="358" y="600"/>
                    </a:lnTo>
                    <a:lnTo>
                      <a:pt x="357" y="602"/>
                    </a:lnTo>
                    <a:lnTo>
                      <a:pt x="352" y="602"/>
                    </a:lnTo>
                    <a:lnTo>
                      <a:pt x="350" y="604"/>
                    </a:lnTo>
                    <a:lnTo>
                      <a:pt x="350" y="605"/>
                    </a:lnTo>
                    <a:lnTo>
                      <a:pt x="350" y="607"/>
                    </a:lnTo>
                    <a:lnTo>
                      <a:pt x="352" y="607"/>
                    </a:lnTo>
                    <a:lnTo>
                      <a:pt x="331" y="605"/>
                    </a:lnTo>
                    <a:lnTo>
                      <a:pt x="330" y="605"/>
                    </a:lnTo>
                    <a:lnTo>
                      <a:pt x="330" y="607"/>
                    </a:lnTo>
                    <a:lnTo>
                      <a:pt x="319" y="604"/>
                    </a:lnTo>
                    <a:lnTo>
                      <a:pt x="309" y="602"/>
                    </a:lnTo>
                    <a:lnTo>
                      <a:pt x="304" y="604"/>
                    </a:lnTo>
                    <a:lnTo>
                      <a:pt x="299" y="605"/>
                    </a:lnTo>
                    <a:lnTo>
                      <a:pt x="294" y="604"/>
                    </a:lnTo>
                    <a:lnTo>
                      <a:pt x="289" y="605"/>
                    </a:lnTo>
                    <a:lnTo>
                      <a:pt x="287" y="607"/>
                    </a:lnTo>
                    <a:lnTo>
                      <a:pt x="285" y="609"/>
                    </a:lnTo>
                    <a:lnTo>
                      <a:pt x="289" y="610"/>
                    </a:lnTo>
                    <a:lnTo>
                      <a:pt x="277" y="614"/>
                    </a:lnTo>
                    <a:lnTo>
                      <a:pt x="275" y="616"/>
                    </a:lnTo>
                    <a:lnTo>
                      <a:pt x="277" y="617"/>
                    </a:lnTo>
                    <a:lnTo>
                      <a:pt x="275" y="617"/>
                    </a:lnTo>
                    <a:lnTo>
                      <a:pt x="275" y="619"/>
                    </a:lnTo>
                    <a:lnTo>
                      <a:pt x="272" y="621"/>
                    </a:lnTo>
                    <a:lnTo>
                      <a:pt x="265" y="622"/>
                    </a:lnTo>
                    <a:lnTo>
                      <a:pt x="256" y="619"/>
                    </a:lnTo>
                    <a:lnTo>
                      <a:pt x="251" y="621"/>
                    </a:lnTo>
                    <a:lnTo>
                      <a:pt x="245" y="624"/>
                    </a:lnTo>
                    <a:lnTo>
                      <a:pt x="234" y="621"/>
                    </a:lnTo>
                    <a:lnTo>
                      <a:pt x="226" y="621"/>
                    </a:lnTo>
                    <a:lnTo>
                      <a:pt x="222" y="622"/>
                    </a:lnTo>
                    <a:lnTo>
                      <a:pt x="222" y="624"/>
                    </a:lnTo>
                    <a:lnTo>
                      <a:pt x="221" y="626"/>
                    </a:lnTo>
                    <a:lnTo>
                      <a:pt x="212" y="624"/>
                    </a:lnTo>
                    <a:lnTo>
                      <a:pt x="205" y="626"/>
                    </a:lnTo>
                    <a:lnTo>
                      <a:pt x="200" y="627"/>
                    </a:lnTo>
                    <a:lnTo>
                      <a:pt x="199" y="631"/>
                    </a:lnTo>
                    <a:lnTo>
                      <a:pt x="192" y="634"/>
                    </a:lnTo>
                    <a:lnTo>
                      <a:pt x="190" y="636"/>
                    </a:lnTo>
                    <a:lnTo>
                      <a:pt x="187" y="636"/>
                    </a:lnTo>
                    <a:lnTo>
                      <a:pt x="183" y="639"/>
                    </a:lnTo>
                    <a:lnTo>
                      <a:pt x="182" y="641"/>
                    </a:lnTo>
                    <a:lnTo>
                      <a:pt x="182" y="643"/>
                    </a:lnTo>
                    <a:lnTo>
                      <a:pt x="178" y="644"/>
                    </a:lnTo>
                    <a:lnTo>
                      <a:pt x="177" y="643"/>
                    </a:lnTo>
                    <a:lnTo>
                      <a:pt x="171" y="641"/>
                    </a:lnTo>
                    <a:lnTo>
                      <a:pt x="163" y="639"/>
                    </a:lnTo>
                    <a:lnTo>
                      <a:pt x="161" y="641"/>
                    </a:lnTo>
                    <a:lnTo>
                      <a:pt x="160" y="641"/>
                    </a:lnTo>
                    <a:lnTo>
                      <a:pt x="160" y="639"/>
                    </a:lnTo>
                    <a:lnTo>
                      <a:pt x="158" y="639"/>
                    </a:lnTo>
                    <a:lnTo>
                      <a:pt x="158" y="638"/>
                    </a:lnTo>
                    <a:lnTo>
                      <a:pt x="156" y="638"/>
                    </a:lnTo>
                    <a:lnTo>
                      <a:pt x="154" y="636"/>
                    </a:lnTo>
                    <a:lnTo>
                      <a:pt x="151" y="634"/>
                    </a:lnTo>
                    <a:lnTo>
                      <a:pt x="149" y="633"/>
                    </a:lnTo>
                    <a:lnTo>
                      <a:pt x="143" y="634"/>
                    </a:lnTo>
                    <a:lnTo>
                      <a:pt x="148" y="629"/>
                    </a:lnTo>
                    <a:lnTo>
                      <a:pt x="146" y="624"/>
                    </a:lnTo>
                    <a:lnTo>
                      <a:pt x="143" y="622"/>
                    </a:lnTo>
                    <a:lnTo>
                      <a:pt x="139" y="624"/>
                    </a:lnTo>
                    <a:lnTo>
                      <a:pt x="137" y="622"/>
                    </a:lnTo>
                    <a:lnTo>
                      <a:pt x="136" y="622"/>
                    </a:lnTo>
                    <a:lnTo>
                      <a:pt x="134" y="622"/>
                    </a:lnTo>
                    <a:lnTo>
                      <a:pt x="132" y="621"/>
                    </a:lnTo>
                    <a:lnTo>
                      <a:pt x="131" y="619"/>
                    </a:lnTo>
                    <a:lnTo>
                      <a:pt x="127" y="619"/>
                    </a:lnTo>
                    <a:lnTo>
                      <a:pt x="126" y="621"/>
                    </a:lnTo>
                    <a:lnTo>
                      <a:pt x="124" y="619"/>
                    </a:lnTo>
                    <a:lnTo>
                      <a:pt x="122" y="621"/>
                    </a:lnTo>
                    <a:lnTo>
                      <a:pt x="120" y="621"/>
                    </a:lnTo>
                    <a:lnTo>
                      <a:pt x="119" y="621"/>
                    </a:lnTo>
                    <a:lnTo>
                      <a:pt x="119" y="619"/>
                    </a:lnTo>
                    <a:lnTo>
                      <a:pt x="119" y="617"/>
                    </a:lnTo>
                    <a:lnTo>
                      <a:pt x="120" y="614"/>
                    </a:lnTo>
                    <a:lnTo>
                      <a:pt x="119" y="610"/>
                    </a:lnTo>
                    <a:lnTo>
                      <a:pt x="120" y="609"/>
                    </a:lnTo>
                    <a:lnTo>
                      <a:pt x="117" y="605"/>
                    </a:lnTo>
                    <a:lnTo>
                      <a:pt x="109" y="605"/>
                    </a:lnTo>
                    <a:lnTo>
                      <a:pt x="102" y="607"/>
                    </a:lnTo>
                    <a:lnTo>
                      <a:pt x="100" y="609"/>
                    </a:lnTo>
                    <a:lnTo>
                      <a:pt x="98" y="610"/>
                    </a:lnTo>
                    <a:lnTo>
                      <a:pt x="100" y="612"/>
                    </a:lnTo>
                    <a:lnTo>
                      <a:pt x="102" y="614"/>
                    </a:lnTo>
                    <a:lnTo>
                      <a:pt x="100" y="617"/>
                    </a:lnTo>
                    <a:lnTo>
                      <a:pt x="102" y="619"/>
                    </a:lnTo>
                    <a:lnTo>
                      <a:pt x="98" y="617"/>
                    </a:lnTo>
                    <a:lnTo>
                      <a:pt x="97" y="616"/>
                    </a:lnTo>
                    <a:lnTo>
                      <a:pt x="97" y="612"/>
                    </a:lnTo>
                    <a:lnTo>
                      <a:pt x="93" y="609"/>
                    </a:lnTo>
                    <a:lnTo>
                      <a:pt x="95" y="609"/>
                    </a:lnTo>
                    <a:lnTo>
                      <a:pt x="97" y="605"/>
                    </a:lnTo>
                    <a:lnTo>
                      <a:pt x="95" y="604"/>
                    </a:lnTo>
                    <a:lnTo>
                      <a:pt x="95" y="605"/>
                    </a:lnTo>
                    <a:lnTo>
                      <a:pt x="93" y="604"/>
                    </a:lnTo>
                    <a:lnTo>
                      <a:pt x="97" y="600"/>
                    </a:lnTo>
                    <a:lnTo>
                      <a:pt x="97" y="597"/>
                    </a:lnTo>
                    <a:lnTo>
                      <a:pt x="100" y="597"/>
                    </a:lnTo>
                    <a:lnTo>
                      <a:pt x="98" y="597"/>
                    </a:lnTo>
                    <a:lnTo>
                      <a:pt x="100" y="597"/>
                    </a:lnTo>
                    <a:lnTo>
                      <a:pt x="102" y="597"/>
                    </a:lnTo>
                    <a:lnTo>
                      <a:pt x="102" y="595"/>
                    </a:lnTo>
                    <a:lnTo>
                      <a:pt x="102" y="593"/>
                    </a:lnTo>
                    <a:lnTo>
                      <a:pt x="100" y="588"/>
                    </a:lnTo>
                    <a:lnTo>
                      <a:pt x="100" y="587"/>
                    </a:lnTo>
                    <a:lnTo>
                      <a:pt x="95" y="580"/>
                    </a:lnTo>
                    <a:lnTo>
                      <a:pt x="93" y="580"/>
                    </a:lnTo>
                    <a:lnTo>
                      <a:pt x="93" y="576"/>
                    </a:lnTo>
                    <a:lnTo>
                      <a:pt x="93" y="575"/>
                    </a:lnTo>
                    <a:lnTo>
                      <a:pt x="90" y="571"/>
                    </a:lnTo>
                    <a:lnTo>
                      <a:pt x="85" y="570"/>
                    </a:lnTo>
                    <a:lnTo>
                      <a:pt x="85" y="568"/>
                    </a:lnTo>
                    <a:lnTo>
                      <a:pt x="83" y="563"/>
                    </a:lnTo>
                    <a:lnTo>
                      <a:pt x="78" y="559"/>
                    </a:lnTo>
                    <a:lnTo>
                      <a:pt x="76" y="558"/>
                    </a:lnTo>
                    <a:lnTo>
                      <a:pt x="76" y="556"/>
                    </a:lnTo>
                    <a:lnTo>
                      <a:pt x="75" y="556"/>
                    </a:lnTo>
                    <a:lnTo>
                      <a:pt x="76" y="556"/>
                    </a:lnTo>
                    <a:lnTo>
                      <a:pt x="76" y="554"/>
                    </a:lnTo>
                    <a:lnTo>
                      <a:pt x="78" y="556"/>
                    </a:lnTo>
                    <a:lnTo>
                      <a:pt x="76" y="556"/>
                    </a:lnTo>
                    <a:lnTo>
                      <a:pt x="78" y="556"/>
                    </a:lnTo>
                    <a:lnTo>
                      <a:pt x="78" y="558"/>
                    </a:lnTo>
                    <a:lnTo>
                      <a:pt x="81" y="561"/>
                    </a:lnTo>
                    <a:lnTo>
                      <a:pt x="83" y="561"/>
                    </a:lnTo>
                    <a:lnTo>
                      <a:pt x="83" y="559"/>
                    </a:lnTo>
                    <a:lnTo>
                      <a:pt x="81" y="559"/>
                    </a:lnTo>
                    <a:lnTo>
                      <a:pt x="81" y="558"/>
                    </a:lnTo>
                    <a:lnTo>
                      <a:pt x="80" y="556"/>
                    </a:lnTo>
                    <a:lnTo>
                      <a:pt x="80" y="553"/>
                    </a:lnTo>
                    <a:lnTo>
                      <a:pt x="78" y="551"/>
                    </a:lnTo>
                    <a:lnTo>
                      <a:pt x="76" y="553"/>
                    </a:lnTo>
                    <a:lnTo>
                      <a:pt x="78" y="551"/>
                    </a:lnTo>
                    <a:lnTo>
                      <a:pt x="76" y="551"/>
                    </a:lnTo>
                    <a:lnTo>
                      <a:pt x="75" y="553"/>
                    </a:lnTo>
                    <a:lnTo>
                      <a:pt x="76" y="553"/>
                    </a:lnTo>
                    <a:lnTo>
                      <a:pt x="75" y="553"/>
                    </a:lnTo>
                    <a:lnTo>
                      <a:pt x="73" y="553"/>
                    </a:lnTo>
                    <a:lnTo>
                      <a:pt x="71" y="553"/>
                    </a:lnTo>
                    <a:lnTo>
                      <a:pt x="73" y="551"/>
                    </a:lnTo>
                    <a:lnTo>
                      <a:pt x="71" y="551"/>
                    </a:lnTo>
                    <a:lnTo>
                      <a:pt x="71" y="549"/>
                    </a:lnTo>
                    <a:lnTo>
                      <a:pt x="71" y="547"/>
                    </a:lnTo>
                    <a:lnTo>
                      <a:pt x="69" y="546"/>
                    </a:lnTo>
                    <a:lnTo>
                      <a:pt x="71" y="544"/>
                    </a:lnTo>
                    <a:lnTo>
                      <a:pt x="69" y="542"/>
                    </a:lnTo>
                    <a:lnTo>
                      <a:pt x="73" y="541"/>
                    </a:lnTo>
                    <a:lnTo>
                      <a:pt x="73" y="537"/>
                    </a:lnTo>
                    <a:lnTo>
                      <a:pt x="73" y="536"/>
                    </a:lnTo>
                    <a:lnTo>
                      <a:pt x="75" y="537"/>
                    </a:lnTo>
                    <a:lnTo>
                      <a:pt x="76" y="536"/>
                    </a:lnTo>
                    <a:lnTo>
                      <a:pt x="76" y="537"/>
                    </a:lnTo>
                    <a:lnTo>
                      <a:pt x="78" y="537"/>
                    </a:lnTo>
                    <a:lnTo>
                      <a:pt x="80" y="541"/>
                    </a:lnTo>
                    <a:lnTo>
                      <a:pt x="85" y="539"/>
                    </a:lnTo>
                    <a:lnTo>
                      <a:pt x="90" y="534"/>
                    </a:lnTo>
                    <a:lnTo>
                      <a:pt x="93" y="530"/>
                    </a:lnTo>
                    <a:lnTo>
                      <a:pt x="95" y="524"/>
                    </a:lnTo>
                    <a:lnTo>
                      <a:pt x="93" y="517"/>
                    </a:lnTo>
                    <a:lnTo>
                      <a:pt x="95" y="517"/>
                    </a:lnTo>
                    <a:lnTo>
                      <a:pt x="95" y="515"/>
                    </a:lnTo>
                    <a:lnTo>
                      <a:pt x="93" y="507"/>
                    </a:lnTo>
                    <a:lnTo>
                      <a:pt x="93" y="503"/>
                    </a:lnTo>
                    <a:lnTo>
                      <a:pt x="92" y="496"/>
                    </a:lnTo>
                    <a:lnTo>
                      <a:pt x="92" y="495"/>
                    </a:lnTo>
                    <a:lnTo>
                      <a:pt x="88" y="491"/>
                    </a:lnTo>
                    <a:lnTo>
                      <a:pt x="88" y="488"/>
                    </a:lnTo>
                    <a:lnTo>
                      <a:pt x="85" y="483"/>
                    </a:lnTo>
                    <a:lnTo>
                      <a:pt x="83" y="478"/>
                    </a:lnTo>
                    <a:lnTo>
                      <a:pt x="73" y="468"/>
                    </a:lnTo>
                    <a:lnTo>
                      <a:pt x="71" y="462"/>
                    </a:lnTo>
                    <a:lnTo>
                      <a:pt x="64" y="456"/>
                    </a:lnTo>
                    <a:lnTo>
                      <a:pt x="61" y="449"/>
                    </a:lnTo>
                    <a:lnTo>
                      <a:pt x="58" y="445"/>
                    </a:lnTo>
                    <a:lnTo>
                      <a:pt x="52" y="435"/>
                    </a:lnTo>
                    <a:lnTo>
                      <a:pt x="49" y="430"/>
                    </a:lnTo>
                    <a:lnTo>
                      <a:pt x="49" y="428"/>
                    </a:lnTo>
                    <a:lnTo>
                      <a:pt x="41" y="416"/>
                    </a:lnTo>
                    <a:lnTo>
                      <a:pt x="37" y="408"/>
                    </a:lnTo>
                    <a:lnTo>
                      <a:pt x="37" y="406"/>
                    </a:lnTo>
                    <a:lnTo>
                      <a:pt x="35" y="398"/>
                    </a:lnTo>
                    <a:lnTo>
                      <a:pt x="32" y="396"/>
                    </a:lnTo>
                    <a:lnTo>
                      <a:pt x="30" y="389"/>
                    </a:lnTo>
                    <a:lnTo>
                      <a:pt x="29" y="382"/>
                    </a:lnTo>
                    <a:lnTo>
                      <a:pt x="29" y="379"/>
                    </a:lnTo>
                    <a:lnTo>
                      <a:pt x="27" y="377"/>
                    </a:lnTo>
                    <a:lnTo>
                      <a:pt x="27" y="376"/>
                    </a:lnTo>
                    <a:lnTo>
                      <a:pt x="25" y="371"/>
                    </a:lnTo>
                    <a:lnTo>
                      <a:pt x="18" y="359"/>
                    </a:lnTo>
                    <a:lnTo>
                      <a:pt x="17" y="354"/>
                    </a:lnTo>
                    <a:lnTo>
                      <a:pt x="13" y="350"/>
                    </a:lnTo>
                    <a:lnTo>
                      <a:pt x="12" y="345"/>
                    </a:lnTo>
                    <a:lnTo>
                      <a:pt x="7" y="342"/>
                    </a:lnTo>
                    <a:lnTo>
                      <a:pt x="5" y="337"/>
                    </a:lnTo>
                    <a:lnTo>
                      <a:pt x="5" y="335"/>
                    </a:lnTo>
                    <a:lnTo>
                      <a:pt x="0" y="330"/>
                    </a:lnTo>
                    <a:lnTo>
                      <a:pt x="0" y="328"/>
                    </a:lnTo>
                    <a:lnTo>
                      <a:pt x="0" y="326"/>
                    </a:lnTo>
                    <a:lnTo>
                      <a:pt x="7" y="325"/>
                    </a:lnTo>
                    <a:lnTo>
                      <a:pt x="8" y="323"/>
                    </a:lnTo>
                    <a:lnTo>
                      <a:pt x="10" y="321"/>
                    </a:lnTo>
                    <a:lnTo>
                      <a:pt x="13" y="323"/>
                    </a:lnTo>
                    <a:lnTo>
                      <a:pt x="15" y="321"/>
                    </a:lnTo>
                    <a:lnTo>
                      <a:pt x="15" y="318"/>
                    </a:lnTo>
                    <a:lnTo>
                      <a:pt x="17" y="316"/>
                    </a:lnTo>
                    <a:lnTo>
                      <a:pt x="15" y="313"/>
                    </a:lnTo>
                    <a:lnTo>
                      <a:pt x="15" y="311"/>
                    </a:lnTo>
                    <a:lnTo>
                      <a:pt x="17" y="311"/>
                    </a:lnTo>
                    <a:lnTo>
                      <a:pt x="18" y="311"/>
                    </a:lnTo>
                    <a:lnTo>
                      <a:pt x="18" y="309"/>
                    </a:lnTo>
                    <a:lnTo>
                      <a:pt x="17" y="309"/>
                    </a:lnTo>
                    <a:lnTo>
                      <a:pt x="20" y="308"/>
                    </a:lnTo>
                    <a:lnTo>
                      <a:pt x="18" y="306"/>
                    </a:lnTo>
                    <a:lnTo>
                      <a:pt x="20" y="306"/>
                    </a:lnTo>
                    <a:lnTo>
                      <a:pt x="20" y="303"/>
                    </a:lnTo>
                    <a:lnTo>
                      <a:pt x="22" y="301"/>
                    </a:lnTo>
                    <a:lnTo>
                      <a:pt x="24" y="301"/>
                    </a:lnTo>
                    <a:lnTo>
                      <a:pt x="25" y="301"/>
                    </a:lnTo>
                    <a:lnTo>
                      <a:pt x="27" y="301"/>
                    </a:lnTo>
                    <a:lnTo>
                      <a:pt x="30" y="299"/>
                    </a:lnTo>
                    <a:lnTo>
                      <a:pt x="34" y="303"/>
                    </a:lnTo>
                    <a:lnTo>
                      <a:pt x="37" y="303"/>
                    </a:lnTo>
                    <a:lnTo>
                      <a:pt x="35" y="308"/>
                    </a:lnTo>
                    <a:lnTo>
                      <a:pt x="37" y="309"/>
                    </a:lnTo>
                    <a:lnTo>
                      <a:pt x="41" y="309"/>
                    </a:lnTo>
                    <a:lnTo>
                      <a:pt x="42" y="309"/>
                    </a:lnTo>
                    <a:lnTo>
                      <a:pt x="44" y="309"/>
                    </a:lnTo>
                    <a:lnTo>
                      <a:pt x="46" y="313"/>
                    </a:lnTo>
                    <a:lnTo>
                      <a:pt x="46" y="314"/>
                    </a:lnTo>
                    <a:lnTo>
                      <a:pt x="47" y="316"/>
                    </a:lnTo>
                    <a:lnTo>
                      <a:pt x="47" y="318"/>
                    </a:lnTo>
                    <a:lnTo>
                      <a:pt x="46" y="320"/>
                    </a:lnTo>
                    <a:lnTo>
                      <a:pt x="44" y="320"/>
                    </a:lnTo>
                    <a:lnTo>
                      <a:pt x="44" y="321"/>
                    </a:lnTo>
                    <a:lnTo>
                      <a:pt x="46" y="323"/>
                    </a:lnTo>
                    <a:lnTo>
                      <a:pt x="46" y="326"/>
                    </a:lnTo>
                    <a:lnTo>
                      <a:pt x="47" y="326"/>
                    </a:lnTo>
                    <a:lnTo>
                      <a:pt x="49" y="326"/>
                    </a:lnTo>
                    <a:lnTo>
                      <a:pt x="47" y="335"/>
                    </a:lnTo>
                    <a:lnTo>
                      <a:pt x="51" y="333"/>
                    </a:lnTo>
                    <a:lnTo>
                      <a:pt x="54" y="333"/>
                    </a:lnTo>
                    <a:lnTo>
                      <a:pt x="56" y="331"/>
                    </a:lnTo>
                    <a:lnTo>
                      <a:pt x="58" y="333"/>
                    </a:lnTo>
                    <a:lnTo>
                      <a:pt x="58" y="337"/>
                    </a:lnTo>
                    <a:lnTo>
                      <a:pt x="59" y="337"/>
                    </a:lnTo>
                    <a:lnTo>
                      <a:pt x="63" y="335"/>
                    </a:lnTo>
                    <a:lnTo>
                      <a:pt x="64" y="337"/>
                    </a:lnTo>
                    <a:lnTo>
                      <a:pt x="64" y="335"/>
                    </a:lnTo>
                    <a:lnTo>
                      <a:pt x="66" y="337"/>
                    </a:lnTo>
                    <a:lnTo>
                      <a:pt x="73" y="337"/>
                    </a:lnTo>
                    <a:lnTo>
                      <a:pt x="75" y="337"/>
                    </a:lnTo>
                    <a:lnTo>
                      <a:pt x="76" y="337"/>
                    </a:lnTo>
                    <a:lnTo>
                      <a:pt x="76" y="338"/>
                    </a:lnTo>
                    <a:lnTo>
                      <a:pt x="80" y="342"/>
                    </a:lnTo>
                    <a:lnTo>
                      <a:pt x="81" y="342"/>
                    </a:lnTo>
                    <a:lnTo>
                      <a:pt x="86" y="343"/>
                    </a:lnTo>
                    <a:lnTo>
                      <a:pt x="88" y="343"/>
                    </a:lnTo>
                    <a:lnTo>
                      <a:pt x="90" y="343"/>
                    </a:lnTo>
                    <a:lnTo>
                      <a:pt x="90" y="342"/>
                    </a:lnTo>
                    <a:lnTo>
                      <a:pt x="95" y="342"/>
                    </a:lnTo>
                    <a:lnTo>
                      <a:pt x="98" y="343"/>
                    </a:lnTo>
                    <a:lnTo>
                      <a:pt x="102" y="342"/>
                    </a:lnTo>
                    <a:lnTo>
                      <a:pt x="103" y="343"/>
                    </a:lnTo>
                    <a:lnTo>
                      <a:pt x="105" y="342"/>
                    </a:lnTo>
                    <a:lnTo>
                      <a:pt x="109" y="340"/>
                    </a:lnTo>
                    <a:lnTo>
                      <a:pt x="114" y="340"/>
                    </a:lnTo>
                    <a:lnTo>
                      <a:pt x="124" y="342"/>
                    </a:lnTo>
                    <a:lnTo>
                      <a:pt x="127" y="342"/>
                    </a:lnTo>
                    <a:lnTo>
                      <a:pt x="129" y="345"/>
                    </a:lnTo>
                    <a:lnTo>
                      <a:pt x="131" y="345"/>
                    </a:lnTo>
                    <a:lnTo>
                      <a:pt x="132" y="347"/>
                    </a:lnTo>
                    <a:lnTo>
                      <a:pt x="136" y="347"/>
                    </a:lnTo>
                    <a:lnTo>
                      <a:pt x="137" y="345"/>
                    </a:lnTo>
                    <a:lnTo>
                      <a:pt x="141" y="343"/>
                    </a:lnTo>
                    <a:lnTo>
                      <a:pt x="143" y="343"/>
                    </a:lnTo>
                    <a:lnTo>
                      <a:pt x="141" y="342"/>
                    </a:lnTo>
                    <a:lnTo>
                      <a:pt x="141" y="338"/>
                    </a:lnTo>
                    <a:lnTo>
                      <a:pt x="141" y="335"/>
                    </a:lnTo>
                    <a:lnTo>
                      <a:pt x="143" y="335"/>
                    </a:lnTo>
                    <a:lnTo>
                      <a:pt x="148" y="335"/>
                    </a:lnTo>
                    <a:lnTo>
                      <a:pt x="151" y="333"/>
                    </a:lnTo>
                    <a:lnTo>
                      <a:pt x="153" y="331"/>
                    </a:lnTo>
                    <a:lnTo>
                      <a:pt x="153" y="328"/>
                    </a:lnTo>
                    <a:lnTo>
                      <a:pt x="154" y="326"/>
                    </a:lnTo>
                    <a:lnTo>
                      <a:pt x="156" y="325"/>
                    </a:lnTo>
                    <a:lnTo>
                      <a:pt x="160" y="323"/>
                    </a:lnTo>
                    <a:lnTo>
                      <a:pt x="161" y="325"/>
                    </a:lnTo>
                    <a:lnTo>
                      <a:pt x="165" y="321"/>
                    </a:lnTo>
                    <a:lnTo>
                      <a:pt x="170" y="323"/>
                    </a:lnTo>
                    <a:lnTo>
                      <a:pt x="173" y="320"/>
                    </a:lnTo>
                    <a:lnTo>
                      <a:pt x="178" y="320"/>
                    </a:lnTo>
                    <a:lnTo>
                      <a:pt x="178" y="297"/>
                    </a:lnTo>
                    <a:lnTo>
                      <a:pt x="178" y="285"/>
                    </a:lnTo>
                    <a:lnTo>
                      <a:pt x="178" y="272"/>
                    </a:lnTo>
                    <a:lnTo>
                      <a:pt x="178" y="265"/>
                    </a:lnTo>
                    <a:lnTo>
                      <a:pt x="178" y="245"/>
                    </a:lnTo>
                    <a:lnTo>
                      <a:pt x="178" y="228"/>
                    </a:lnTo>
                    <a:lnTo>
                      <a:pt x="178" y="211"/>
                    </a:lnTo>
                    <a:lnTo>
                      <a:pt x="178" y="195"/>
                    </a:lnTo>
                    <a:lnTo>
                      <a:pt x="178" y="177"/>
                    </a:lnTo>
                    <a:lnTo>
                      <a:pt x="178" y="172"/>
                    </a:lnTo>
                    <a:lnTo>
                      <a:pt x="178" y="151"/>
                    </a:lnTo>
                    <a:lnTo>
                      <a:pt x="178" y="134"/>
                    </a:lnTo>
                    <a:lnTo>
                      <a:pt x="180" y="136"/>
                    </a:lnTo>
                    <a:lnTo>
                      <a:pt x="183" y="138"/>
                    </a:lnTo>
                    <a:lnTo>
                      <a:pt x="185" y="139"/>
                    </a:lnTo>
                    <a:lnTo>
                      <a:pt x="187" y="139"/>
                    </a:lnTo>
                    <a:lnTo>
                      <a:pt x="188" y="141"/>
                    </a:lnTo>
                    <a:lnTo>
                      <a:pt x="190" y="141"/>
                    </a:lnTo>
                    <a:lnTo>
                      <a:pt x="192" y="141"/>
                    </a:lnTo>
                    <a:lnTo>
                      <a:pt x="194" y="144"/>
                    </a:lnTo>
                    <a:lnTo>
                      <a:pt x="199" y="148"/>
                    </a:lnTo>
                    <a:lnTo>
                      <a:pt x="197" y="148"/>
                    </a:lnTo>
                    <a:lnTo>
                      <a:pt x="199" y="149"/>
                    </a:lnTo>
                    <a:lnTo>
                      <a:pt x="200" y="153"/>
                    </a:lnTo>
                    <a:lnTo>
                      <a:pt x="202" y="153"/>
                    </a:lnTo>
                    <a:lnTo>
                      <a:pt x="200" y="156"/>
                    </a:lnTo>
                    <a:lnTo>
                      <a:pt x="202" y="156"/>
                    </a:lnTo>
                    <a:lnTo>
                      <a:pt x="204" y="156"/>
                    </a:lnTo>
                    <a:lnTo>
                      <a:pt x="204" y="158"/>
                    </a:lnTo>
                    <a:lnTo>
                      <a:pt x="204" y="160"/>
                    </a:lnTo>
                    <a:lnTo>
                      <a:pt x="205" y="160"/>
                    </a:lnTo>
                    <a:lnTo>
                      <a:pt x="205" y="161"/>
                    </a:lnTo>
                    <a:lnTo>
                      <a:pt x="205" y="163"/>
                    </a:lnTo>
                    <a:lnTo>
                      <a:pt x="207" y="165"/>
                    </a:lnTo>
                    <a:lnTo>
                      <a:pt x="209" y="165"/>
                    </a:lnTo>
                    <a:lnTo>
                      <a:pt x="209" y="166"/>
                    </a:lnTo>
                    <a:lnTo>
                      <a:pt x="211" y="166"/>
                    </a:lnTo>
                    <a:lnTo>
                      <a:pt x="211" y="168"/>
                    </a:lnTo>
                    <a:lnTo>
                      <a:pt x="212" y="168"/>
                    </a:lnTo>
                    <a:lnTo>
                      <a:pt x="212" y="170"/>
                    </a:lnTo>
                    <a:lnTo>
                      <a:pt x="211" y="170"/>
                    </a:lnTo>
                    <a:lnTo>
                      <a:pt x="211" y="172"/>
                    </a:lnTo>
                    <a:lnTo>
                      <a:pt x="212" y="173"/>
                    </a:lnTo>
                    <a:lnTo>
                      <a:pt x="214" y="175"/>
                    </a:lnTo>
                    <a:lnTo>
                      <a:pt x="212" y="177"/>
                    </a:lnTo>
                    <a:lnTo>
                      <a:pt x="212" y="178"/>
                    </a:lnTo>
                    <a:lnTo>
                      <a:pt x="214" y="178"/>
                    </a:lnTo>
                    <a:lnTo>
                      <a:pt x="212" y="180"/>
                    </a:lnTo>
                    <a:lnTo>
                      <a:pt x="216" y="182"/>
                    </a:lnTo>
                    <a:lnTo>
                      <a:pt x="216" y="185"/>
                    </a:lnTo>
                    <a:lnTo>
                      <a:pt x="217" y="185"/>
                    </a:lnTo>
                    <a:lnTo>
                      <a:pt x="216" y="187"/>
                    </a:lnTo>
                    <a:lnTo>
                      <a:pt x="219" y="187"/>
                    </a:lnTo>
                    <a:lnTo>
                      <a:pt x="219" y="189"/>
                    </a:lnTo>
                    <a:lnTo>
                      <a:pt x="219" y="190"/>
                    </a:lnTo>
                    <a:lnTo>
                      <a:pt x="219" y="192"/>
                    </a:lnTo>
                    <a:lnTo>
                      <a:pt x="221" y="194"/>
                    </a:lnTo>
                    <a:lnTo>
                      <a:pt x="219" y="197"/>
                    </a:lnTo>
                    <a:lnTo>
                      <a:pt x="221" y="199"/>
                    </a:lnTo>
                    <a:lnTo>
                      <a:pt x="221" y="200"/>
                    </a:lnTo>
                    <a:lnTo>
                      <a:pt x="221" y="202"/>
                    </a:lnTo>
                    <a:lnTo>
                      <a:pt x="222" y="202"/>
                    </a:lnTo>
                    <a:lnTo>
                      <a:pt x="221" y="206"/>
                    </a:lnTo>
                    <a:lnTo>
                      <a:pt x="219" y="211"/>
                    </a:lnTo>
                    <a:lnTo>
                      <a:pt x="216" y="212"/>
                    </a:lnTo>
                    <a:lnTo>
                      <a:pt x="214" y="216"/>
                    </a:lnTo>
                    <a:lnTo>
                      <a:pt x="211" y="219"/>
                    </a:lnTo>
                    <a:lnTo>
                      <a:pt x="209" y="223"/>
                    </a:lnTo>
                    <a:lnTo>
                      <a:pt x="209" y="224"/>
                    </a:lnTo>
                    <a:lnTo>
                      <a:pt x="211" y="226"/>
                    </a:lnTo>
                    <a:lnTo>
                      <a:pt x="211" y="229"/>
                    </a:lnTo>
                    <a:lnTo>
                      <a:pt x="211" y="231"/>
                    </a:lnTo>
                    <a:lnTo>
                      <a:pt x="211" y="234"/>
                    </a:lnTo>
                    <a:lnTo>
                      <a:pt x="211" y="236"/>
                    </a:lnTo>
                    <a:lnTo>
                      <a:pt x="212" y="238"/>
                    </a:lnTo>
                    <a:lnTo>
                      <a:pt x="211" y="238"/>
                    </a:lnTo>
                    <a:lnTo>
                      <a:pt x="214" y="238"/>
                    </a:lnTo>
                    <a:lnTo>
                      <a:pt x="214" y="241"/>
                    </a:lnTo>
                    <a:lnTo>
                      <a:pt x="216" y="240"/>
                    </a:lnTo>
                    <a:lnTo>
                      <a:pt x="217" y="240"/>
                    </a:lnTo>
                    <a:lnTo>
                      <a:pt x="219" y="240"/>
                    </a:lnTo>
                    <a:lnTo>
                      <a:pt x="221" y="240"/>
                    </a:lnTo>
                    <a:lnTo>
                      <a:pt x="221" y="238"/>
                    </a:lnTo>
                    <a:lnTo>
                      <a:pt x="224" y="236"/>
                    </a:lnTo>
                    <a:lnTo>
                      <a:pt x="226" y="238"/>
                    </a:lnTo>
                    <a:lnTo>
                      <a:pt x="228" y="236"/>
                    </a:lnTo>
                    <a:lnTo>
                      <a:pt x="229" y="240"/>
                    </a:lnTo>
                    <a:lnTo>
                      <a:pt x="233" y="240"/>
                    </a:lnTo>
                    <a:lnTo>
                      <a:pt x="236" y="240"/>
                    </a:lnTo>
                    <a:lnTo>
                      <a:pt x="241" y="240"/>
                    </a:lnTo>
                    <a:lnTo>
                      <a:pt x="243" y="238"/>
                    </a:lnTo>
                    <a:lnTo>
                      <a:pt x="245" y="240"/>
                    </a:lnTo>
                    <a:lnTo>
                      <a:pt x="246" y="238"/>
                    </a:lnTo>
                    <a:lnTo>
                      <a:pt x="250" y="238"/>
                    </a:lnTo>
                    <a:lnTo>
                      <a:pt x="256" y="240"/>
                    </a:lnTo>
                    <a:lnTo>
                      <a:pt x="258" y="238"/>
                    </a:lnTo>
                    <a:lnTo>
                      <a:pt x="262" y="240"/>
                    </a:lnTo>
                    <a:lnTo>
                      <a:pt x="265" y="240"/>
                    </a:lnTo>
                    <a:lnTo>
                      <a:pt x="268" y="236"/>
                    </a:lnTo>
                    <a:lnTo>
                      <a:pt x="270" y="234"/>
                    </a:lnTo>
                    <a:lnTo>
                      <a:pt x="268" y="231"/>
                    </a:lnTo>
                    <a:lnTo>
                      <a:pt x="272" y="229"/>
                    </a:lnTo>
                    <a:lnTo>
                      <a:pt x="277" y="229"/>
                    </a:lnTo>
                    <a:lnTo>
                      <a:pt x="282" y="228"/>
                    </a:lnTo>
                    <a:lnTo>
                      <a:pt x="284" y="226"/>
                    </a:lnTo>
                    <a:lnTo>
                      <a:pt x="289" y="223"/>
                    </a:lnTo>
                    <a:lnTo>
                      <a:pt x="289" y="221"/>
                    </a:lnTo>
                    <a:lnTo>
                      <a:pt x="289" y="219"/>
                    </a:lnTo>
                    <a:lnTo>
                      <a:pt x="290" y="217"/>
                    </a:lnTo>
                    <a:lnTo>
                      <a:pt x="289" y="216"/>
                    </a:lnTo>
                    <a:lnTo>
                      <a:pt x="292" y="214"/>
                    </a:lnTo>
                    <a:lnTo>
                      <a:pt x="296" y="214"/>
                    </a:lnTo>
                    <a:lnTo>
                      <a:pt x="296" y="212"/>
                    </a:lnTo>
                    <a:lnTo>
                      <a:pt x="299" y="212"/>
                    </a:lnTo>
                    <a:lnTo>
                      <a:pt x="299" y="211"/>
                    </a:lnTo>
                    <a:lnTo>
                      <a:pt x="301" y="211"/>
                    </a:lnTo>
                    <a:lnTo>
                      <a:pt x="301" y="209"/>
                    </a:lnTo>
                    <a:lnTo>
                      <a:pt x="301" y="207"/>
                    </a:lnTo>
                    <a:lnTo>
                      <a:pt x="302" y="207"/>
                    </a:lnTo>
                    <a:lnTo>
                      <a:pt x="304" y="206"/>
                    </a:lnTo>
                    <a:lnTo>
                      <a:pt x="307" y="207"/>
                    </a:lnTo>
                    <a:lnTo>
                      <a:pt x="309" y="206"/>
                    </a:lnTo>
                    <a:lnTo>
                      <a:pt x="309" y="204"/>
                    </a:lnTo>
                    <a:lnTo>
                      <a:pt x="311" y="204"/>
                    </a:lnTo>
                    <a:lnTo>
                      <a:pt x="311" y="202"/>
                    </a:lnTo>
                    <a:lnTo>
                      <a:pt x="313" y="202"/>
                    </a:lnTo>
                    <a:lnTo>
                      <a:pt x="313" y="200"/>
                    </a:lnTo>
                    <a:lnTo>
                      <a:pt x="314" y="200"/>
                    </a:lnTo>
                    <a:lnTo>
                      <a:pt x="314" y="197"/>
                    </a:lnTo>
                    <a:lnTo>
                      <a:pt x="316" y="197"/>
                    </a:lnTo>
                    <a:lnTo>
                      <a:pt x="316" y="194"/>
                    </a:lnTo>
                    <a:lnTo>
                      <a:pt x="318" y="192"/>
                    </a:lnTo>
                    <a:lnTo>
                      <a:pt x="316" y="190"/>
                    </a:lnTo>
                    <a:lnTo>
                      <a:pt x="318" y="190"/>
                    </a:lnTo>
                    <a:lnTo>
                      <a:pt x="318" y="189"/>
                    </a:lnTo>
                    <a:lnTo>
                      <a:pt x="319" y="187"/>
                    </a:lnTo>
                    <a:lnTo>
                      <a:pt x="318" y="185"/>
                    </a:lnTo>
                    <a:lnTo>
                      <a:pt x="319" y="182"/>
                    </a:lnTo>
                    <a:lnTo>
                      <a:pt x="321" y="182"/>
                    </a:lnTo>
                    <a:lnTo>
                      <a:pt x="321" y="180"/>
                    </a:lnTo>
                    <a:lnTo>
                      <a:pt x="323" y="178"/>
                    </a:lnTo>
                    <a:lnTo>
                      <a:pt x="321" y="177"/>
                    </a:lnTo>
                    <a:lnTo>
                      <a:pt x="323" y="177"/>
                    </a:lnTo>
                    <a:lnTo>
                      <a:pt x="321" y="175"/>
                    </a:lnTo>
                    <a:lnTo>
                      <a:pt x="323" y="173"/>
                    </a:lnTo>
                    <a:lnTo>
                      <a:pt x="323" y="172"/>
                    </a:lnTo>
                    <a:lnTo>
                      <a:pt x="323" y="170"/>
                    </a:lnTo>
                    <a:lnTo>
                      <a:pt x="324" y="170"/>
                    </a:lnTo>
                    <a:lnTo>
                      <a:pt x="326" y="170"/>
                    </a:lnTo>
                    <a:lnTo>
                      <a:pt x="324" y="170"/>
                    </a:lnTo>
                    <a:lnTo>
                      <a:pt x="326" y="166"/>
                    </a:lnTo>
                    <a:lnTo>
                      <a:pt x="330" y="165"/>
                    </a:lnTo>
                    <a:lnTo>
                      <a:pt x="330" y="163"/>
                    </a:lnTo>
                    <a:lnTo>
                      <a:pt x="331" y="163"/>
                    </a:lnTo>
                    <a:lnTo>
                      <a:pt x="331" y="160"/>
                    </a:lnTo>
                    <a:lnTo>
                      <a:pt x="331" y="161"/>
                    </a:lnTo>
                    <a:lnTo>
                      <a:pt x="333" y="160"/>
                    </a:lnTo>
                    <a:lnTo>
                      <a:pt x="333" y="161"/>
                    </a:lnTo>
                    <a:lnTo>
                      <a:pt x="335" y="163"/>
                    </a:lnTo>
                    <a:lnTo>
                      <a:pt x="336" y="161"/>
                    </a:lnTo>
                    <a:lnTo>
                      <a:pt x="338" y="161"/>
                    </a:lnTo>
                    <a:lnTo>
                      <a:pt x="341" y="160"/>
                    </a:lnTo>
                    <a:lnTo>
                      <a:pt x="345" y="160"/>
                    </a:lnTo>
                    <a:lnTo>
                      <a:pt x="347" y="160"/>
                    </a:lnTo>
                    <a:lnTo>
                      <a:pt x="348" y="160"/>
                    </a:lnTo>
                    <a:lnTo>
                      <a:pt x="350" y="161"/>
                    </a:lnTo>
                    <a:lnTo>
                      <a:pt x="352" y="161"/>
                    </a:lnTo>
                    <a:lnTo>
                      <a:pt x="353" y="160"/>
                    </a:lnTo>
                    <a:lnTo>
                      <a:pt x="353" y="161"/>
                    </a:lnTo>
                    <a:lnTo>
                      <a:pt x="355" y="161"/>
                    </a:lnTo>
                    <a:lnTo>
                      <a:pt x="355" y="163"/>
                    </a:lnTo>
                    <a:lnTo>
                      <a:pt x="357" y="163"/>
                    </a:lnTo>
                    <a:lnTo>
                      <a:pt x="358" y="163"/>
                    </a:lnTo>
                    <a:lnTo>
                      <a:pt x="358" y="165"/>
                    </a:lnTo>
                    <a:lnTo>
                      <a:pt x="360" y="165"/>
                    </a:lnTo>
                    <a:lnTo>
                      <a:pt x="362" y="165"/>
                    </a:lnTo>
                    <a:lnTo>
                      <a:pt x="362" y="166"/>
                    </a:lnTo>
                    <a:lnTo>
                      <a:pt x="364" y="166"/>
                    </a:lnTo>
                    <a:lnTo>
                      <a:pt x="364" y="168"/>
                    </a:lnTo>
                    <a:lnTo>
                      <a:pt x="365" y="168"/>
                    </a:lnTo>
                    <a:lnTo>
                      <a:pt x="367" y="168"/>
                    </a:lnTo>
                    <a:lnTo>
                      <a:pt x="369" y="170"/>
                    </a:lnTo>
                    <a:lnTo>
                      <a:pt x="369" y="172"/>
                    </a:lnTo>
                    <a:lnTo>
                      <a:pt x="372" y="172"/>
                    </a:lnTo>
                    <a:lnTo>
                      <a:pt x="372" y="173"/>
                    </a:lnTo>
                    <a:lnTo>
                      <a:pt x="374" y="175"/>
                    </a:lnTo>
                    <a:lnTo>
                      <a:pt x="375" y="175"/>
                    </a:lnTo>
                    <a:lnTo>
                      <a:pt x="377" y="177"/>
                    </a:lnTo>
                    <a:lnTo>
                      <a:pt x="379" y="178"/>
                    </a:lnTo>
                    <a:lnTo>
                      <a:pt x="381" y="177"/>
                    </a:lnTo>
                    <a:lnTo>
                      <a:pt x="382" y="177"/>
                    </a:lnTo>
                    <a:lnTo>
                      <a:pt x="382" y="178"/>
                    </a:lnTo>
                    <a:lnTo>
                      <a:pt x="384" y="178"/>
                    </a:lnTo>
                    <a:lnTo>
                      <a:pt x="384" y="177"/>
                    </a:lnTo>
                    <a:lnTo>
                      <a:pt x="386" y="178"/>
                    </a:lnTo>
                    <a:lnTo>
                      <a:pt x="387" y="177"/>
                    </a:lnTo>
                    <a:lnTo>
                      <a:pt x="389" y="177"/>
                    </a:lnTo>
                    <a:lnTo>
                      <a:pt x="391" y="177"/>
                    </a:lnTo>
                    <a:lnTo>
                      <a:pt x="392" y="178"/>
                    </a:lnTo>
                    <a:lnTo>
                      <a:pt x="394" y="182"/>
                    </a:lnTo>
                    <a:lnTo>
                      <a:pt x="396" y="180"/>
                    </a:lnTo>
                    <a:lnTo>
                      <a:pt x="396" y="182"/>
                    </a:lnTo>
                    <a:lnTo>
                      <a:pt x="398" y="182"/>
                    </a:lnTo>
                    <a:lnTo>
                      <a:pt x="399" y="183"/>
                    </a:lnTo>
                    <a:lnTo>
                      <a:pt x="401" y="183"/>
                    </a:lnTo>
                    <a:lnTo>
                      <a:pt x="403" y="183"/>
                    </a:lnTo>
                    <a:lnTo>
                      <a:pt x="404" y="183"/>
                    </a:lnTo>
                    <a:lnTo>
                      <a:pt x="416" y="187"/>
                    </a:lnTo>
                    <a:lnTo>
                      <a:pt x="418" y="187"/>
                    </a:lnTo>
                    <a:lnTo>
                      <a:pt x="421" y="187"/>
                    </a:lnTo>
                    <a:lnTo>
                      <a:pt x="423" y="187"/>
                    </a:lnTo>
                    <a:lnTo>
                      <a:pt x="426" y="187"/>
                    </a:lnTo>
                    <a:lnTo>
                      <a:pt x="428" y="185"/>
                    </a:lnTo>
                    <a:lnTo>
                      <a:pt x="430" y="183"/>
                    </a:lnTo>
                    <a:lnTo>
                      <a:pt x="432" y="182"/>
                    </a:lnTo>
                    <a:lnTo>
                      <a:pt x="433" y="182"/>
                    </a:lnTo>
                    <a:lnTo>
                      <a:pt x="437" y="183"/>
                    </a:lnTo>
                    <a:lnTo>
                      <a:pt x="438" y="183"/>
                    </a:lnTo>
                    <a:lnTo>
                      <a:pt x="449" y="185"/>
                    </a:lnTo>
                    <a:lnTo>
                      <a:pt x="457" y="180"/>
                    </a:lnTo>
                    <a:lnTo>
                      <a:pt x="460" y="178"/>
                    </a:lnTo>
                    <a:lnTo>
                      <a:pt x="464" y="173"/>
                    </a:lnTo>
                    <a:lnTo>
                      <a:pt x="466" y="166"/>
                    </a:lnTo>
                    <a:lnTo>
                      <a:pt x="467" y="160"/>
                    </a:lnTo>
                    <a:lnTo>
                      <a:pt x="469" y="158"/>
                    </a:lnTo>
                    <a:lnTo>
                      <a:pt x="476" y="141"/>
                    </a:lnTo>
                    <a:lnTo>
                      <a:pt x="477" y="139"/>
                    </a:lnTo>
                    <a:lnTo>
                      <a:pt x="476" y="136"/>
                    </a:lnTo>
                    <a:lnTo>
                      <a:pt x="474" y="134"/>
                    </a:lnTo>
                    <a:lnTo>
                      <a:pt x="474" y="132"/>
                    </a:lnTo>
                    <a:lnTo>
                      <a:pt x="481" y="132"/>
                    </a:lnTo>
                    <a:lnTo>
                      <a:pt x="483" y="131"/>
                    </a:lnTo>
                    <a:lnTo>
                      <a:pt x="503" y="127"/>
                    </a:lnTo>
                    <a:lnTo>
                      <a:pt x="506" y="124"/>
                    </a:lnTo>
                    <a:lnTo>
                      <a:pt x="508" y="119"/>
                    </a:lnTo>
                    <a:lnTo>
                      <a:pt x="511" y="117"/>
                    </a:lnTo>
                    <a:lnTo>
                      <a:pt x="511" y="115"/>
                    </a:lnTo>
                    <a:lnTo>
                      <a:pt x="517" y="114"/>
                    </a:lnTo>
                    <a:lnTo>
                      <a:pt x="517" y="112"/>
                    </a:lnTo>
                    <a:lnTo>
                      <a:pt x="520" y="110"/>
                    </a:lnTo>
                    <a:lnTo>
                      <a:pt x="522" y="110"/>
                    </a:lnTo>
                    <a:lnTo>
                      <a:pt x="525" y="109"/>
                    </a:lnTo>
                    <a:lnTo>
                      <a:pt x="527" y="107"/>
                    </a:lnTo>
                    <a:lnTo>
                      <a:pt x="527" y="105"/>
                    </a:lnTo>
                    <a:lnTo>
                      <a:pt x="527" y="103"/>
                    </a:lnTo>
                    <a:lnTo>
                      <a:pt x="527" y="100"/>
                    </a:lnTo>
                    <a:lnTo>
                      <a:pt x="528" y="93"/>
                    </a:lnTo>
                    <a:lnTo>
                      <a:pt x="530" y="93"/>
                    </a:lnTo>
                    <a:lnTo>
                      <a:pt x="530" y="92"/>
                    </a:lnTo>
                    <a:lnTo>
                      <a:pt x="530" y="88"/>
                    </a:lnTo>
                    <a:lnTo>
                      <a:pt x="530" y="86"/>
                    </a:lnTo>
                    <a:lnTo>
                      <a:pt x="530" y="85"/>
                    </a:lnTo>
                    <a:lnTo>
                      <a:pt x="532" y="80"/>
                    </a:lnTo>
                    <a:lnTo>
                      <a:pt x="534" y="80"/>
                    </a:lnTo>
                    <a:lnTo>
                      <a:pt x="534" y="78"/>
                    </a:lnTo>
                    <a:lnTo>
                      <a:pt x="534" y="76"/>
                    </a:lnTo>
                    <a:lnTo>
                      <a:pt x="535" y="78"/>
                    </a:lnTo>
                    <a:lnTo>
                      <a:pt x="537" y="78"/>
                    </a:lnTo>
                    <a:lnTo>
                      <a:pt x="537" y="76"/>
                    </a:lnTo>
                    <a:lnTo>
                      <a:pt x="535" y="75"/>
                    </a:lnTo>
                    <a:lnTo>
                      <a:pt x="539" y="75"/>
                    </a:lnTo>
                    <a:lnTo>
                      <a:pt x="539" y="73"/>
                    </a:lnTo>
                    <a:lnTo>
                      <a:pt x="540" y="73"/>
                    </a:lnTo>
                    <a:lnTo>
                      <a:pt x="540" y="71"/>
                    </a:lnTo>
                    <a:lnTo>
                      <a:pt x="542" y="71"/>
                    </a:lnTo>
                    <a:lnTo>
                      <a:pt x="544" y="71"/>
                    </a:lnTo>
                    <a:lnTo>
                      <a:pt x="542" y="69"/>
                    </a:lnTo>
                    <a:lnTo>
                      <a:pt x="544" y="69"/>
                    </a:lnTo>
                    <a:lnTo>
                      <a:pt x="545" y="69"/>
                    </a:lnTo>
                    <a:lnTo>
                      <a:pt x="545" y="68"/>
                    </a:lnTo>
                    <a:lnTo>
                      <a:pt x="549" y="68"/>
                    </a:lnTo>
                    <a:lnTo>
                      <a:pt x="551" y="64"/>
                    </a:lnTo>
                    <a:lnTo>
                      <a:pt x="551" y="66"/>
                    </a:lnTo>
                    <a:lnTo>
                      <a:pt x="552" y="66"/>
                    </a:lnTo>
                    <a:lnTo>
                      <a:pt x="552" y="64"/>
                    </a:lnTo>
                    <a:lnTo>
                      <a:pt x="554" y="64"/>
                    </a:lnTo>
                    <a:lnTo>
                      <a:pt x="554" y="66"/>
                    </a:lnTo>
                    <a:lnTo>
                      <a:pt x="556" y="64"/>
                    </a:lnTo>
                    <a:lnTo>
                      <a:pt x="559" y="64"/>
                    </a:lnTo>
                    <a:lnTo>
                      <a:pt x="562" y="61"/>
                    </a:lnTo>
                    <a:lnTo>
                      <a:pt x="562" y="58"/>
                    </a:lnTo>
                    <a:lnTo>
                      <a:pt x="564" y="56"/>
                    </a:lnTo>
                    <a:lnTo>
                      <a:pt x="566" y="56"/>
                    </a:lnTo>
                    <a:lnTo>
                      <a:pt x="568" y="54"/>
                    </a:lnTo>
                    <a:lnTo>
                      <a:pt x="569" y="56"/>
                    </a:lnTo>
                    <a:lnTo>
                      <a:pt x="571" y="56"/>
                    </a:lnTo>
                    <a:lnTo>
                      <a:pt x="573" y="52"/>
                    </a:lnTo>
                    <a:lnTo>
                      <a:pt x="573" y="51"/>
                    </a:lnTo>
                    <a:lnTo>
                      <a:pt x="574" y="51"/>
                    </a:lnTo>
                    <a:lnTo>
                      <a:pt x="574" y="49"/>
                    </a:lnTo>
                    <a:lnTo>
                      <a:pt x="578" y="49"/>
                    </a:lnTo>
                    <a:lnTo>
                      <a:pt x="581" y="47"/>
                    </a:lnTo>
                    <a:lnTo>
                      <a:pt x="581" y="42"/>
                    </a:lnTo>
                    <a:lnTo>
                      <a:pt x="586" y="39"/>
                    </a:lnTo>
                    <a:lnTo>
                      <a:pt x="586" y="35"/>
                    </a:lnTo>
                    <a:lnTo>
                      <a:pt x="588" y="35"/>
                    </a:lnTo>
                    <a:lnTo>
                      <a:pt x="591" y="32"/>
                    </a:lnTo>
                    <a:lnTo>
                      <a:pt x="593" y="29"/>
                    </a:lnTo>
                    <a:lnTo>
                      <a:pt x="595" y="27"/>
                    </a:lnTo>
                    <a:lnTo>
                      <a:pt x="596" y="27"/>
                    </a:lnTo>
                    <a:lnTo>
                      <a:pt x="598" y="25"/>
                    </a:lnTo>
                    <a:lnTo>
                      <a:pt x="600" y="24"/>
                    </a:lnTo>
                    <a:lnTo>
                      <a:pt x="602" y="22"/>
                    </a:lnTo>
                    <a:lnTo>
                      <a:pt x="608" y="22"/>
                    </a:lnTo>
                    <a:lnTo>
                      <a:pt x="610" y="24"/>
                    </a:lnTo>
                    <a:lnTo>
                      <a:pt x="612" y="22"/>
                    </a:lnTo>
                    <a:lnTo>
                      <a:pt x="617" y="22"/>
                    </a:lnTo>
                    <a:lnTo>
                      <a:pt x="622" y="18"/>
                    </a:lnTo>
                    <a:lnTo>
                      <a:pt x="625" y="18"/>
                    </a:lnTo>
                    <a:lnTo>
                      <a:pt x="625" y="17"/>
                    </a:lnTo>
                    <a:lnTo>
                      <a:pt x="627" y="17"/>
                    </a:lnTo>
                    <a:lnTo>
                      <a:pt x="630" y="17"/>
                    </a:lnTo>
                    <a:lnTo>
                      <a:pt x="632" y="13"/>
                    </a:lnTo>
                    <a:lnTo>
                      <a:pt x="632" y="8"/>
                    </a:lnTo>
                    <a:lnTo>
                      <a:pt x="636" y="5"/>
                    </a:lnTo>
                    <a:lnTo>
                      <a:pt x="642" y="5"/>
                    </a:lnTo>
                    <a:lnTo>
                      <a:pt x="646" y="3"/>
                    </a:lnTo>
                    <a:lnTo>
                      <a:pt x="647" y="3"/>
                    </a:lnTo>
                    <a:lnTo>
                      <a:pt x="651" y="3"/>
                    </a:lnTo>
                    <a:lnTo>
                      <a:pt x="653" y="3"/>
                    </a:lnTo>
                    <a:lnTo>
                      <a:pt x="658" y="1"/>
                    </a:lnTo>
                    <a:lnTo>
                      <a:pt x="661" y="3"/>
                    </a:lnTo>
                    <a:lnTo>
                      <a:pt x="661" y="1"/>
                    </a:lnTo>
                    <a:lnTo>
                      <a:pt x="664" y="0"/>
                    </a:lnTo>
                    <a:lnTo>
                      <a:pt x="664" y="1"/>
                    </a:lnTo>
                    <a:lnTo>
                      <a:pt x="668" y="0"/>
                    </a:lnTo>
                    <a:lnTo>
                      <a:pt x="673" y="0"/>
                    </a:lnTo>
                    <a:lnTo>
                      <a:pt x="680" y="3"/>
                    </a:lnTo>
                    <a:lnTo>
                      <a:pt x="681" y="3"/>
                    </a:lnTo>
                    <a:lnTo>
                      <a:pt x="683" y="5"/>
                    </a:lnTo>
                    <a:lnTo>
                      <a:pt x="687" y="5"/>
                    </a:lnTo>
                    <a:lnTo>
                      <a:pt x="687" y="7"/>
                    </a:lnTo>
                    <a:lnTo>
                      <a:pt x="688" y="7"/>
                    </a:lnTo>
                    <a:lnTo>
                      <a:pt x="692" y="10"/>
                    </a:lnTo>
                    <a:lnTo>
                      <a:pt x="697" y="8"/>
                    </a:lnTo>
                    <a:lnTo>
                      <a:pt x="700" y="12"/>
                    </a:lnTo>
                    <a:lnTo>
                      <a:pt x="704" y="12"/>
                    </a:lnTo>
                    <a:lnTo>
                      <a:pt x="710" y="10"/>
                    </a:lnTo>
                    <a:lnTo>
                      <a:pt x="714" y="10"/>
                    </a:lnTo>
                    <a:lnTo>
                      <a:pt x="715" y="10"/>
                    </a:lnTo>
                    <a:lnTo>
                      <a:pt x="717" y="10"/>
                    </a:lnTo>
                    <a:lnTo>
                      <a:pt x="719" y="10"/>
                    </a:lnTo>
                    <a:lnTo>
                      <a:pt x="721" y="10"/>
                    </a:lnTo>
                    <a:lnTo>
                      <a:pt x="727" y="8"/>
                    </a:lnTo>
                    <a:lnTo>
                      <a:pt x="732" y="8"/>
                    </a:lnTo>
                    <a:lnTo>
                      <a:pt x="734" y="10"/>
                    </a:lnTo>
                    <a:lnTo>
                      <a:pt x="736" y="10"/>
                    </a:lnTo>
                    <a:lnTo>
                      <a:pt x="741" y="12"/>
                    </a:lnTo>
                    <a:lnTo>
                      <a:pt x="744" y="10"/>
                    </a:lnTo>
                    <a:lnTo>
                      <a:pt x="746" y="12"/>
                    </a:lnTo>
                    <a:lnTo>
                      <a:pt x="749" y="12"/>
                    </a:lnTo>
                    <a:lnTo>
                      <a:pt x="751" y="15"/>
                    </a:lnTo>
                    <a:close/>
                    <a:moveTo>
                      <a:pt x="617" y="326"/>
                    </a:moveTo>
                    <a:lnTo>
                      <a:pt x="613" y="328"/>
                    </a:lnTo>
                    <a:lnTo>
                      <a:pt x="610" y="328"/>
                    </a:lnTo>
                    <a:lnTo>
                      <a:pt x="608" y="328"/>
                    </a:lnTo>
                    <a:lnTo>
                      <a:pt x="603" y="330"/>
                    </a:lnTo>
                    <a:lnTo>
                      <a:pt x="605" y="330"/>
                    </a:lnTo>
                    <a:lnTo>
                      <a:pt x="602" y="331"/>
                    </a:lnTo>
                    <a:lnTo>
                      <a:pt x="603" y="331"/>
                    </a:lnTo>
                    <a:lnTo>
                      <a:pt x="602" y="333"/>
                    </a:lnTo>
                    <a:lnTo>
                      <a:pt x="600" y="333"/>
                    </a:lnTo>
                    <a:lnTo>
                      <a:pt x="598" y="333"/>
                    </a:lnTo>
                    <a:lnTo>
                      <a:pt x="595" y="333"/>
                    </a:lnTo>
                    <a:lnTo>
                      <a:pt x="593" y="333"/>
                    </a:lnTo>
                    <a:lnTo>
                      <a:pt x="591" y="335"/>
                    </a:lnTo>
                    <a:lnTo>
                      <a:pt x="590" y="335"/>
                    </a:lnTo>
                    <a:lnTo>
                      <a:pt x="588" y="338"/>
                    </a:lnTo>
                    <a:lnTo>
                      <a:pt x="586" y="338"/>
                    </a:lnTo>
                    <a:lnTo>
                      <a:pt x="586" y="340"/>
                    </a:lnTo>
                    <a:lnTo>
                      <a:pt x="585" y="342"/>
                    </a:lnTo>
                    <a:lnTo>
                      <a:pt x="583" y="342"/>
                    </a:lnTo>
                    <a:lnTo>
                      <a:pt x="581" y="340"/>
                    </a:lnTo>
                    <a:lnTo>
                      <a:pt x="579" y="342"/>
                    </a:lnTo>
                    <a:lnTo>
                      <a:pt x="578" y="342"/>
                    </a:lnTo>
                    <a:lnTo>
                      <a:pt x="578" y="343"/>
                    </a:lnTo>
                    <a:lnTo>
                      <a:pt x="576" y="343"/>
                    </a:lnTo>
                    <a:lnTo>
                      <a:pt x="574" y="343"/>
                    </a:lnTo>
                    <a:lnTo>
                      <a:pt x="571" y="343"/>
                    </a:lnTo>
                    <a:lnTo>
                      <a:pt x="571" y="345"/>
                    </a:lnTo>
                    <a:lnTo>
                      <a:pt x="569" y="345"/>
                    </a:lnTo>
                    <a:lnTo>
                      <a:pt x="569" y="347"/>
                    </a:lnTo>
                    <a:lnTo>
                      <a:pt x="569" y="348"/>
                    </a:lnTo>
                    <a:lnTo>
                      <a:pt x="568" y="348"/>
                    </a:lnTo>
                    <a:lnTo>
                      <a:pt x="568" y="350"/>
                    </a:lnTo>
                    <a:lnTo>
                      <a:pt x="566" y="350"/>
                    </a:lnTo>
                    <a:lnTo>
                      <a:pt x="568" y="352"/>
                    </a:lnTo>
                    <a:lnTo>
                      <a:pt x="566" y="352"/>
                    </a:lnTo>
                    <a:lnTo>
                      <a:pt x="566" y="354"/>
                    </a:lnTo>
                    <a:lnTo>
                      <a:pt x="564" y="355"/>
                    </a:lnTo>
                    <a:lnTo>
                      <a:pt x="564" y="357"/>
                    </a:lnTo>
                    <a:lnTo>
                      <a:pt x="562" y="357"/>
                    </a:lnTo>
                    <a:lnTo>
                      <a:pt x="559" y="359"/>
                    </a:lnTo>
                    <a:lnTo>
                      <a:pt x="559" y="360"/>
                    </a:lnTo>
                    <a:lnTo>
                      <a:pt x="561" y="360"/>
                    </a:lnTo>
                    <a:lnTo>
                      <a:pt x="561" y="362"/>
                    </a:lnTo>
                    <a:lnTo>
                      <a:pt x="557" y="362"/>
                    </a:lnTo>
                    <a:lnTo>
                      <a:pt x="557" y="364"/>
                    </a:lnTo>
                    <a:lnTo>
                      <a:pt x="556" y="364"/>
                    </a:lnTo>
                    <a:lnTo>
                      <a:pt x="557" y="364"/>
                    </a:lnTo>
                    <a:lnTo>
                      <a:pt x="556" y="365"/>
                    </a:lnTo>
                    <a:lnTo>
                      <a:pt x="556" y="367"/>
                    </a:lnTo>
                    <a:lnTo>
                      <a:pt x="554" y="367"/>
                    </a:lnTo>
                    <a:lnTo>
                      <a:pt x="554" y="369"/>
                    </a:lnTo>
                    <a:lnTo>
                      <a:pt x="551" y="371"/>
                    </a:lnTo>
                    <a:lnTo>
                      <a:pt x="551" y="372"/>
                    </a:lnTo>
                    <a:lnTo>
                      <a:pt x="549" y="374"/>
                    </a:lnTo>
                    <a:lnTo>
                      <a:pt x="549" y="376"/>
                    </a:lnTo>
                    <a:lnTo>
                      <a:pt x="547" y="374"/>
                    </a:lnTo>
                    <a:lnTo>
                      <a:pt x="545" y="376"/>
                    </a:lnTo>
                    <a:lnTo>
                      <a:pt x="544" y="376"/>
                    </a:lnTo>
                    <a:lnTo>
                      <a:pt x="544" y="377"/>
                    </a:lnTo>
                    <a:lnTo>
                      <a:pt x="540" y="377"/>
                    </a:lnTo>
                    <a:lnTo>
                      <a:pt x="537" y="379"/>
                    </a:lnTo>
                    <a:lnTo>
                      <a:pt x="535" y="381"/>
                    </a:lnTo>
                    <a:lnTo>
                      <a:pt x="535" y="379"/>
                    </a:lnTo>
                    <a:lnTo>
                      <a:pt x="534" y="379"/>
                    </a:lnTo>
                    <a:lnTo>
                      <a:pt x="535" y="381"/>
                    </a:lnTo>
                    <a:lnTo>
                      <a:pt x="534" y="381"/>
                    </a:lnTo>
                    <a:lnTo>
                      <a:pt x="539" y="386"/>
                    </a:lnTo>
                    <a:lnTo>
                      <a:pt x="544" y="399"/>
                    </a:lnTo>
                    <a:lnTo>
                      <a:pt x="547" y="399"/>
                    </a:lnTo>
                    <a:lnTo>
                      <a:pt x="547" y="401"/>
                    </a:lnTo>
                    <a:lnTo>
                      <a:pt x="549" y="401"/>
                    </a:lnTo>
                    <a:lnTo>
                      <a:pt x="549" y="406"/>
                    </a:lnTo>
                    <a:lnTo>
                      <a:pt x="554" y="406"/>
                    </a:lnTo>
                    <a:lnTo>
                      <a:pt x="552" y="408"/>
                    </a:lnTo>
                    <a:lnTo>
                      <a:pt x="552" y="413"/>
                    </a:lnTo>
                    <a:lnTo>
                      <a:pt x="552" y="415"/>
                    </a:lnTo>
                    <a:lnTo>
                      <a:pt x="552" y="416"/>
                    </a:lnTo>
                    <a:lnTo>
                      <a:pt x="557" y="415"/>
                    </a:lnTo>
                    <a:lnTo>
                      <a:pt x="557" y="418"/>
                    </a:lnTo>
                    <a:lnTo>
                      <a:pt x="561" y="420"/>
                    </a:lnTo>
                    <a:lnTo>
                      <a:pt x="562" y="422"/>
                    </a:lnTo>
                    <a:lnTo>
                      <a:pt x="564" y="422"/>
                    </a:lnTo>
                    <a:lnTo>
                      <a:pt x="564" y="423"/>
                    </a:lnTo>
                    <a:lnTo>
                      <a:pt x="568" y="427"/>
                    </a:lnTo>
                    <a:lnTo>
                      <a:pt x="571" y="430"/>
                    </a:lnTo>
                    <a:lnTo>
                      <a:pt x="573" y="430"/>
                    </a:lnTo>
                    <a:lnTo>
                      <a:pt x="579" y="428"/>
                    </a:lnTo>
                    <a:lnTo>
                      <a:pt x="581" y="432"/>
                    </a:lnTo>
                    <a:lnTo>
                      <a:pt x="585" y="432"/>
                    </a:lnTo>
                    <a:lnTo>
                      <a:pt x="588" y="432"/>
                    </a:lnTo>
                    <a:lnTo>
                      <a:pt x="590" y="433"/>
                    </a:lnTo>
                    <a:lnTo>
                      <a:pt x="590" y="428"/>
                    </a:lnTo>
                    <a:lnTo>
                      <a:pt x="591" y="428"/>
                    </a:lnTo>
                    <a:lnTo>
                      <a:pt x="591" y="427"/>
                    </a:lnTo>
                    <a:lnTo>
                      <a:pt x="593" y="425"/>
                    </a:lnTo>
                    <a:lnTo>
                      <a:pt x="593" y="423"/>
                    </a:lnTo>
                    <a:lnTo>
                      <a:pt x="591" y="422"/>
                    </a:lnTo>
                    <a:lnTo>
                      <a:pt x="593" y="422"/>
                    </a:lnTo>
                    <a:lnTo>
                      <a:pt x="595" y="420"/>
                    </a:lnTo>
                    <a:lnTo>
                      <a:pt x="596" y="420"/>
                    </a:lnTo>
                    <a:lnTo>
                      <a:pt x="598" y="418"/>
                    </a:lnTo>
                    <a:lnTo>
                      <a:pt x="596" y="415"/>
                    </a:lnTo>
                    <a:lnTo>
                      <a:pt x="595" y="413"/>
                    </a:lnTo>
                    <a:lnTo>
                      <a:pt x="596" y="411"/>
                    </a:lnTo>
                    <a:lnTo>
                      <a:pt x="600" y="411"/>
                    </a:lnTo>
                    <a:lnTo>
                      <a:pt x="600" y="410"/>
                    </a:lnTo>
                    <a:lnTo>
                      <a:pt x="602" y="410"/>
                    </a:lnTo>
                    <a:lnTo>
                      <a:pt x="602" y="408"/>
                    </a:lnTo>
                    <a:lnTo>
                      <a:pt x="603" y="406"/>
                    </a:lnTo>
                    <a:lnTo>
                      <a:pt x="608" y="406"/>
                    </a:lnTo>
                    <a:lnTo>
                      <a:pt x="612" y="405"/>
                    </a:lnTo>
                    <a:lnTo>
                      <a:pt x="617" y="406"/>
                    </a:lnTo>
                    <a:lnTo>
                      <a:pt x="622" y="405"/>
                    </a:lnTo>
                    <a:lnTo>
                      <a:pt x="624" y="405"/>
                    </a:lnTo>
                    <a:lnTo>
                      <a:pt x="627" y="403"/>
                    </a:lnTo>
                    <a:lnTo>
                      <a:pt x="632" y="401"/>
                    </a:lnTo>
                    <a:lnTo>
                      <a:pt x="634" y="399"/>
                    </a:lnTo>
                    <a:lnTo>
                      <a:pt x="639" y="396"/>
                    </a:lnTo>
                    <a:lnTo>
                      <a:pt x="639" y="398"/>
                    </a:lnTo>
                    <a:lnTo>
                      <a:pt x="641" y="396"/>
                    </a:lnTo>
                    <a:lnTo>
                      <a:pt x="642" y="394"/>
                    </a:lnTo>
                    <a:lnTo>
                      <a:pt x="642" y="393"/>
                    </a:lnTo>
                    <a:lnTo>
                      <a:pt x="639" y="391"/>
                    </a:lnTo>
                    <a:lnTo>
                      <a:pt x="641" y="389"/>
                    </a:lnTo>
                    <a:lnTo>
                      <a:pt x="641" y="388"/>
                    </a:lnTo>
                    <a:lnTo>
                      <a:pt x="642" y="386"/>
                    </a:lnTo>
                    <a:lnTo>
                      <a:pt x="642" y="382"/>
                    </a:lnTo>
                    <a:lnTo>
                      <a:pt x="646" y="381"/>
                    </a:lnTo>
                    <a:lnTo>
                      <a:pt x="649" y="381"/>
                    </a:lnTo>
                    <a:lnTo>
                      <a:pt x="649" y="377"/>
                    </a:lnTo>
                    <a:lnTo>
                      <a:pt x="651" y="377"/>
                    </a:lnTo>
                    <a:lnTo>
                      <a:pt x="649" y="376"/>
                    </a:lnTo>
                    <a:lnTo>
                      <a:pt x="651" y="376"/>
                    </a:lnTo>
                    <a:lnTo>
                      <a:pt x="649" y="374"/>
                    </a:lnTo>
                    <a:lnTo>
                      <a:pt x="649" y="372"/>
                    </a:lnTo>
                    <a:lnTo>
                      <a:pt x="654" y="371"/>
                    </a:lnTo>
                    <a:lnTo>
                      <a:pt x="656" y="369"/>
                    </a:lnTo>
                    <a:lnTo>
                      <a:pt x="658" y="367"/>
                    </a:lnTo>
                    <a:lnTo>
                      <a:pt x="656" y="365"/>
                    </a:lnTo>
                    <a:lnTo>
                      <a:pt x="658" y="365"/>
                    </a:lnTo>
                    <a:lnTo>
                      <a:pt x="656" y="364"/>
                    </a:lnTo>
                    <a:lnTo>
                      <a:pt x="656" y="362"/>
                    </a:lnTo>
                    <a:lnTo>
                      <a:pt x="656" y="360"/>
                    </a:lnTo>
                    <a:lnTo>
                      <a:pt x="654" y="359"/>
                    </a:lnTo>
                    <a:lnTo>
                      <a:pt x="653" y="359"/>
                    </a:lnTo>
                    <a:lnTo>
                      <a:pt x="653" y="357"/>
                    </a:lnTo>
                    <a:lnTo>
                      <a:pt x="653" y="355"/>
                    </a:lnTo>
                    <a:lnTo>
                      <a:pt x="651" y="352"/>
                    </a:lnTo>
                    <a:lnTo>
                      <a:pt x="649" y="352"/>
                    </a:lnTo>
                    <a:lnTo>
                      <a:pt x="647" y="352"/>
                    </a:lnTo>
                    <a:lnTo>
                      <a:pt x="646" y="350"/>
                    </a:lnTo>
                    <a:lnTo>
                      <a:pt x="641" y="347"/>
                    </a:lnTo>
                    <a:lnTo>
                      <a:pt x="639" y="345"/>
                    </a:lnTo>
                    <a:lnTo>
                      <a:pt x="639" y="343"/>
                    </a:lnTo>
                    <a:lnTo>
                      <a:pt x="637" y="343"/>
                    </a:lnTo>
                    <a:lnTo>
                      <a:pt x="636" y="342"/>
                    </a:lnTo>
                    <a:lnTo>
                      <a:pt x="634" y="343"/>
                    </a:lnTo>
                    <a:lnTo>
                      <a:pt x="632" y="342"/>
                    </a:lnTo>
                    <a:lnTo>
                      <a:pt x="630" y="342"/>
                    </a:lnTo>
                    <a:lnTo>
                      <a:pt x="632" y="340"/>
                    </a:lnTo>
                    <a:lnTo>
                      <a:pt x="630" y="338"/>
                    </a:lnTo>
                    <a:lnTo>
                      <a:pt x="632" y="338"/>
                    </a:lnTo>
                    <a:lnTo>
                      <a:pt x="630" y="338"/>
                    </a:lnTo>
                    <a:lnTo>
                      <a:pt x="632" y="337"/>
                    </a:lnTo>
                    <a:lnTo>
                      <a:pt x="630" y="337"/>
                    </a:lnTo>
                    <a:lnTo>
                      <a:pt x="629" y="337"/>
                    </a:lnTo>
                    <a:lnTo>
                      <a:pt x="627" y="337"/>
                    </a:lnTo>
                    <a:lnTo>
                      <a:pt x="625" y="337"/>
                    </a:lnTo>
                    <a:lnTo>
                      <a:pt x="625" y="333"/>
                    </a:lnTo>
                    <a:lnTo>
                      <a:pt x="620" y="331"/>
                    </a:lnTo>
                    <a:lnTo>
                      <a:pt x="619" y="328"/>
                    </a:lnTo>
                    <a:lnTo>
                      <a:pt x="617" y="326"/>
                    </a:lnTo>
                    <a:close/>
                    <a:moveTo>
                      <a:pt x="95" y="590"/>
                    </a:moveTo>
                    <a:lnTo>
                      <a:pt x="97" y="590"/>
                    </a:lnTo>
                    <a:lnTo>
                      <a:pt x="97" y="592"/>
                    </a:lnTo>
                    <a:lnTo>
                      <a:pt x="95" y="592"/>
                    </a:lnTo>
                    <a:lnTo>
                      <a:pt x="95" y="590"/>
                    </a:lnTo>
                    <a:close/>
                    <a:moveTo>
                      <a:pt x="81" y="571"/>
                    </a:moveTo>
                    <a:lnTo>
                      <a:pt x="83" y="571"/>
                    </a:lnTo>
                    <a:lnTo>
                      <a:pt x="83" y="573"/>
                    </a:lnTo>
                    <a:lnTo>
                      <a:pt x="81" y="573"/>
                    </a:lnTo>
                    <a:lnTo>
                      <a:pt x="81" y="571"/>
                    </a:lnTo>
                    <a:close/>
                  </a:path>
                </a:pathLst>
              </a:custGeom>
              <a:solidFill>
                <a:schemeClr val="accent1">
                  <a:lumMod val="75000"/>
                </a:schemeClr>
              </a:solidFill>
              <a:ln w="6350">
                <a:solidFill>
                  <a:schemeClr val="accent1">
                    <a:lumMod val="75000"/>
                  </a:schemeClr>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a:p>
                <a:pPr fontAlgn="base">
                  <a:spcBef>
                    <a:spcPct val="0"/>
                  </a:spcBef>
                  <a:spcAft>
                    <a:spcPct val="0"/>
                  </a:spcAft>
                  <a:buClrTx/>
                  <a:buFontTx/>
                  <a:buNone/>
                </a:pPr>
                <a:endParaRPr lang="en-US" sz="1200" b="1" kern="1200" dirty="0">
                  <a:latin typeface="Arial" charset="0"/>
                  <a:ea typeface="+mn-ea"/>
                  <a:cs typeface="+mn-cs"/>
                </a:endParaRPr>
              </a:p>
              <a:p>
                <a:pPr fontAlgn="base">
                  <a:spcBef>
                    <a:spcPct val="0"/>
                  </a:spcBef>
                  <a:spcAft>
                    <a:spcPct val="0"/>
                  </a:spcAft>
                  <a:buClrTx/>
                  <a:buFontTx/>
                  <a:buNone/>
                </a:pPr>
                <a:r>
                  <a:rPr lang="en-US" sz="1200" b="1" kern="1200" dirty="0">
                    <a:latin typeface="Arial" charset="0"/>
                    <a:ea typeface="+mn-ea"/>
                    <a:cs typeface="+mn-cs"/>
                  </a:rPr>
                  <a:t>       3</a:t>
                </a:r>
              </a:p>
            </p:txBody>
          </p:sp>
          <p:sp>
            <p:nvSpPr>
              <p:cNvPr id="272" name="Freeform 54">
                <a:extLst>
                  <a:ext uri="{FF2B5EF4-FFF2-40B4-BE49-F238E27FC236}">
                    <a16:creationId xmlns:a16="http://schemas.microsoft.com/office/drawing/2014/main" id="{C1079C51-5266-41CA-8AE2-B1A0D69D3F68}"/>
                  </a:ext>
                </a:extLst>
              </p:cNvPr>
              <p:cNvSpPr>
                <a:spLocks/>
              </p:cNvSpPr>
              <p:nvPr/>
            </p:nvSpPr>
            <p:spPr bwMode="gray">
              <a:xfrm>
                <a:off x="6518275" y="2471738"/>
                <a:ext cx="895350" cy="701675"/>
              </a:xfrm>
              <a:custGeom>
                <a:avLst/>
                <a:gdLst>
                  <a:gd name="T0" fmla="*/ 493 w 564"/>
                  <a:gd name="T1" fmla="*/ 188 h 442"/>
                  <a:gd name="T2" fmla="*/ 476 w 564"/>
                  <a:gd name="T3" fmla="*/ 188 h 442"/>
                  <a:gd name="T4" fmla="*/ 461 w 564"/>
                  <a:gd name="T5" fmla="*/ 190 h 442"/>
                  <a:gd name="T6" fmla="*/ 459 w 564"/>
                  <a:gd name="T7" fmla="*/ 202 h 442"/>
                  <a:gd name="T8" fmla="*/ 452 w 564"/>
                  <a:gd name="T9" fmla="*/ 212 h 442"/>
                  <a:gd name="T10" fmla="*/ 454 w 564"/>
                  <a:gd name="T11" fmla="*/ 224 h 442"/>
                  <a:gd name="T12" fmla="*/ 468 w 564"/>
                  <a:gd name="T13" fmla="*/ 226 h 442"/>
                  <a:gd name="T14" fmla="*/ 478 w 564"/>
                  <a:gd name="T15" fmla="*/ 227 h 442"/>
                  <a:gd name="T16" fmla="*/ 496 w 564"/>
                  <a:gd name="T17" fmla="*/ 238 h 442"/>
                  <a:gd name="T18" fmla="*/ 503 w 564"/>
                  <a:gd name="T19" fmla="*/ 255 h 442"/>
                  <a:gd name="T20" fmla="*/ 519 w 564"/>
                  <a:gd name="T21" fmla="*/ 268 h 442"/>
                  <a:gd name="T22" fmla="*/ 530 w 564"/>
                  <a:gd name="T23" fmla="*/ 277 h 442"/>
                  <a:gd name="T24" fmla="*/ 546 w 564"/>
                  <a:gd name="T25" fmla="*/ 285 h 442"/>
                  <a:gd name="T26" fmla="*/ 547 w 564"/>
                  <a:gd name="T27" fmla="*/ 301 h 442"/>
                  <a:gd name="T28" fmla="*/ 563 w 564"/>
                  <a:gd name="T29" fmla="*/ 341 h 442"/>
                  <a:gd name="T30" fmla="*/ 474 w 564"/>
                  <a:gd name="T31" fmla="*/ 428 h 442"/>
                  <a:gd name="T32" fmla="*/ 401 w 564"/>
                  <a:gd name="T33" fmla="*/ 440 h 442"/>
                  <a:gd name="T34" fmla="*/ 372 w 564"/>
                  <a:gd name="T35" fmla="*/ 435 h 442"/>
                  <a:gd name="T36" fmla="*/ 340 w 564"/>
                  <a:gd name="T37" fmla="*/ 438 h 442"/>
                  <a:gd name="T38" fmla="*/ 330 w 564"/>
                  <a:gd name="T39" fmla="*/ 433 h 442"/>
                  <a:gd name="T40" fmla="*/ 309 w 564"/>
                  <a:gd name="T41" fmla="*/ 418 h 442"/>
                  <a:gd name="T42" fmla="*/ 294 w 564"/>
                  <a:gd name="T43" fmla="*/ 399 h 442"/>
                  <a:gd name="T44" fmla="*/ 275 w 564"/>
                  <a:gd name="T45" fmla="*/ 384 h 442"/>
                  <a:gd name="T46" fmla="*/ 253 w 564"/>
                  <a:gd name="T47" fmla="*/ 398 h 442"/>
                  <a:gd name="T48" fmla="*/ 228 w 564"/>
                  <a:gd name="T49" fmla="*/ 396 h 442"/>
                  <a:gd name="T50" fmla="*/ 204 w 564"/>
                  <a:gd name="T51" fmla="*/ 398 h 442"/>
                  <a:gd name="T52" fmla="*/ 182 w 564"/>
                  <a:gd name="T53" fmla="*/ 384 h 442"/>
                  <a:gd name="T54" fmla="*/ 167 w 564"/>
                  <a:gd name="T55" fmla="*/ 365 h 442"/>
                  <a:gd name="T56" fmla="*/ 156 w 564"/>
                  <a:gd name="T57" fmla="*/ 343 h 442"/>
                  <a:gd name="T58" fmla="*/ 150 w 564"/>
                  <a:gd name="T59" fmla="*/ 324 h 442"/>
                  <a:gd name="T60" fmla="*/ 122 w 564"/>
                  <a:gd name="T61" fmla="*/ 314 h 442"/>
                  <a:gd name="T62" fmla="*/ 117 w 564"/>
                  <a:gd name="T63" fmla="*/ 301 h 442"/>
                  <a:gd name="T64" fmla="*/ 114 w 564"/>
                  <a:gd name="T65" fmla="*/ 282 h 442"/>
                  <a:gd name="T66" fmla="*/ 95 w 564"/>
                  <a:gd name="T67" fmla="*/ 268 h 442"/>
                  <a:gd name="T68" fmla="*/ 83 w 564"/>
                  <a:gd name="T69" fmla="*/ 256 h 442"/>
                  <a:gd name="T70" fmla="*/ 70 w 564"/>
                  <a:gd name="T71" fmla="*/ 250 h 442"/>
                  <a:gd name="T72" fmla="*/ 51 w 564"/>
                  <a:gd name="T73" fmla="*/ 234 h 442"/>
                  <a:gd name="T74" fmla="*/ 51 w 564"/>
                  <a:gd name="T75" fmla="*/ 219 h 442"/>
                  <a:gd name="T76" fmla="*/ 26 w 564"/>
                  <a:gd name="T77" fmla="*/ 202 h 442"/>
                  <a:gd name="T78" fmla="*/ 2 w 564"/>
                  <a:gd name="T79" fmla="*/ 188 h 442"/>
                  <a:gd name="T80" fmla="*/ 22 w 564"/>
                  <a:gd name="T81" fmla="*/ 153 h 442"/>
                  <a:gd name="T82" fmla="*/ 37 w 564"/>
                  <a:gd name="T83" fmla="*/ 120 h 442"/>
                  <a:gd name="T84" fmla="*/ 44 w 564"/>
                  <a:gd name="T85" fmla="*/ 113 h 442"/>
                  <a:gd name="T86" fmla="*/ 46 w 564"/>
                  <a:gd name="T87" fmla="*/ 103 h 442"/>
                  <a:gd name="T88" fmla="*/ 53 w 564"/>
                  <a:gd name="T89" fmla="*/ 96 h 442"/>
                  <a:gd name="T90" fmla="*/ 63 w 564"/>
                  <a:gd name="T91" fmla="*/ 91 h 442"/>
                  <a:gd name="T92" fmla="*/ 70 w 564"/>
                  <a:gd name="T93" fmla="*/ 93 h 442"/>
                  <a:gd name="T94" fmla="*/ 82 w 564"/>
                  <a:gd name="T95" fmla="*/ 90 h 442"/>
                  <a:gd name="T96" fmla="*/ 90 w 564"/>
                  <a:gd name="T97" fmla="*/ 103 h 442"/>
                  <a:gd name="T98" fmla="*/ 145 w 564"/>
                  <a:gd name="T99" fmla="*/ 132 h 442"/>
                  <a:gd name="T100" fmla="*/ 230 w 564"/>
                  <a:gd name="T101" fmla="*/ 144 h 442"/>
                  <a:gd name="T102" fmla="*/ 274 w 564"/>
                  <a:gd name="T103" fmla="*/ 108 h 442"/>
                  <a:gd name="T104" fmla="*/ 362 w 564"/>
                  <a:gd name="T105" fmla="*/ 124 h 442"/>
                  <a:gd name="T106" fmla="*/ 417 w 564"/>
                  <a:gd name="T107" fmla="*/ 27 h 442"/>
                  <a:gd name="T108" fmla="*/ 437 w 564"/>
                  <a:gd name="T109" fmla="*/ 0 h 442"/>
                  <a:gd name="T110" fmla="*/ 462 w 564"/>
                  <a:gd name="T111" fmla="*/ 71 h 442"/>
                  <a:gd name="T112" fmla="*/ 498 w 564"/>
                  <a:gd name="T113" fmla="*/ 11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4" h="442">
                    <a:moveTo>
                      <a:pt x="505" y="137"/>
                    </a:moveTo>
                    <a:lnTo>
                      <a:pt x="507" y="161"/>
                    </a:lnTo>
                    <a:lnTo>
                      <a:pt x="505" y="183"/>
                    </a:lnTo>
                    <a:lnTo>
                      <a:pt x="503" y="185"/>
                    </a:lnTo>
                    <a:lnTo>
                      <a:pt x="502" y="187"/>
                    </a:lnTo>
                    <a:lnTo>
                      <a:pt x="500" y="188"/>
                    </a:lnTo>
                    <a:lnTo>
                      <a:pt x="498" y="188"/>
                    </a:lnTo>
                    <a:lnTo>
                      <a:pt x="496" y="188"/>
                    </a:lnTo>
                    <a:lnTo>
                      <a:pt x="493" y="188"/>
                    </a:lnTo>
                    <a:lnTo>
                      <a:pt x="493" y="192"/>
                    </a:lnTo>
                    <a:lnTo>
                      <a:pt x="490" y="192"/>
                    </a:lnTo>
                    <a:lnTo>
                      <a:pt x="486" y="195"/>
                    </a:lnTo>
                    <a:lnTo>
                      <a:pt x="483" y="193"/>
                    </a:lnTo>
                    <a:lnTo>
                      <a:pt x="483" y="190"/>
                    </a:lnTo>
                    <a:lnTo>
                      <a:pt x="479" y="190"/>
                    </a:lnTo>
                    <a:lnTo>
                      <a:pt x="478" y="190"/>
                    </a:lnTo>
                    <a:lnTo>
                      <a:pt x="476" y="190"/>
                    </a:lnTo>
                    <a:lnTo>
                      <a:pt x="476" y="188"/>
                    </a:lnTo>
                    <a:lnTo>
                      <a:pt x="474" y="190"/>
                    </a:lnTo>
                    <a:lnTo>
                      <a:pt x="473" y="188"/>
                    </a:lnTo>
                    <a:lnTo>
                      <a:pt x="473" y="190"/>
                    </a:lnTo>
                    <a:lnTo>
                      <a:pt x="471" y="190"/>
                    </a:lnTo>
                    <a:lnTo>
                      <a:pt x="469" y="190"/>
                    </a:lnTo>
                    <a:lnTo>
                      <a:pt x="468" y="192"/>
                    </a:lnTo>
                    <a:lnTo>
                      <a:pt x="464" y="190"/>
                    </a:lnTo>
                    <a:lnTo>
                      <a:pt x="462" y="190"/>
                    </a:lnTo>
                    <a:lnTo>
                      <a:pt x="461" y="190"/>
                    </a:lnTo>
                    <a:lnTo>
                      <a:pt x="459" y="192"/>
                    </a:lnTo>
                    <a:lnTo>
                      <a:pt x="457" y="192"/>
                    </a:lnTo>
                    <a:lnTo>
                      <a:pt x="457" y="193"/>
                    </a:lnTo>
                    <a:lnTo>
                      <a:pt x="457" y="195"/>
                    </a:lnTo>
                    <a:lnTo>
                      <a:pt x="459" y="195"/>
                    </a:lnTo>
                    <a:lnTo>
                      <a:pt x="457" y="197"/>
                    </a:lnTo>
                    <a:lnTo>
                      <a:pt x="457" y="199"/>
                    </a:lnTo>
                    <a:lnTo>
                      <a:pt x="457" y="200"/>
                    </a:lnTo>
                    <a:lnTo>
                      <a:pt x="459" y="202"/>
                    </a:lnTo>
                    <a:lnTo>
                      <a:pt x="457" y="202"/>
                    </a:lnTo>
                    <a:lnTo>
                      <a:pt x="456" y="204"/>
                    </a:lnTo>
                    <a:lnTo>
                      <a:pt x="457" y="205"/>
                    </a:lnTo>
                    <a:lnTo>
                      <a:pt x="457" y="207"/>
                    </a:lnTo>
                    <a:lnTo>
                      <a:pt x="454" y="207"/>
                    </a:lnTo>
                    <a:lnTo>
                      <a:pt x="454" y="210"/>
                    </a:lnTo>
                    <a:lnTo>
                      <a:pt x="454" y="209"/>
                    </a:lnTo>
                    <a:lnTo>
                      <a:pt x="452" y="209"/>
                    </a:lnTo>
                    <a:lnTo>
                      <a:pt x="452" y="212"/>
                    </a:lnTo>
                    <a:lnTo>
                      <a:pt x="451" y="212"/>
                    </a:lnTo>
                    <a:lnTo>
                      <a:pt x="451" y="216"/>
                    </a:lnTo>
                    <a:lnTo>
                      <a:pt x="447" y="216"/>
                    </a:lnTo>
                    <a:lnTo>
                      <a:pt x="449" y="219"/>
                    </a:lnTo>
                    <a:lnTo>
                      <a:pt x="447" y="219"/>
                    </a:lnTo>
                    <a:lnTo>
                      <a:pt x="451" y="222"/>
                    </a:lnTo>
                    <a:lnTo>
                      <a:pt x="451" y="224"/>
                    </a:lnTo>
                    <a:lnTo>
                      <a:pt x="452" y="222"/>
                    </a:lnTo>
                    <a:lnTo>
                      <a:pt x="454" y="224"/>
                    </a:lnTo>
                    <a:lnTo>
                      <a:pt x="456" y="224"/>
                    </a:lnTo>
                    <a:lnTo>
                      <a:pt x="456" y="222"/>
                    </a:lnTo>
                    <a:lnTo>
                      <a:pt x="459" y="224"/>
                    </a:lnTo>
                    <a:lnTo>
                      <a:pt x="461" y="224"/>
                    </a:lnTo>
                    <a:lnTo>
                      <a:pt x="462" y="226"/>
                    </a:lnTo>
                    <a:lnTo>
                      <a:pt x="462" y="227"/>
                    </a:lnTo>
                    <a:lnTo>
                      <a:pt x="464" y="227"/>
                    </a:lnTo>
                    <a:lnTo>
                      <a:pt x="466" y="227"/>
                    </a:lnTo>
                    <a:lnTo>
                      <a:pt x="468" y="226"/>
                    </a:lnTo>
                    <a:lnTo>
                      <a:pt x="468" y="227"/>
                    </a:lnTo>
                    <a:lnTo>
                      <a:pt x="469" y="226"/>
                    </a:lnTo>
                    <a:lnTo>
                      <a:pt x="471" y="226"/>
                    </a:lnTo>
                    <a:lnTo>
                      <a:pt x="473" y="226"/>
                    </a:lnTo>
                    <a:lnTo>
                      <a:pt x="473" y="227"/>
                    </a:lnTo>
                    <a:lnTo>
                      <a:pt x="474" y="226"/>
                    </a:lnTo>
                    <a:lnTo>
                      <a:pt x="474" y="227"/>
                    </a:lnTo>
                    <a:lnTo>
                      <a:pt x="478" y="229"/>
                    </a:lnTo>
                    <a:lnTo>
                      <a:pt x="478" y="227"/>
                    </a:lnTo>
                    <a:lnTo>
                      <a:pt x="479" y="227"/>
                    </a:lnTo>
                    <a:lnTo>
                      <a:pt x="479" y="229"/>
                    </a:lnTo>
                    <a:lnTo>
                      <a:pt x="483" y="229"/>
                    </a:lnTo>
                    <a:lnTo>
                      <a:pt x="486" y="233"/>
                    </a:lnTo>
                    <a:lnTo>
                      <a:pt x="488" y="233"/>
                    </a:lnTo>
                    <a:lnTo>
                      <a:pt x="488" y="234"/>
                    </a:lnTo>
                    <a:lnTo>
                      <a:pt x="491" y="234"/>
                    </a:lnTo>
                    <a:lnTo>
                      <a:pt x="491" y="238"/>
                    </a:lnTo>
                    <a:lnTo>
                      <a:pt x="496" y="238"/>
                    </a:lnTo>
                    <a:lnTo>
                      <a:pt x="496" y="239"/>
                    </a:lnTo>
                    <a:lnTo>
                      <a:pt x="498" y="243"/>
                    </a:lnTo>
                    <a:lnTo>
                      <a:pt x="498" y="244"/>
                    </a:lnTo>
                    <a:lnTo>
                      <a:pt x="500" y="246"/>
                    </a:lnTo>
                    <a:lnTo>
                      <a:pt x="500" y="250"/>
                    </a:lnTo>
                    <a:lnTo>
                      <a:pt x="500" y="251"/>
                    </a:lnTo>
                    <a:lnTo>
                      <a:pt x="500" y="253"/>
                    </a:lnTo>
                    <a:lnTo>
                      <a:pt x="502" y="253"/>
                    </a:lnTo>
                    <a:lnTo>
                      <a:pt x="503" y="255"/>
                    </a:lnTo>
                    <a:lnTo>
                      <a:pt x="508" y="258"/>
                    </a:lnTo>
                    <a:lnTo>
                      <a:pt x="508" y="263"/>
                    </a:lnTo>
                    <a:lnTo>
                      <a:pt x="510" y="265"/>
                    </a:lnTo>
                    <a:lnTo>
                      <a:pt x="512" y="263"/>
                    </a:lnTo>
                    <a:lnTo>
                      <a:pt x="513" y="265"/>
                    </a:lnTo>
                    <a:lnTo>
                      <a:pt x="513" y="267"/>
                    </a:lnTo>
                    <a:lnTo>
                      <a:pt x="515" y="267"/>
                    </a:lnTo>
                    <a:lnTo>
                      <a:pt x="515" y="268"/>
                    </a:lnTo>
                    <a:lnTo>
                      <a:pt x="519" y="268"/>
                    </a:lnTo>
                    <a:lnTo>
                      <a:pt x="520" y="268"/>
                    </a:lnTo>
                    <a:lnTo>
                      <a:pt x="522" y="268"/>
                    </a:lnTo>
                    <a:lnTo>
                      <a:pt x="524" y="270"/>
                    </a:lnTo>
                    <a:lnTo>
                      <a:pt x="524" y="272"/>
                    </a:lnTo>
                    <a:lnTo>
                      <a:pt x="525" y="272"/>
                    </a:lnTo>
                    <a:lnTo>
                      <a:pt x="525" y="273"/>
                    </a:lnTo>
                    <a:lnTo>
                      <a:pt x="525" y="277"/>
                    </a:lnTo>
                    <a:lnTo>
                      <a:pt x="530" y="278"/>
                    </a:lnTo>
                    <a:lnTo>
                      <a:pt x="530" y="277"/>
                    </a:lnTo>
                    <a:lnTo>
                      <a:pt x="534" y="280"/>
                    </a:lnTo>
                    <a:lnTo>
                      <a:pt x="536" y="282"/>
                    </a:lnTo>
                    <a:lnTo>
                      <a:pt x="537" y="284"/>
                    </a:lnTo>
                    <a:lnTo>
                      <a:pt x="539" y="285"/>
                    </a:lnTo>
                    <a:lnTo>
                      <a:pt x="541" y="284"/>
                    </a:lnTo>
                    <a:lnTo>
                      <a:pt x="542" y="284"/>
                    </a:lnTo>
                    <a:lnTo>
                      <a:pt x="544" y="284"/>
                    </a:lnTo>
                    <a:lnTo>
                      <a:pt x="544" y="285"/>
                    </a:lnTo>
                    <a:lnTo>
                      <a:pt x="546" y="285"/>
                    </a:lnTo>
                    <a:lnTo>
                      <a:pt x="546" y="287"/>
                    </a:lnTo>
                    <a:lnTo>
                      <a:pt x="547" y="289"/>
                    </a:lnTo>
                    <a:lnTo>
                      <a:pt x="549" y="290"/>
                    </a:lnTo>
                    <a:lnTo>
                      <a:pt x="551" y="292"/>
                    </a:lnTo>
                    <a:lnTo>
                      <a:pt x="549" y="294"/>
                    </a:lnTo>
                    <a:lnTo>
                      <a:pt x="549" y="296"/>
                    </a:lnTo>
                    <a:lnTo>
                      <a:pt x="549" y="297"/>
                    </a:lnTo>
                    <a:lnTo>
                      <a:pt x="549" y="299"/>
                    </a:lnTo>
                    <a:lnTo>
                      <a:pt x="547" y="301"/>
                    </a:lnTo>
                    <a:lnTo>
                      <a:pt x="547" y="302"/>
                    </a:lnTo>
                    <a:lnTo>
                      <a:pt x="547" y="306"/>
                    </a:lnTo>
                    <a:lnTo>
                      <a:pt x="547" y="309"/>
                    </a:lnTo>
                    <a:lnTo>
                      <a:pt x="549" y="311"/>
                    </a:lnTo>
                    <a:lnTo>
                      <a:pt x="549" y="319"/>
                    </a:lnTo>
                    <a:lnTo>
                      <a:pt x="556" y="330"/>
                    </a:lnTo>
                    <a:lnTo>
                      <a:pt x="556" y="333"/>
                    </a:lnTo>
                    <a:lnTo>
                      <a:pt x="564" y="340"/>
                    </a:lnTo>
                    <a:lnTo>
                      <a:pt x="563" y="341"/>
                    </a:lnTo>
                    <a:lnTo>
                      <a:pt x="556" y="352"/>
                    </a:lnTo>
                    <a:lnTo>
                      <a:pt x="553" y="355"/>
                    </a:lnTo>
                    <a:lnTo>
                      <a:pt x="544" y="362"/>
                    </a:lnTo>
                    <a:lnTo>
                      <a:pt x="529" y="375"/>
                    </a:lnTo>
                    <a:lnTo>
                      <a:pt x="520" y="382"/>
                    </a:lnTo>
                    <a:lnTo>
                      <a:pt x="505" y="398"/>
                    </a:lnTo>
                    <a:lnTo>
                      <a:pt x="498" y="404"/>
                    </a:lnTo>
                    <a:lnTo>
                      <a:pt x="490" y="413"/>
                    </a:lnTo>
                    <a:lnTo>
                      <a:pt x="474" y="428"/>
                    </a:lnTo>
                    <a:lnTo>
                      <a:pt x="457" y="426"/>
                    </a:lnTo>
                    <a:lnTo>
                      <a:pt x="449" y="421"/>
                    </a:lnTo>
                    <a:lnTo>
                      <a:pt x="444" y="425"/>
                    </a:lnTo>
                    <a:lnTo>
                      <a:pt x="434" y="428"/>
                    </a:lnTo>
                    <a:lnTo>
                      <a:pt x="418" y="430"/>
                    </a:lnTo>
                    <a:lnTo>
                      <a:pt x="408" y="437"/>
                    </a:lnTo>
                    <a:lnTo>
                      <a:pt x="408" y="438"/>
                    </a:lnTo>
                    <a:lnTo>
                      <a:pt x="408" y="442"/>
                    </a:lnTo>
                    <a:lnTo>
                      <a:pt x="401" y="440"/>
                    </a:lnTo>
                    <a:lnTo>
                      <a:pt x="400" y="437"/>
                    </a:lnTo>
                    <a:lnTo>
                      <a:pt x="394" y="437"/>
                    </a:lnTo>
                    <a:lnTo>
                      <a:pt x="394" y="433"/>
                    </a:lnTo>
                    <a:lnTo>
                      <a:pt x="391" y="426"/>
                    </a:lnTo>
                    <a:lnTo>
                      <a:pt x="388" y="425"/>
                    </a:lnTo>
                    <a:lnTo>
                      <a:pt x="388" y="426"/>
                    </a:lnTo>
                    <a:lnTo>
                      <a:pt x="383" y="430"/>
                    </a:lnTo>
                    <a:lnTo>
                      <a:pt x="376" y="432"/>
                    </a:lnTo>
                    <a:lnTo>
                      <a:pt x="372" y="435"/>
                    </a:lnTo>
                    <a:lnTo>
                      <a:pt x="372" y="433"/>
                    </a:lnTo>
                    <a:lnTo>
                      <a:pt x="362" y="426"/>
                    </a:lnTo>
                    <a:lnTo>
                      <a:pt x="355" y="426"/>
                    </a:lnTo>
                    <a:lnTo>
                      <a:pt x="352" y="430"/>
                    </a:lnTo>
                    <a:lnTo>
                      <a:pt x="350" y="430"/>
                    </a:lnTo>
                    <a:lnTo>
                      <a:pt x="349" y="432"/>
                    </a:lnTo>
                    <a:lnTo>
                      <a:pt x="347" y="430"/>
                    </a:lnTo>
                    <a:lnTo>
                      <a:pt x="345" y="432"/>
                    </a:lnTo>
                    <a:lnTo>
                      <a:pt x="340" y="438"/>
                    </a:lnTo>
                    <a:lnTo>
                      <a:pt x="340" y="442"/>
                    </a:lnTo>
                    <a:lnTo>
                      <a:pt x="338" y="440"/>
                    </a:lnTo>
                    <a:lnTo>
                      <a:pt x="340" y="437"/>
                    </a:lnTo>
                    <a:lnTo>
                      <a:pt x="337" y="437"/>
                    </a:lnTo>
                    <a:lnTo>
                      <a:pt x="337" y="432"/>
                    </a:lnTo>
                    <a:lnTo>
                      <a:pt x="335" y="432"/>
                    </a:lnTo>
                    <a:lnTo>
                      <a:pt x="333" y="432"/>
                    </a:lnTo>
                    <a:lnTo>
                      <a:pt x="333" y="433"/>
                    </a:lnTo>
                    <a:lnTo>
                      <a:pt x="330" y="433"/>
                    </a:lnTo>
                    <a:lnTo>
                      <a:pt x="326" y="437"/>
                    </a:lnTo>
                    <a:lnTo>
                      <a:pt x="323" y="435"/>
                    </a:lnTo>
                    <a:lnTo>
                      <a:pt x="325" y="433"/>
                    </a:lnTo>
                    <a:lnTo>
                      <a:pt x="325" y="428"/>
                    </a:lnTo>
                    <a:lnTo>
                      <a:pt x="325" y="425"/>
                    </a:lnTo>
                    <a:lnTo>
                      <a:pt x="323" y="423"/>
                    </a:lnTo>
                    <a:lnTo>
                      <a:pt x="320" y="423"/>
                    </a:lnTo>
                    <a:lnTo>
                      <a:pt x="318" y="421"/>
                    </a:lnTo>
                    <a:lnTo>
                      <a:pt x="309" y="418"/>
                    </a:lnTo>
                    <a:lnTo>
                      <a:pt x="306" y="420"/>
                    </a:lnTo>
                    <a:lnTo>
                      <a:pt x="306" y="415"/>
                    </a:lnTo>
                    <a:lnTo>
                      <a:pt x="304" y="415"/>
                    </a:lnTo>
                    <a:lnTo>
                      <a:pt x="304" y="409"/>
                    </a:lnTo>
                    <a:lnTo>
                      <a:pt x="298" y="408"/>
                    </a:lnTo>
                    <a:lnTo>
                      <a:pt x="296" y="404"/>
                    </a:lnTo>
                    <a:lnTo>
                      <a:pt x="294" y="404"/>
                    </a:lnTo>
                    <a:lnTo>
                      <a:pt x="294" y="401"/>
                    </a:lnTo>
                    <a:lnTo>
                      <a:pt x="294" y="399"/>
                    </a:lnTo>
                    <a:lnTo>
                      <a:pt x="291" y="398"/>
                    </a:lnTo>
                    <a:lnTo>
                      <a:pt x="289" y="398"/>
                    </a:lnTo>
                    <a:lnTo>
                      <a:pt x="286" y="396"/>
                    </a:lnTo>
                    <a:lnTo>
                      <a:pt x="286" y="391"/>
                    </a:lnTo>
                    <a:lnTo>
                      <a:pt x="287" y="389"/>
                    </a:lnTo>
                    <a:lnTo>
                      <a:pt x="284" y="386"/>
                    </a:lnTo>
                    <a:lnTo>
                      <a:pt x="281" y="386"/>
                    </a:lnTo>
                    <a:lnTo>
                      <a:pt x="277" y="382"/>
                    </a:lnTo>
                    <a:lnTo>
                      <a:pt x="275" y="384"/>
                    </a:lnTo>
                    <a:lnTo>
                      <a:pt x="274" y="382"/>
                    </a:lnTo>
                    <a:lnTo>
                      <a:pt x="270" y="381"/>
                    </a:lnTo>
                    <a:lnTo>
                      <a:pt x="269" y="389"/>
                    </a:lnTo>
                    <a:lnTo>
                      <a:pt x="267" y="389"/>
                    </a:lnTo>
                    <a:lnTo>
                      <a:pt x="265" y="392"/>
                    </a:lnTo>
                    <a:lnTo>
                      <a:pt x="264" y="392"/>
                    </a:lnTo>
                    <a:lnTo>
                      <a:pt x="260" y="398"/>
                    </a:lnTo>
                    <a:lnTo>
                      <a:pt x="257" y="398"/>
                    </a:lnTo>
                    <a:lnTo>
                      <a:pt x="253" y="398"/>
                    </a:lnTo>
                    <a:lnTo>
                      <a:pt x="252" y="396"/>
                    </a:lnTo>
                    <a:lnTo>
                      <a:pt x="247" y="391"/>
                    </a:lnTo>
                    <a:lnTo>
                      <a:pt x="245" y="391"/>
                    </a:lnTo>
                    <a:lnTo>
                      <a:pt x="243" y="392"/>
                    </a:lnTo>
                    <a:lnTo>
                      <a:pt x="236" y="392"/>
                    </a:lnTo>
                    <a:lnTo>
                      <a:pt x="236" y="387"/>
                    </a:lnTo>
                    <a:lnTo>
                      <a:pt x="235" y="387"/>
                    </a:lnTo>
                    <a:lnTo>
                      <a:pt x="231" y="389"/>
                    </a:lnTo>
                    <a:lnTo>
                      <a:pt x="228" y="396"/>
                    </a:lnTo>
                    <a:lnTo>
                      <a:pt x="224" y="396"/>
                    </a:lnTo>
                    <a:lnTo>
                      <a:pt x="223" y="398"/>
                    </a:lnTo>
                    <a:lnTo>
                      <a:pt x="221" y="398"/>
                    </a:lnTo>
                    <a:lnTo>
                      <a:pt x="219" y="401"/>
                    </a:lnTo>
                    <a:lnTo>
                      <a:pt x="216" y="403"/>
                    </a:lnTo>
                    <a:lnTo>
                      <a:pt x="214" y="401"/>
                    </a:lnTo>
                    <a:lnTo>
                      <a:pt x="213" y="399"/>
                    </a:lnTo>
                    <a:lnTo>
                      <a:pt x="206" y="399"/>
                    </a:lnTo>
                    <a:lnTo>
                      <a:pt x="204" y="398"/>
                    </a:lnTo>
                    <a:lnTo>
                      <a:pt x="202" y="394"/>
                    </a:lnTo>
                    <a:lnTo>
                      <a:pt x="199" y="394"/>
                    </a:lnTo>
                    <a:lnTo>
                      <a:pt x="197" y="392"/>
                    </a:lnTo>
                    <a:lnTo>
                      <a:pt x="196" y="389"/>
                    </a:lnTo>
                    <a:lnTo>
                      <a:pt x="190" y="387"/>
                    </a:lnTo>
                    <a:lnTo>
                      <a:pt x="189" y="389"/>
                    </a:lnTo>
                    <a:lnTo>
                      <a:pt x="187" y="387"/>
                    </a:lnTo>
                    <a:lnTo>
                      <a:pt x="184" y="387"/>
                    </a:lnTo>
                    <a:lnTo>
                      <a:pt x="182" y="384"/>
                    </a:lnTo>
                    <a:lnTo>
                      <a:pt x="184" y="382"/>
                    </a:lnTo>
                    <a:lnTo>
                      <a:pt x="184" y="377"/>
                    </a:lnTo>
                    <a:lnTo>
                      <a:pt x="182" y="377"/>
                    </a:lnTo>
                    <a:lnTo>
                      <a:pt x="180" y="377"/>
                    </a:lnTo>
                    <a:lnTo>
                      <a:pt x="179" y="374"/>
                    </a:lnTo>
                    <a:lnTo>
                      <a:pt x="179" y="372"/>
                    </a:lnTo>
                    <a:lnTo>
                      <a:pt x="173" y="372"/>
                    </a:lnTo>
                    <a:lnTo>
                      <a:pt x="172" y="370"/>
                    </a:lnTo>
                    <a:lnTo>
                      <a:pt x="167" y="365"/>
                    </a:lnTo>
                    <a:lnTo>
                      <a:pt x="167" y="362"/>
                    </a:lnTo>
                    <a:lnTo>
                      <a:pt x="167" y="360"/>
                    </a:lnTo>
                    <a:lnTo>
                      <a:pt x="165" y="360"/>
                    </a:lnTo>
                    <a:lnTo>
                      <a:pt x="165" y="357"/>
                    </a:lnTo>
                    <a:lnTo>
                      <a:pt x="160" y="353"/>
                    </a:lnTo>
                    <a:lnTo>
                      <a:pt x="160" y="352"/>
                    </a:lnTo>
                    <a:lnTo>
                      <a:pt x="156" y="348"/>
                    </a:lnTo>
                    <a:lnTo>
                      <a:pt x="156" y="347"/>
                    </a:lnTo>
                    <a:lnTo>
                      <a:pt x="156" y="343"/>
                    </a:lnTo>
                    <a:lnTo>
                      <a:pt x="158" y="338"/>
                    </a:lnTo>
                    <a:lnTo>
                      <a:pt x="158" y="335"/>
                    </a:lnTo>
                    <a:lnTo>
                      <a:pt x="156" y="335"/>
                    </a:lnTo>
                    <a:lnTo>
                      <a:pt x="156" y="333"/>
                    </a:lnTo>
                    <a:lnTo>
                      <a:pt x="155" y="331"/>
                    </a:lnTo>
                    <a:lnTo>
                      <a:pt x="155" y="328"/>
                    </a:lnTo>
                    <a:lnTo>
                      <a:pt x="151" y="328"/>
                    </a:lnTo>
                    <a:lnTo>
                      <a:pt x="153" y="326"/>
                    </a:lnTo>
                    <a:lnTo>
                      <a:pt x="150" y="324"/>
                    </a:lnTo>
                    <a:lnTo>
                      <a:pt x="146" y="324"/>
                    </a:lnTo>
                    <a:lnTo>
                      <a:pt x="145" y="323"/>
                    </a:lnTo>
                    <a:lnTo>
                      <a:pt x="143" y="323"/>
                    </a:lnTo>
                    <a:lnTo>
                      <a:pt x="139" y="319"/>
                    </a:lnTo>
                    <a:lnTo>
                      <a:pt x="136" y="319"/>
                    </a:lnTo>
                    <a:lnTo>
                      <a:pt x="134" y="316"/>
                    </a:lnTo>
                    <a:lnTo>
                      <a:pt x="131" y="314"/>
                    </a:lnTo>
                    <a:lnTo>
                      <a:pt x="128" y="314"/>
                    </a:lnTo>
                    <a:lnTo>
                      <a:pt x="122" y="314"/>
                    </a:lnTo>
                    <a:lnTo>
                      <a:pt x="121" y="311"/>
                    </a:lnTo>
                    <a:lnTo>
                      <a:pt x="119" y="309"/>
                    </a:lnTo>
                    <a:lnTo>
                      <a:pt x="116" y="311"/>
                    </a:lnTo>
                    <a:lnTo>
                      <a:pt x="117" y="309"/>
                    </a:lnTo>
                    <a:lnTo>
                      <a:pt x="119" y="306"/>
                    </a:lnTo>
                    <a:lnTo>
                      <a:pt x="121" y="302"/>
                    </a:lnTo>
                    <a:lnTo>
                      <a:pt x="119" y="302"/>
                    </a:lnTo>
                    <a:lnTo>
                      <a:pt x="117" y="304"/>
                    </a:lnTo>
                    <a:lnTo>
                      <a:pt x="117" y="301"/>
                    </a:lnTo>
                    <a:lnTo>
                      <a:pt x="114" y="299"/>
                    </a:lnTo>
                    <a:lnTo>
                      <a:pt x="109" y="294"/>
                    </a:lnTo>
                    <a:lnTo>
                      <a:pt x="109" y="290"/>
                    </a:lnTo>
                    <a:lnTo>
                      <a:pt x="107" y="290"/>
                    </a:lnTo>
                    <a:lnTo>
                      <a:pt x="109" y="289"/>
                    </a:lnTo>
                    <a:lnTo>
                      <a:pt x="111" y="289"/>
                    </a:lnTo>
                    <a:lnTo>
                      <a:pt x="111" y="287"/>
                    </a:lnTo>
                    <a:lnTo>
                      <a:pt x="114" y="284"/>
                    </a:lnTo>
                    <a:lnTo>
                      <a:pt x="114" y="282"/>
                    </a:lnTo>
                    <a:lnTo>
                      <a:pt x="112" y="280"/>
                    </a:lnTo>
                    <a:lnTo>
                      <a:pt x="107" y="278"/>
                    </a:lnTo>
                    <a:lnTo>
                      <a:pt x="105" y="277"/>
                    </a:lnTo>
                    <a:lnTo>
                      <a:pt x="104" y="277"/>
                    </a:lnTo>
                    <a:lnTo>
                      <a:pt x="102" y="273"/>
                    </a:lnTo>
                    <a:lnTo>
                      <a:pt x="99" y="272"/>
                    </a:lnTo>
                    <a:lnTo>
                      <a:pt x="99" y="268"/>
                    </a:lnTo>
                    <a:lnTo>
                      <a:pt x="97" y="268"/>
                    </a:lnTo>
                    <a:lnTo>
                      <a:pt x="95" y="268"/>
                    </a:lnTo>
                    <a:lnTo>
                      <a:pt x="97" y="267"/>
                    </a:lnTo>
                    <a:lnTo>
                      <a:pt x="95" y="263"/>
                    </a:lnTo>
                    <a:lnTo>
                      <a:pt x="94" y="263"/>
                    </a:lnTo>
                    <a:lnTo>
                      <a:pt x="92" y="261"/>
                    </a:lnTo>
                    <a:lnTo>
                      <a:pt x="90" y="261"/>
                    </a:lnTo>
                    <a:lnTo>
                      <a:pt x="88" y="260"/>
                    </a:lnTo>
                    <a:lnTo>
                      <a:pt x="88" y="258"/>
                    </a:lnTo>
                    <a:lnTo>
                      <a:pt x="83" y="258"/>
                    </a:lnTo>
                    <a:lnTo>
                      <a:pt x="83" y="256"/>
                    </a:lnTo>
                    <a:lnTo>
                      <a:pt x="80" y="256"/>
                    </a:lnTo>
                    <a:lnTo>
                      <a:pt x="80" y="255"/>
                    </a:lnTo>
                    <a:lnTo>
                      <a:pt x="78" y="255"/>
                    </a:lnTo>
                    <a:lnTo>
                      <a:pt x="73" y="253"/>
                    </a:lnTo>
                    <a:lnTo>
                      <a:pt x="73" y="251"/>
                    </a:lnTo>
                    <a:lnTo>
                      <a:pt x="71" y="253"/>
                    </a:lnTo>
                    <a:lnTo>
                      <a:pt x="71" y="251"/>
                    </a:lnTo>
                    <a:lnTo>
                      <a:pt x="70" y="251"/>
                    </a:lnTo>
                    <a:lnTo>
                      <a:pt x="70" y="250"/>
                    </a:lnTo>
                    <a:lnTo>
                      <a:pt x="66" y="250"/>
                    </a:lnTo>
                    <a:lnTo>
                      <a:pt x="66" y="248"/>
                    </a:lnTo>
                    <a:lnTo>
                      <a:pt x="63" y="246"/>
                    </a:lnTo>
                    <a:lnTo>
                      <a:pt x="63" y="248"/>
                    </a:lnTo>
                    <a:lnTo>
                      <a:pt x="61" y="246"/>
                    </a:lnTo>
                    <a:lnTo>
                      <a:pt x="60" y="243"/>
                    </a:lnTo>
                    <a:lnTo>
                      <a:pt x="53" y="239"/>
                    </a:lnTo>
                    <a:lnTo>
                      <a:pt x="53" y="236"/>
                    </a:lnTo>
                    <a:lnTo>
                      <a:pt x="51" y="234"/>
                    </a:lnTo>
                    <a:lnTo>
                      <a:pt x="54" y="233"/>
                    </a:lnTo>
                    <a:lnTo>
                      <a:pt x="58" y="231"/>
                    </a:lnTo>
                    <a:lnTo>
                      <a:pt x="58" y="229"/>
                    </a:lnTo>
                    <a:lnTo>
                      <a:pt x="58" y="227"/>
                    </a:lnTo>
                    <a:lnTo>
                      <a:pt x="58" y="226"/>
                    </a:lnTo>
                    <a:lnTo>
                      <a:pt x="58" y="224"/>
                    </a:lnTo>
                    <a:lnTo>
                      <a:pt x="56" y="224"/>
                    </a:lnTo>
                    <a:lnTo>
                      <a:pt x="54" y="221"/>
                    </a:lnTo>
                    <a:lnTo>
                      <a:pt x="51" y="219"/>
                    </a:lnTo>
                    <a:lnTo>
                      <a:pt x="48" y="219"/>
                    </a:lnTo>
                    <a:lnTo>
                      <a:pt x="41" y="214"/>
                    </a:lnTo>
                    <a:lnTo>
                      <a:pt x="37" y="210"/>
                    </a:lnTo>
                    <a:lnTo>
                      <a:pt x="37" y="207"/>
                    </a:lnTo>
                    <a:lnTo>
                      <a:pt x="36" y="204"/>
                    </a:lnTo>
                    <a:lnTo>
                      <a:pt x="32" y="204"/>
                    </a:lnTo>
                    <a:lnTo>
                      <a:pt x="31" y="204"/>
                    </a:lnTo>
                    <a:lnTo>
                      <a:pt x="29" y="202"/>
                    </a:lnTo>
                    <a:lnTo>
                      <a:pt x="26" y="202"/>
                    </a:lnTo>
                    <a:lnTo>
                      <a:pt x="19" y="202"/>
                    </a:lnTo>
                    <a:lnTo>
                      <a:pt x="15" y="199"/>
                    </a:lnTo>
                    <a:lnTo>
                      <a:pt x="14" y="199"/>
                    </a:lnTo>
                    <a:lnTo>
                      <a:pt x="10" y="200"/>
                    </a:lnTo>
                    <a:lnTo>
                      <a:pt x="3" y="199"/>
                    </a:lnTo>
                    <a:lnTo>
                      <a:pt x="2" y="197"/>
                    </a:lnTo>
                    <a:lnTo>
                      <a:pt x="0" y="193"/>
                    </a:lnTo>
                    <a:lnTo>
                      <a:pt x="0" y="192"/>
                    </a:lnTo>
                    <a:lnTo>
                      <a:pt x="2" y="188"/>
                    </a:lnTo>
                    <a:lnTo>
                      <a:pt x="5" y="183"/>
                    </a:lnTo>
                    <a:lnTo>
                      <a:pt x="3" y="182"/>
                    </a:lnTo>
                    <a:lnTo>
                      <a:pt x="5" y="178"/>
                    </a:lnTo>
                    <a:lnTo>
                      <a:pt x="9" y="176"/>
                    </a:lnTo>
                    <a:lnTo>
                      <a:pt x="12" y="173"/>
                    </a:lnTo>
                    <a:lnTo>
                      <a:pt x="19" y="171"/>
                    </a:lnTo>
                    <a:lnTo>
                      <a:pt x="22" y="166"/>
                    </a:lnTo>
                    <a:lnTo>
                      <a:pt x="20" y="159"/>
                    </a:lnTo>
                    <a:lnTo>
                      <a:pt x="22" y="153"/>
                    </a:lnTo>
                    <a:lnTo>
                      <a:pt x="26" y="146"/>
                    </a:lnTo>
                    <a:lnTo>
                      <a:pt x="24" y="144"/>
                    </a:lnTo>
                    <a:lnTo>
                      <a:pt x="31" y="137"/>
                    </a:lnTo>
                    <a:lnTo>
                      <a:pt x="31" y="134"/>
                    </a:lnTo>
                    <a:lnTo>
                      <a:pt x="31" y="130"/>
                    </a:lnTo>
                    <a:lnTo>
                      <a:pt x="31" y="125"/>
                    </a:lnTo>
                    <a:lnTo>
                      <a:pt x="32" y="124"/>
                    </a:lnTo>
                    <a:lnTo>
                      <a:pt x="36" y="120"/>
                    </a:lnTo>
                    <a:lnTo>
                      <a:pt x="37" y="120"/>
                    </a:lnTo>
                    <a:lnTo>
                      <a:pt x="37" y="119"/>
                    </a:lnTo>
                    <a:lnTo>
                      <a:pt x="39" y="119"/>
                    </a:lnTo>
                    <a:lnTo>
                      <a:pt x="37" y="119"/>
                    </a:lnTo>
                    <a:lnTo>
                      <a:pt x="39" y="119"/>
                    </a:lnTo>
                    <a:lnTo>
                      <a:pt x="41" y="117"/>
                    </a:lnTo>
                    <a:lnTo>
                      <a:pt x="43" y="117"/>
                    </a:lnTo>
                    <a:lnTo>
                      <a:pt x="41" y="117"/>
                    </a:lnTo>
                    <a:lnTo>
                      <a:pt x="43" y="113"/>
                    </a:lnTo>
                    <a:lnTo>
                      <a:pt x="44" y="113"/>
                    </a:lnTo>
                    <a:lnTo>
                      <a:pt x="44" y="112"/>
                    </a:lnTo>
                    <a:lnTo>
                      <a:pt x="46" y="110"/>
                    </a:lnTo>
                    <a:lnTo>
                      <a:pt x="44" y="110"/>
                    </a:lnTo>
                    <a:lnTo>
                      <a:pt x="44" y="108"/>
                    </a:lnTo>
                    <a:lnTo>
                      <a:pt x="46" y="108"/>
                    </a:lnTo>
                    <a:lnTo>
                      <a:pt x="48" y="107"/>
                    </a:lnTo>
                    <a:lnTo>
                      <a:pt x="46" y="105"/>
                    </a:lnTo>
                    <a:lnTo>
                      <a:pt x="44" y="103"/>
                    </a:lnTo>
                    <a:lnTo>
                      <a:pt x="46" y="103"/>
                    </a:lnTo>
                    <a:lnTo>
                      <a:pt x="44" y="102"/>
                    </a:lnTo>
                    <a:lnTo>
                      <a:pt x="46" y="102"/>
                    </a:lnTo>
                    <a:lnTo>
                      <a:pt x="46" y="100"/>
                    </a:lnTo>
                    <a:lnTo>
                      <a:pt x="46" y="98"/>
                    </a:lnTo>
                    <a:lnTo>
                      <a:pt x="48" y="98"/>
                    </a:lnTo>
                    <a:lnTo>
                      <a:pt x="48" y="96"/>
                    </a:lnTo>
                    <a:lnTo>
                      <a:pt x="49" y="96"/>
                    </a:lnTo>
                    <a:lnTo>
                      <a:pt x="49" y="95"/>
                    </a:lnTo>
                    <a:lnTo>
                      <a:pt x="53" y="96"/>
                    </a:lnTo>
                    <a:lnTo>
                      <a:pt x="51" y="95"/>
                    </a:lnTo>
                    <a:lnTo>
                      <a:pt x="53" y="95"/>
                    </a:lnTo>
                    <a:lnTo>
                      <a:pt x="54" y="93"/>
                    </a:lnTo>
                    <a:lnTo>
                      <a:pt x="56" y="95"/>
                    </a:lnTo>
                    <a:lnTo>
                      <a:pt x="56" y="93"/>
                    </a:lnTo>
                    <a:lnTo>
                      <a:pt x="60" y="95"/>
                    </a:lnTo>
                    <a:lnTo>
                      <a:pt x="60" y="93"/>
                    </a:lnTo>
                    <a:lnTo>
                      <a:pt x="61" y="93"/>
                    </a:lnTo>
                    <a:lnTo>
                      <a:pt x="63" y="91"/>
                    </a:lnTo>
                    <a:lnTo>
                      <a:pt x="63" y="93"/>
                    </a:lnTo>
                    <a:lnTo>
                      <a:pt x="63" y="91"/>
                    </a:lnTo>
                    <a:lnTo>
                      <a:pt x="65" y="93"/>
                    </a:lnTo>
                    <a:lnTo>
                      <a:pt x="65" y="91"/>
                    </a:lnTo>
                    <a:lnTo>
                      <a:pt x="66" y="93"/>
                    </a:lnTo>
                    <a:lnTo>
                      <a:pt x="66" y="91"/>
                    </a:lnTo>
                    <a:lnTo>
                      <a:pt x="68" y="93"/>
                    </a:lnTo>
                    <a:lnTo>
                      <a:pt x="68" y="91"/>
                    </a:lnTo>
                    <a:lnTo>
                      <a:pt x="70" y="93"/>
                    </a:lnTo>
                    <a:lnTo>
                      <a:pt x="71" y="91"/>
                    </a:lnTo>
                    <a:lnTo>
                      <a:pt x="75" y="91"/>
                    </a:lnTo>
                    <a:lnTo>
                      <a:pt x="77" y="90"/>
                    </a:lnTo>
                    <a:lnTo>
                      <a:pt x="77" y="91"/>
                    </a:lnTo>
                    <a:lnTo>
                      <a:pt x="78" y="91"/>
                    </a:lnTo>
                    <a:lnTo>
                      <a:pt x="80" y="91"/>
                    </a:lnTo>
                    <a:lnTo>
                      <a:pt x="82" y="90"/>
                    </a:lnTo>
                    <a:lnTo>
                      <a:pt x="82" y="91"/>
                    </a:lnTo>
                    <a:lnTo>
                      <a:pt x="82" y="90"/>
                    </a:lnTo>
                    <a:lnTo>
                      <a:pt x="83" y="91"/>
                    </a:lnTo>
                    <a:lnTo>
                      <a:pt x="83" y="90"/>
                    </a:lnTo>
                    <a:lnTo>
                      <a:pt x="85" y="91"/>
                    </a:lnTo>
                    <a:lnTo>
                      <a:pt x="85" y="90"/>
                    </a:lnTo>
                    <a:lnTo>
                      <a:pt x="87" y="91"/>
                    </a:lnTo>
                    <a:lnTo>
                      <a:pt x="88" y="91"/>
                    </a:lnTo>
                    <a:lnTo>
                      <a:pt x="88" y="93"/>
                    </a:lnTo>
                    <a:lnTo>
                      <a:pt x="90" y="93"/>
                    </a:lnTo>
                    <a:lnTo>
                      <a:pt x="90" y="103"/>
                    </a:lnTo>
                    <a:lnTo>
                      <a:pt x="97" y="105"/>
                    </a:lnTo>
                    <a:lnTo>
                      <a:pt x="100" y="112"/>
                    </a:lnTo>
                    <a:lnTo>
                      <a:pt x="105" y="117"/>
                    </a:lnTo>
                    <a:lnTo>
                      <a:pt x="107" y="124"/>
                    </a:lnTo>
                    <a:lnTo>
                      <a:pt x="111" y="130"/>
                    </a:lnTo>
                    <a:lnTo>
                      <a:pt x="112" y="132"/>
                    </a:lnTo>
                    <a:lnTo>
                      <a:pt x="116" y="136"/>
                    </a:lnTo>
                    <a:lnTo>
                      <a:pt x="131" y="137"/>
                    </a:lnTo>
                    <a:lnTo>
                      <a:pt x="145" y="132"/>
                    </a:lnTo>
                    <a:lnTo>
                      <a:pt x="151" y="130"/>
                    </a:lnTo>
                    <a:lnTo>
                      <a:pt x="162" y="130"/>
                    </a:lnTo>
                    <a:lnTo>
                      <a:pt x="179" y="132"/>
                    </a:lnTo>
                    <a:lnTo>
                      <a:pt x="187" y="132"/>
                    </a:lnTo>
                    <a:lnTo>
                      <a:pt x="190" y="132"/>
                    </a:lnTo>
                    <a:lnTo>
                      <a:pt x="197" y="146"/>
                    </a:lnTo>
                    <a:lnTo>
                      <a:pt x="201" y="146"/>
                    </a:lnTo>
                    <a:lnTo>
                      <a:pt x="228" y="146"/>
                    </a:lnTo>
                    <a:lnTo>
                      <a:pt x="230" y="144"/>
                    </a:lnTo>
                    <a:lnTo>
                      <a:pt x="233" y="144"/>
                    </a:lnTo>
                    <a:lnTo>
                      <a:pt x="235" y="144"/>
                    </a:lnTo>
                    <a:lnTo>
                      <a:pt x="235" y="142"/>
                    </a:lnTo>
                    <a:lnTo>
                      <a:pt x="236" y="142"/>
                    </a:lnTo>
                    <a:lnTo>
                      <a:pt x="238" y="139"/>
                    </a:lnTo>
                    <a:lnTo>
                      <a:pt x="241" y="134"/>
                    </a:lnTo>
                    <a:lnTo>
                      <a:pt x="250" y="125"/>
                    </a:lnTo>
                    <a:lnTo>
                      <a:pt x="274" y="125"/>
                    </a:lnTo>
                    <a:lnTo>
                      <a:pt x="274" y="108"/>
                    </a:lnTo>
                    <a:lnTo>
                      <a:pt x="292" y="98"/>
                    </a:lnTo>
                    <a:lnTo>
                      <a:pt x="296" y="98"/>
                    </a:lnTo>
                    <a:lnTo>
                      <a:pt x="298" y="98"/>
                    </a:lnTo>
                    <a:lnTo>
                      <a:pt x="304" y="103"/>
                    </a:lnTo>
                    <a:lnTo>
                      <a:pt x="323" y="113"/>
                    </a:lnTo>
                    <a:lnTo>
                      <a:pt x="338" y="125"/>
                    </a:lnTo>
                    <a:lnTo>
                      <a:pt x="342" y="125"/>
                    </a:lnTo>
                    <a:lnTo>
                      <a:pt x="355" y="125"/>
                    </a:lnTo>
                    <a:lnTo>
                      <a:pt x="362" y="124"/>
                    </a:lnTo>
                    <a:lnTo>
                      <a:pt x="366" y="122"/>
                    </a:lnTo>
                    <a:lnTo>
                      <a:pt x="372" y="113"/>
                    </a:lnTo>
                    <a:lnTo>
                      <a:pt x="388" y="96"/>
                    </a:lnTo>
                    <a:lnTo>
                      <a:pt x="398" y="79"/>
                    </a:lnTo>
                    <a:lnTo>
                      <a:pt x="405" y="74"/>
                    </a:lnTo>
                    <a:lnTo>
                      <a:pt x="422" y="59"/>
                    </a:lnTo>
                    <a:lnTo>
                      <a:pt x="418" y="52"/>
                    </a:lnTo>
                    <a:lnTo>
                      <a:pt x="418" y="32"/>
                    </a:lnTo>
                    <a:lnTo>
                      <a:pt x="417" y="27"/>
                    </a:lnTo>
                    <a:lnTo>
                      <a:pt x="417" y="25"/>
                    </a:lnTo>
                    <a:lnTo>
                      <a:pt x="403" y="13"/>
                    </a:lnTo>
                    <a:lnTo>
                      <a:pt x="432" y="13"/>
                    </a:lnTo>
                    <a:lnTo>
                      <a:pt x="435" y="15"/>
                    </a:lnTo>
                    <a:lnTo>
                      <a:pt x="435" y="10"/>
                    </a:lnTo>
                    <a:lnTo>
                      <a:pt x="435" y="3"/>
                    </a:lnTo>
                    <a:lnTo>
                      <a:pt x="435" y="1"/>
                    </a:lnTo>
                    <a:lnTo>
                      <a:pt x="434" y="0"/>
                    </a:lnTo>
                    <a:lnTo>
                      <a:pt x="437" y="0"/>
                    </a:lnTo>
                    <a:lnTo>
                      <a:pt x="461" y="1"/>
                    </a:lnTo>
                    <a:lnTo>
                      <a:pt x="461" y="0"/>
                    </a:lnTo>
                    <a:lnTo>
                      <a:pt x="462" y="1"/>
                    </a:lnTo>
                    <a:lnTo>
                      <a:pt x="461" y="3"/>
                    </a:lnTo>
                    <a:lnTo>
                      <a:pt x="457" y="23"/>
                    </a:lnTo>
                    <a:lnTo>
                      <a:pt x="456" y="30"/>
                    </a:lnTo>
                    <a:lnTo>
                      <a:pt x="459" y="49"/>
                    </a:lnTo>
                    <a:lnTo>
                      <a:pt x="461" y="57"/>
                    </a:lnTo>
                    <a:lnTo>
                      <a:pt x="462" y="71"/>
                    </a:lnTo>
                    <a:lnTo>
                      <a:pt x="459" y="74"/>
                    </a:lnTo>
                    <a:lnTo>
                      <a:pt x="461" y="76"/>
                    </a:lnTo>
                    <a:lnTo>
                      <a:pt x="473" y="79"/>
                    </a:lnTo>
                    <a:lnTo>
                      <a:pt x="481" y="90"/>
                    </a:lnTo>
                    <a:lnTo>
                      <a:pt x="488" y="95"/>
                    </a:lnTo>
                    <a:lnTo>
                      <a:pt x="493" y="103"/>
                    </a:lnTo>
                    <a:lnTo>
                      <a:pt x="496" y="105"/>
                    </a:lnTo>
                    <a:lnTo>
                      <a:pt x="498" y="108"/>
                    </a:lnTo>
                    <a:lnTo>
                      <a:pt x="498" y="110"/>
                    </a:lnTo>
                    <a:lnTo>
                      <a:pt x="498" y="117"/>
                    </a:lnTo>
                    <a:lnTo>
                      <a:pt x="496" y="122"/>
                    </a:lnTo>
                    <a:lnTo>
                      <a:pt x="495" y="125"/>
                    </a:lnTo>
                    <a:lnTo>
                      <a:pt x="493" y="129"/>
                    </a:lnTo>
                    <a:lnTo>
                      <a:pt x="493" y="132"/>
                    </a:lnTo>
                    <a:lnTo>
                      <a:pt x="493" y="137"/>
                    </a:lnTo>
                    <a:lnTo>
                      <a:pt x="505" y="137"/>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73" name="Freeform 55">
                <a:extLst>
                  <a:ext uri="{FF2B5EF4-FFF2-40B4-BE49-F238E27FC236}">
                    <a16:creationId xmlns:a16="http://schemas.microsoft.com/office/drawing/2014/main" id="{5D3934AF-E94B-4114-9ED2-B461700E2C9A}"/>
                  </a:ext>
                </a:extLst>
              </p:cNvPr>
              <p:cNvSpPr>
                <a:spLocks noEditPoints="1"/>
              </p:cNvSpPr>
              <p:nvPr/>
            </p:nvSpPr>
            <p:spPr bwMode="gray">
              <a:xfrm>
                <a:off x="6329363" y="1682750"/>
                <a:ext cx="1354137" cy="1071563"/>
              </a:xfrm>
              <a:custGeom>
                <a:avLst/>
                <a:gdLst>
                  <a:gd name="T0" fmla="*/ 782 w 853"/>
                  <a:gd name="T1" fmla="*/ 42 h 675"/>
                  <a:gd name="T2" fmla="*/ 779 w 853"/>
                  <a:gd name="T3" fmla="*/ 44 h 675"/>
                  <a:gd name="T4" fmla="*/ 775 w 853"/>
                  <a:gd name="T5" fmla="*/ 47 h 675"/>
                  <a:gd name="T6" fmla="*/ 779 w 853"/>
                  <a:gd name="T7" fmla="*/ 80 h 675"/>
                  <a:gd name="T8" fmla="*/ 779 w 853"/>
                  <a:gd name="T9" fmla="*/ 100 h 675"/>
                  <a:gd name="T10" fmla="*/ 780 w 853"/>
                  <a:gd name="T11" fmla="*/ 122 h 675"/>
                  <a:gd name="T12" fmla="*/ 787 w 853"/>
                  <a:gd name="T13" fmla="*/ 146 h 675"/>
                  <a:gd name="T14" fmla="*/ 794 w 853"/>
                  <a:gd name="T15" fmla="*/ 165 h 675"/>
                  <a:gd name="T16" fmla="*/ 821 w 853"/>
                  <a:gd name="T17" fmla="*/ 178 h 675"/>
                  <a:gd name="T18" fmla="*/ 833 w 853"/>
                  <a:gd name="T19" fmla="*/ 189 h 675"/>
                  <a:gd name="T20" fmla="*/ 840 w 853"/>
                  <a:gd name="T21" fmla="*/ 197 h 675"/>
                  <a:gd name="T22" fmla="*/ 848 w 853"/>
                  <a:gd name="T23" fmla="*/ 199 h 675"/>
                  <a:gd name="T24" fmla="*/ 830 w 853"/>
                  <a:gd name="T25" fmla="*/ 226 h 675"/>
                  <a:gd name="T26" fmla="*/ 818 w 853"/>
                  <a:gd name="T27" fmla="*/ 229 h 675"/>
                  <a:gd name="T28" fmla="*/ 796 w 853"/>
                  <a:gd name="T29" fmla="*/ 245 h 675"/>
                  <a:gd name="T30" fmla="*/ 768 w 853"/>
                  <a:gd name="T31" fmla="*/ 250 h 675"/>
                  <a:gd name="T32" fmla="*/ 763 w 853"/>
                  <a:gd name="T33" fmla="*/ 272 h 675"/>
                  <a:gd name="T34" fmla="*/ 750 w 853"/>
                  <a:gd name="T35" fmla="*/ 332 h 675"/>
                  <a:gd name="T36" fmla="*/ 745 w 853"/>
                  <a:gd name="T37" fmla="*/ 415 h 675"/>
                  <a:gd name="T38" fmla="*/ 724 w 853"/>
                  <a:gd name="T39" fmla="*/ 473 h 675"/>
                  <a:gd name="T40" fmla="*/ 690 w 853"/>
                  <a:gd name="T41" fmla="*/ 495 h 675"/>
                  <a:gd name="T42" fmla="*/ 673 w 853"/>
                  <a:gd name="T43" fmla="*/ 525 h 675"/>
                  <a:gd name="T44" fmla="*/ 661 w 853"/>
                  <a:gd name="T45" fmla="*/ 571 h 675"/>
                  <a:gd name="T46" fmla="*/ 632 w 853"/>
                  <a:gd name="T47" fmla="*/ 583 h 675"/>
                  <a:gd name="T48" fmla="*/ 612 w 853"/>
                  <a:gd name="T49" fmla="*/ 634 h 675"/>
                  <a:gd name="T50" fmla="*/ 607 w 853"/>
                  <a:gd name="T51" fmla="*/ 592 h 675"/>
                  <a:gd name="T52" fmla="*/ 580 w 853"/>
                  <a:gd name="T53" fmla="*/ 500 h 675"/>
                  <a:gd name="T54" fmla="*/ 551 w 853"/>
                  <a:gd name="T55" fmla="*/ 510 h 675"/>
                  <a:gd name="T56" fmla="*/ 491 w 853"/>
                  <a:gd name="T57" fmla="*/ 610 h 675"/>
                  <a:gd name="T58" fmla="*/ 411 w 853"/>
                  <a:gd name="T59" fmla="*/ 595 h 675"/>
                  <a:gd name="T60" fmla="*/ 349 w 853"/>
                  <a:gd name="T61" fmla="*/ 641 h 675"/>
                  <a:gd name="T62" fmla="*/ 250 w 853"/>
                  <a:gd name="T63" fmla="*/ 634 h 675"/>
                  <a:gd name="T64" fmla="*/ 207 w 853"/>
                  <a:gd name="T65" fmla="*/ 590 h 675"/>
                  <a:gd name="T66" fmla="*/ 199 w 853"/>
                  <a:gd name="T67" fmla="*/ 588 h 675"/>
                  <a:gd name="T68" fmla="*/ 185 w 853"/>
                  <a:gd name="T69" fmla="*/ 590 h 675"/>
                  <a:gd name="T70" fmla="*/ 175 w 853"/>
                  <a:gd name="T71" fmla="*/ 592 h 675"/>
                  <a:gd name="T72" fmla="*/ 165 w 853"/>
                  <a:gd name="T73" fmla="*/ 597 h 675"/>
                  <a:gd name="T74" fmla="*/ 165 w 853"/>
                  <a:gd name="T75" fmla="*/ 607 h 675"/>
                  <a:gd name="T76" fmla="*/ 156 w 853"/>
                  <a:gd name="T77" fmla="*/ 616 h 675"/>
                  <a:gd name="T78" fmla="*/ 141 w 853"/>
                  <a:gd name="T79" fmla="*/ 650 h 675"/>
                  <a:gd name="T80" fmla="*/ 117 w 853"/>
                  <a:gd name="T81" fmla="*/ 675 h 675"/>
                  <a:gd name="T82" fmla="*/ 90 w 853"/>
                  <a:gd name="T83" fmla="*/ 672 h 675"/>
                  <a:gd name="T84" fmla="*/ 83 w 853"/>
                  <a:gd name="T85" fmla="*/ 660 h 675"/>
                  <a:gd name="T86" fmla="*/ 92 w 853"/>
                  <a:gd name="T87" fmla="*/ 643 h 675"/>
                  <a:gd name="T88" fmla="*/ 83 w 853"/>
                  <a:gd name="T89" fmla="*/ 597 h 675"/>
                  <a:gd name="T90" fmla="*/ 60 w 853"/>
                  <a:gd name="T91" fmla="*/ 542 h 675"/>
                  <a:gd name="T92" fmla="*/ 37 w 853"/>
                  <a:gd name="T93" fmla="*/ 505 h 675"/>
                  <a:gd name="T94" fmla="*/ 32 w 853"/>
                  <a:gd name="T95" fmla="*/ 476 h 675"/>
                  <a:gd name="T96" fmla="*/ 2 w 853"/>
                  <a:gd name="T97" fmla="*/ 466 h 675"/>
                  <a:gd name="T98" fmla="*/ 24 w 853"/>
                  <a:gd name="T99" fmla="*/ 437 h 675"/>
                  <a:gd name="T100" fmla="*/ 32 w 853"/>
                  <a:gd name="T101" fmla="*/ 403 h 675"/>
                  <a:gd name="T102" fmla="*/ 32 w 853"/>
                  <a:gd name="T103" fmla="*/ 381 h 675"/>
                  <a:gd name="T104" fmla="*/ 53 w 853"/>
                  <a:gd name="T105" fmla="*/ 354 h 675"/>
                  <a:gd name="T106" fmla="*/ 58 w 853"/>
                  <a:gd name="T107" fmla="*/ 326 h 675"/>
                  <a:gd name="T108" fmla="*/ 111 w 853"/>
                  <a:gd name="T109" fmla="*/ 294 h 675"/>
                  <a:gd name="T110" fmla="*/ 162 w 853"/>
                  <a:gd name="T111" fmla="*/ 47 h 675"/>
                  <a:gd name="T112" fmla="*/ 622 w 853"/>
                  <a:gd name="T113" fmla="*/ 0 h 675"/>
                  <a:gd name="T114" fmla="*/ 843 w 853"/>
                  <a:gd name="T115" fmla="*/ 194 h 675"/>
                  <a:gd name="T116" fmla="*/ 819 w 853"/>
                  <a:gd name="T117" fmla="*/ 165 h 675"/>
                  <a:gd name="T118" fmla="*/ 835 w 853"/>
                  <a:gd name="T119" fmla="*/ 189 h 675"/>
                  <a:gd name="T120" fmla="*/ 853 w 853"/>
                  <a:gd name="T121" fmla="*/ 175 h 675"/>
                  <a:gd name="T122" fmla="*/ 845 w 853"/>
                  <a:gd name="T123" fmla="*/ 167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3" h="675">
                    <a:moveTo>
                      <a:pt x="763" y="2"/>
                    </a:moveTo>
                    <a:lnTo>
                      <a:pt x="762" y="2"/>
                    </a:lnTo>
                    <a:lnTo>
                      <a:pt x="763" y="5"/>
                    </a:lnTo>
                    <a:lnTo>
                      <a:pt x="763" y="8"/>
                    </a:lnTo>
                    <a:lnTo>
                      <a:pt x="763" y="10"/>
                    </a:lnTo>
                    <a:lnTo>
                      <a:pt x="763" y="12"/>
                    </a:lnTo>
                    <a:lnTo>
                      <a:pt x="765" y="22"/>
                    </a:lnTo>
                    <a:lnTo>
                      <a:pt x="772" y="34"/>
                    </a:lnTo>
                    <a:lnTo>
                      <a:pt x="777" y="37"/>
                    </a:lnTo>
                    <a:lnTo>
                      <a:pt x="782" y="42"/>
                    </a:lnTo>
                    <a:lnTo>
                      <a:pt x="784" y="47"/>
                    </a:lnTo>
                    <a:lnTo>
                      <a:pt x="785" y="47"/>
                    </a:lnTo>
                    <a:lnTo>
                      <a:pt x="785" y="51"/>
                    </a:lnTo>
                    <a:lnTo>
                      <a:pt x="782" y="51"/>
                    </a:lnTo>
                    <a:lnTo>
                      <a:pt x="779" y="46"/>
                    </a:lnTo>
                    <a:lnTo>
                      <a:pt x="782" y="47"/>
                    </a:lnTo>
                    <a:lnTo>
                      <a:pt x="784" y="49"/>
                    </a:lnTo>
                    <a:lnTo>
                      <a:pt x="782" y="47"/>
                    </a:lnTo>
                    <a:lnTo>
                      <a:pt x="782" y="44"/>
                    </a:lnTo>
                    <a:lnTo>
                      <a:pt x="779" y="44"/>
                    </a:lnTo>
                    <a:lnTo>
                      <a:pt x="780" y="44"/>
                    </a:lnTo>
                    <a:lnTo>
                      <a:pt x="779" y="44"/>
                    </a:lnTo>
                    <a:lnTo>
                      <a:pt x="779" y="41"/>
                    </a:lnTo>
                    <a:lnTo>
                      <a:pt x="777" y="41"/>
                    </a:lnTo>
                    <a:lnTo>
                      <a:pt x="774" y="42"/>
                    </a:lnTo>
                    <a:lnTo>
                      <a:pt x="775" y="44"/>
                    </a:lnTo>
                    <a:lnTo>
                      <a:pt x="777" y="44"/>
                    </a:lnTo>
                    <a:lnTo>
                      <a:pt x="775" y="46"/>
                    </a:lnTo>
                    <a:lnTo>
                      <a:pt x="777" y="47"/>
                    </a:lnTo>
                    <a:lnTo>
                      <a:pt x="775" y="47"/>
                    </a:lnTo>
                    <a:lnTo>
                      <a:pt x="774" y="49"/>
                    </a:lnTo>
                    <a:lnTo>
                      <a:pt x="777" y="56"/>
                    </a:lnTo>
                    <a:lnTo>
                      <a:pt x="779" y="68"/>
                    </a:lnTo>
                    <a:lnTo>
                      <a:pt x="780" y="70"/>
                    </a:lnTo>
                    <a:lnTo>
                      <a:pt x="780" y="71"/>
                    </a:lnTo>
                    <a:lnTo>
                      <a:pt x="782" y="75"/>
                    </a:lnTo>
                    <a:lnTo>
                      <a:pt x="782" y="78"/>
                    </a:lnTo>
                    <a:lnTo>
                      <a:pt x="780" y="80"/>
                    </a:lnTo>
                    <a:lnTo>
                      <a:pt x="780" y="78"/>
                    </a:lnTo>
                    <a:lnTo>
                      <a:pt x="779" y="80"/>
                    </a:lnTo>
                    <a:lnTo>
                      <a:pt x="780" y="81"/>
                    </a:lnTo>
                    <a:lnTo>
                      <a:pt x="779" y="83"/>
                    </a:lnTo>
                    <a:lnTo>
                      <a:pt x="780" y="88"/>
                    </a:lnTo>
                    <a:lnTo>
                      <a:pt x="779" y="92"/>
                    </a:lnTo>
                    <a:lnTo>
                      <a:pt x="780" y="90"/>
                    </a:lnTo>
                    <a:lnTo>
                      <a:pt x="780" y="93"/>
                    </a:lnTo>
                    <a:lnTo>
                      <a:pt x="780" y="98"/>
                    </a:lnTo>
                    <a:lnTo>
                      <a:pt x="780" y="100"/>
                    </a:lnTo>
                    <a:lnTo>
                      <a:pt x="780" y="98"/>
                    </a:lnTo>
                    <a:lnTo>
                      <a:pt x="779" y="100"/>
                    </a:lnTo>
                    <a:lnTo>
                      <a:pt x="779" y="102"/>
                    </a:lnTo>
                    <a:lnTo>
                      <a:pt x="780" y="105"/>
                    </a:lnTo>
                    <a:lnTo>
                      <a:pt x="780" y="107"/>
                    </a:lnTo>
                    <a:lnTo>
                      <a:pt x="782" y="109"/>
                    </a:lnTo>
                    <a:lnTo>
                      <a:pt x="782" y="110"/>
                    </a:lnTo>
                    <a:lnTo>
                      <a:pt x="784" y="110"/>
                    </a:lnTo>
                    <a:lnTo>
                      <a:pt x="784" y="114"/>
                    </a:lnTo>
                    <a:lnTo>
                      <a:pt x="782" y="119"/>
                    </a:lnTo>
                    <a:lnTo>
                      <a:pt x="782" y="122"/>
                    </a:lnTo>
                    <a:lnTo>
                      <a:pt x="780" y="122"/>
                    </a:lnTo>
                    <a:lnTo>
                      <a:pt x="780" y="121"/>
                    </a:lnTo>
                    <a:lnTo>
                      <a:pt x="780" y="122"/>
                    </a:lnTo>
                    <a:lnTo>
                      <a:pt x="782" y="122"/>
                    </a:lnTo>
                    <a:lnTo>
                      <a:pt x="782" y="124"/>
                    </a:lnTo>
                    <a:lnTo>
                      <a:pt x="784" y="127"/>
                    </a:lnTo>
                    <a:lnTo>
                      <a:pt x="784" y="129"/>
                    </a:lnTo>
                    <a:lnTo>
                      <a:pt x="785" y="134"/>
                    </a:lnTo>
                    <a:lnTo>
                      <a:pt x="785" y="136"/>
                    </a:lnTo>
                    <a:lnTo>
                      <a:pt x="785" y="138"/>
                    </a:lnTo>
                    <a:lnTo>
                      <a:pt x="787" y="146"/>
                    </a:lnTo>
                    <a:lnTo>
                      <a:pt x="785" y="148"/>
                    </a:lnTo>
                    <a:lnTo>
                      <a:pt x="787" y="148"/>
                    </a:lnTo>
                    <a:lnTo>
                      <a:pt x="787" y="146"/>
                    </a:lnTo>
                    <a:lnTo>
                      <a:pt x="789" y="149"/>
                    </a:lnTo>
                    <a:lnTo>
                      <a:pt x="789" y="153"/>
                    </a:lnTo>
                    <a:lnTo>
                      <a:pt x="791" y="153"/>
                    </a:lnTo>
                    <a:lnTo>
                      <a:pt x="789" y="155"/>
                    </a:lnTo>
                    <a:lnTo>
                      <a:pt x="791" y="156"/>
                    </a:lnTo>
                    <a:lnTo>
                      <a:pt x="791" y="160"/>
                    </a:lnTo>
                    <a:lnTo>
                      <a:pt x="794" y="165"/>
                    </a:lnTo>
                    <a:lnTo>
                      <a:pt x="797" y="167"/>
                    </a:lnTo>
                    <a:lnTo>
                      <a:pt x="799" y="168"/>
                    </a:lnTo>
                    <a:lnTo>
                      <a:pt x="802" y="167"/>
                    </a:lnTo>
                    <a:lnTo>
                      <a:pt x="804" y="167"/>
                    </a:lnTo>
                    <a:lnTo>
                      <a:pt x="804" y="168"/>
                    </a:lnTo>
                    <a:lnTo>
                      <a:pt x="808" y="168"/>
                    </a:lnTo>
                    <a:lnTo>
                      <a:pt x="809" y="170"/>
                    </a:lnTo>
                    <a:lnTo>
                      <a:pt x="809" y="172"/>
                    </a:lnTo>
                    <a:lnTo>
                      <a:pt x="818" y="175"/>
                    </a:lnTo>
                    <a:lnTo>
                      <a:pt x="821" y="178"/>
                    </a:lnTo>
                    <a:lnTo>
                      <a:pt x="826" y="182"/>
                    </a:lnTo>
                    <a:lnTo>
                      <a:pt x="825" y="184"/>
                    </a:lnTo>
                    <a:lnTo>
                      <a:pt x="825" y="187"/>
                    </a:lnTo>
                    <a:lnTo>
                      <a:pt x="825" y="189"/>
                    </a:lnTo>
                    <a:lnTo>
                      <a:pt x="826" y="190"/>
                    </a:lnTo>
                    <a:lnTo>
                      <a:pt x="828" y="190"/>
                    </a:lnTo>
                    <a:lnTo>
                      <a:pt x="828" y="192"/>
                    </a:lnTo>
                    <a:lnTo>
                      <a:pt x="831" y="192"/>
                    </a:lnTo>
                    <a:lnTo>
                      <a:pt x="833" y="192"/>
                    </a:lnTo>
                    <a:lnTo>
                      <a:pt x="833" y="189"/>
                    </a:lnTo>
                    <a:lnTo>
                      <a:pt x="835" y="190"/>
                    </a:lnTo>
                    <a:lnTo>
                      <a:pt x="833" y="190"/>
                    </a:lnTo>
                    <a:lnTo>
                      <a:pt x="835" y="190"/>
                    </a:lnTo>
                    <a:lnTo>
                      <a:pt x="833" y="194"/>
                    </a:lnTo>
                    <a:lnTo>
                      <a:pt x="838" y="195"/>
                    </a:lnTo>
                    <a:lnTo>
                      <a:pt x="838" y="194"/>
                    </a:lnTo>
                    <a:lnTo>
                      <a:pt x="840" y="194"/>
                    </a:lnTo>
                    <a:lnTo>
                      <a:pt x="842" y="195"/>
                    </a:lnTo>
                    <a:lnTo>
                      <a:pt x="840" y="195"/>
                    </a:lnTo>
                    <a:lnTo>
                      <a:pt x="840" y="197"/>
                    </a:lnTo>
                    <a:lnTo>
                      <a:pt x="842" y="199"/>
                    </a:lnTo>
                    <a:lnTo>
                      <a:pt x="843" y="197"/>
                    </a:lnTo>
                    <a:lnTo>
                      <a:pt x="845" y="199"/>
                    </a:lnTo>
                    <a:lnTo>
                      <a:pt x="843" y="199"/>
                    </a:lnTo>
                    <a:lnTo>
                      <a:pt x="845" y="199"/>
                    </a:lnTo>
                    <a:lnTo>
                      <a:pt x="845" y="201"/>
                    </a:lnTo>
                    <a:lnTo>
                      <a:pt x="847" y="199"/>
                    </a:lnTo>
                    <a:lnTo>
                      <a:pt x="845" y="199"/>
                    </a:lnTo>
                    <a:lnTo>
                      <a:pt x="847" y="197"/>
                    </a:lnTo>
                    <a:lnTo>
                      <a:pt x="848" y="199"/>
                    </a:lnTo>
                    <a:lnTo>
                      <a:pt x="848" y="202"/>
                    </a:lnTo>
                    <a:lnTo>
                      <a:pt x="850" y="202"/>
                    </a:lnTo>
                    <a:lnTo>
                      <a:pt x="848" y="204"/>
                    </a:lnTo>
                    <a:lnTo>
                      <a:pt x="843" y="209"/>
                    </a:lnTo>
                    <a:lnTo>
                      <a:pt x="838" y="218"/>
                    </a:lnTo>
                    <a:lnTo>
                      <a:pt x="838" y="221"/>
                    </a:lnTo>
                    <a:lnTo>
                      <a:pt x="835" y="223"/>
                    </a:lnTo>
                    <a:lnTo>
                      <a:pt x="833" y="226"/>
                    </a:lnTo>
                    <a:lnTo>
                      <a:pt x="831" y="226"/>
                    </a:lnTo>
                    <a:lnTo>
                      <a:pt x="830" y="226"/>
                    </a:lnTo>
                    <a:lnTo>
                      <a:pt x="828" y="224"/>
                    </a:lnTo>
                    <a:lnTo>
                      <a:pt x="826" y="226"/>
                    </a:lnTo>
                    <a:lnTo>
                      <a:pt x="826" y="224"/>
                    </a:lnTo>
                    <a:lnTo>
                      <a:pt x="825" y="226"/>
                    </a:lnTo>
                    <a:lnTo>
                      <a:pt x="825" y="228"/>
                    </a:lnTo>
                    <a:lnTo>
                      <a:pt x="823" y="228"/>
                    </a:lnTo>
                    <a:lnTo>
                      <a:pt x="823" y="226"/>
                    </a:lnTo>
                    <a:lnTo>
                      <a:pt x="821" y="226"/>
                    </a:lnTo>
                    <a:lnTo>
                      <a:pt x="819" y="226"/>
                    </a:lnTo>
                    <a:lnTo>
                      <a:pt x="818" y="229"/>
                    </a:lnTo>
                    <a:lnTo>
                      <a:pt x="818" y="231"/>
                    </a:lnTo>
                    <a:lnTo>
                      <a:pt x="814" y="231"/>
                    </a:lnTo>
                    <a:lnTo>
                      <a:pt x="813" y="229"/>
                    </a:lnTo>
                    <a:lnTo>
                      <a:pt x="809" y="229"/>
                    </a:lnTo>
                    <a:lnTo>
                      <a:pt x="808" y="235"/>
                    </a:lnTo>
                    <a:lnTo>
                      <a:pt x="801" y="236"/>
                    </a:lnTo>
                    <a:lnTo>
                      <a:pt x="794" y="238"/>
                    </a:lnTo>
                    <a:lnTo>
                      <a:pt x="796" y="241"/>
                    </a:lnTo>
                    <a:lnTo>
                      <a:pt x="794" y="241"/>
                    </a:lnTo>
                    <a:lnTo>
                      <a:pt x="796" y="245"/>
                    </a:lnTo>
                    <a:lnTo>
                      <a:pt x="794" y="245"/>
                    </a:lnTo>
                    <a:lnTo>
                      <a:pt x="792" y="248"/>
                    </a:lnTo>
                    <a:lnTo>
                      <a:pt x="791" y="250"/>
                    </a:lnTo>
                    <a:lnTo>
                      <a:pt x="789" y="252"/>
                    </a:lnTo>
                    <a:lnTo>
                      <a:pt x="784" y="250"/>
                    </a:lnTo>
                    <a:lnTo>
                      <a:pt x="777" y="252"/>
                    </a:lnTo>
                    <a:lnTo>
                      <a:pt x="774" y="250"/>
                    </a:lnTo>
                    <a:lnTo>
                      <a:pt x="772" y="250"/>
                    </a:lnTo>
                    <a:lnTo>
                      <a:pt x="770" y="250"/>
                    </a:lnTo>
                    <a:lnTo>
                      <a:pt x="768" y="250"/>
                    </a:lnTo>
                    <a:lnTo>
                      <a:pt x="770" y="253"/>
                    </a:lnTo>
                    <a:lnTo>
                      <a:pt x="767" y="257"/>
                    </a:lnTo>
                    <a:lnTo>
                      <a:pt x="770" y="260"/>
                    </a:lnTo>
                    <a:lnTo>
                      <a:pt x="768" y="262"/>
                    </a:lnTo>
                    <a:lnTo>
                      <a:pt x="770" y="263"/>
                    </a:lnTo>
                    <a:lnTo>
                      <a:pt x="768" y="267"/>
                    </a:lnTo>
                    <a:lnTo>
                      <a:pt x="768" y="269"/>
                    </a:lnTo>
                    <a:lnTo>
                      <a:pt x="767" y="270"/>
                    </a:lnTo>
                    <a:lnTo>
                      <a:pt x="767" y="272"/>
                    </a:lnTo>
                    <a:lnTo>
                      <a:pt x="763" y="272"/>
                    </a:lnTo>
                    <a:lnTo>
                      <a:pt x="763" y="275"/>
                    </a:lnTo>
                    <a:lnTo>
                      <a:pt x="763" y="279"/>
                    </a:lnTo>
                    <a:lnTo>
                      <a:pt x="765" y="282"/>
                    </a:lnTo>
                    <a:lnTo>
                      <a:pt x="767" y="284"/>
                    </a:lnTo>
                    <a:lnTo>
                      <a:pt x="765" y="289"/>
                    </a:lnTo>
                    <a:lnTo>
                      <a:pt x="767" y="291"/>
                    </a:lnTo>
                    <a:lnTo>
                      <a:pt x="763" y="294"/>
                    </a:lnTo>
                    <a:lnTo>
                      <a:pt x="757" y="313"/>
                    </a:lnTo>
                    <a:lnTo>
                      <a:pt x="753" y="318"/>
                    </a:lnTo>
                    <a:lnTo>
                      <a:pt x="750" y="332"/>
                    </a:lnTo>
                    <a:lnTo>
                      <a:pt x="751" y="332"/>
                    </a:lnTo>
                    <a:lnTo>
                      <a:pt x="746" y="343"/>
                    </a:lnTo>
                    <a:lnTo>
                      <a:pt x="741" y="347"/>
                    </a:lnTo>
                    <a:lnTo>
                      <a:pt x="743" y="367"/>
                    </a:lnTo>
                    <a:lnTo>
                      <a:pt x="745" y="379"/>
                    </a:lnTo>
                    <a:lnTo>
                      <a:pt x="745" y="389"/>
                    </a:lnTo>
                    <a:lnTo>
                      <a:pt x="746" y="393"/>
                    </a:lnTo>
                    <a:lnTo>
                      <a:pt x="745" y="403"/>
                    </a:lnTo>
                    <a:lnTo>
                      <a:pt x="741" y="408"/>
                    </a:lnTo>
                    <a:lnTo>
                      <a:pt x="745" y="415"/>
                    </a:lnTo>
                    <a:lnTo>
                      <a:pt x="740" y="420"/>
                    </a:lnTo>
                    <a:lnTo>
                      <a:pt x="738" y="427"/>
                    </a:lnTo>
                    <a:lnTo>
                      <a:pt x="738" y="430"/>
                    </a:lnTo>
                    <a:lnTo>
                      <a:pt x="733" y="440"/>
                    </a:lnTo>
                    <a:lnTo>
                      <a:pt x="731" y="442"/>
                    </a:lnTo>
                    <a:lnTo>
                      <a:pt x="726" y="459"/>
                    </a:lnTo>
                    <a:lnTo>
                      <a:pt x="728" y="462"/>
                    </a:lnTo>
                    <a:lnTo>
                      <a:pt x="728" y="469"/>
                    </a:lnTo>
                    <a:lnTo>
                      <a:pt x="728" y="473"/>
                    </a:lnTo>
                    <a:lnTo>
                      <a:pt x="724" y="473"/>
                    </a:lnTo>
                    <a:lnTo>
                      <a:pt x="724" y="471"/>
                    </a:lnTo>
                    <a:lnTo>
                      <a:pt x="719" y="471"/>
                    </a:lnTo>
                    <a:lnTo>
                      <a:pt x="707" y="474"/>
                    </a:lnTo>
                    <a:lnTo>
                      <a:pt x="707" y="473"/>
                    </a:lnTo>
                    <a:lnTo>
                      <a:pt x="706" y="474"/>
                    </a:lnTo>
                    <a:lnTo>
                      <a:pt x="704" y="473"/>
                    </a:lnTo>
                    <a:lnTo>
                      <a:pt x="704" y="474"/>
                    </a:lnTo>
                    <a:lnTo>
                      <a:pt x="704" y="476"/>
                    </a:lnTo>
                    <a:lnTo>
                      <a:pt x="700" y="476"/>
                    </a:lnTo>
                    <a:lnTo>
                      <a:pt x="690" y="495"/>
                    </a:lnTo>
                    <a:lnTo>
                      <a:pt x="690" y="497"/>
                    </a:lnTo>
                    <a:lnTo>
                      <a:pt x="689" y="498"/>
                    </a:lnTo>
                    <a:lnTo>
                      <a:pt x="687" y="502"/>
                    </a:lnTo>
                    <a:lnTo>
                      <a:pt x="685" y="503"/>
                    </a:lnTo>
                    <a:lnTo>
                      <a:pt x="685" y="505"/>
                    </a:lnTo>
                    <a:lnTo>
                      <a:pt x="683" y="507"/>
                    </a:lnTo>
                    <a:lnTo>
                      <a:pt x="682" y="510"/>
                    </a:lnTo>
                    <a:lnTo>
                      <a:pt x="673" y="517"/>
                    </a:lnTo>
                    <a:lnTo>
                      <a:pt x="672" y="520"/>
                    </a:lnTo>
                    <a:lnTo>
                      <a:pt x="673" y="525"/>
                    </a:lnTo>
                    <a:lnTo>
                      <a:pt x="673" y="531"/>
                    </a:lnTo>
                    <a:lnTo>
                      <a:pt x="672" y="534"/>
                    </a:lnTo>
                    <a:lnTo>
                      <a:pt x="672" y="536"/>
                    </a:lnTo>
                    <a:lnTo>
                      <a:pt x="668" y="541"/>
                    </a:lnTo>
                    <a:lnTo>
                      <a:pt x="668" y="542"/>
                    </a:lnTo>
                    <a:lnTo>
                      <a:pt x="666" y="546"/>
                    </a:lnTo>
                    <a:lnTo>
                      <a:pt x="668" y="549"/>
                    </a:lnTo>
                    <a:lnTo>
                      <a:pt x="666" y="559"/>
                    </a:lnTo>
                    <a:lnTo>
                      <a:pt x="666" y="563"/>
                    </a:lnTo>
                    <a:lnTo>
                      <a:pt x="661" y="571"/>
                    </a:lnTo>
                    <a:lnTo>
                      <a:pt x="660" y="571"/>
                    </a:lnTo>
                    <a:lnTo>
                      <a:pt x="658" y="573"/>
                    </a:lnTo>
                    <a:lnTo>
                      <a:pt x="656" y="573"/>
                    </a:lnTo>
                    <a:lnTo>
                      <a:pt x="656" y="570"/>
                    </a:lnTo>
                    <a:lnTo>
                      <a:pt x="653" y="566"/>
                    </a:lnTo>
                    <a:lnTo>
                      <a:pt x="648" y="563"/>
                    </a:lnTo>
                    <a:lnTo>
                      <a:pt x="641" y="568"/>
                    </a:lnTo>
                    <a:lnTo>
                      <a:pt x="638" y="575"/>
                    </a:lnTo>
                    <a:lnTo>
                      <a:pt x="632" y="578"/>
                    </a:lnTo>
                    <a:lnTo>
                      <a:pt x="632" y="583"/>
                    </a:lnTo>
                    <a:lnTo>
                      <a:pt x="634" y="585"/>
                    </a:lnTo>
                    <a:lnTo>
                      <a:pt x="632" y="588"/>
                    </a:lnTo>
                    <a:lnTo>
                      <a:pt x="636" y="599"/>
                    </a:lnTo>
                    <a:lnTo>
                      <a:pt x="636" y="600"/>
                    </a:lnTo>
                    <a:lnTo>
                      <a:pt x="634" y="602"/>
                    </a:lnTo>
                    <a:lnTo>
                      <a:pt x="629" y="607"/>
                    </a:lnTo>
                    <a:lnTo>
                      <a:pt x="629" y="614"/>
                    </a:lnTo>
                    <a:lnTo>
                      <a:pt x="624" y="629"/>
                    </a:lnTo>
                    <a:lnTo>
                      <a:pt x="624" y="634"/>
                    </a:lnTo>
                    <a:lnTo>
                      <a:pt x="612" y="634"/>
                    </a:lnTo>
                    <a:lnTo>
                      <a:pt x="612" y="629"/>
                    </a:lnTo>
                    <a:lnTo>
                      <a:pt x="612" y="626"/>
                    </a:lnTo>
                    <a:lnTo>
                      <a:pt x="614" y="622"/>
                    </a:lnTo>
                    <a:lnTo>
                      <a:pt x="615" y="619"/>
                    </a:lnTo>
                    <a:lnTo>
                      <a:pt x="617" y="614"/>
                    </a:lnTo>
                    <a:lnTo>
                      <a:pt x="617" y="607"/>
                    </a:lnTo>
                    <a:lnTo>
                      <a:pt x="617" y="605"/>
                    </a:lnTo>
                    <a:lnTo>
                      <a:pt x="615" y="602"/>
                    </a:lnTo>
                    <a:lnTo>
                      <a:pt x="612" y="600"/>
                    </a:lnTo>
                    <a:lnTo>
                      <a:pt x="607" y="592"/>
                    </a:lnTo>
                    <a:lnTo>
                      <a:pt x="600" y="587"/>
                    </a:lnTo>
                    <a:lnTo>
                      <a:pt x="592" y="576"/>
                    </a:lnTo>
                    <a:lnTo>
                      <a:pt x="580" y="573"/>
                    </a:lnTo>
                    <a:lnTo>
                      <a:pt x="578" y="571"/>
                    </a:lnTo>
                    <a:lnTo>
                      <a:pt x="581" y="568"/>
                    </a:lnTo>
                    <a:lnTo>
                      <a:pt x="580" y="554"/>
                    </a:lnTo>
                    <a:lnTo>
                      <a:pt x="578" y="546"/>
                    </a:lnTo>
                    <a:lnTo>
                      <a:pt x="575" y="527"/>
                    </a:lnTo>
                    <a:lnTo>
                      <a:pt x="576" y="520"/>
                    </a:lnTo>
                    <a:lnTo>
                      <a:pt x="580" y="500"/>
                    </a:lnTo>
                    <a:lnTo>
                      <a:pt x="581" y="498"/>
                    </a:lnTo>
                    <a:lnTo>
                      <a:pt x="580" y="497"/>
                    </a:lnTo>
                    <a:lnTo>
                      <a:pt x="580" y="498"/>
                    </a:lnTo>
                    <a:lnTo>
                      <a:pt x="556" y="497"/>
                    </a:lnTo>
                    <a:lnTo>
                      <a:pt x="553" y="497"/>
                    </a:lnTo>
                    <a:lnTo>
                      <a:pt x="554" y="498"/>
                    </a:lnTo>
                    <a:lnTo>
                      <a:pt x="554" y="500"/>
                    </a:lnTo>
                    <a:lnTo>
                      <a:pt x="554" y="507"/>
                    </a:lnTo>
                    <a:lnTo>
                      <a:pt x="554" y="512"/>
                    </a:lnTo>
                    <a:lnTo>
                      <a:pt x="551" y="510"/>
                    </a:lnTo>
                    <a:lnTo>
                      <a:pt x="522" y="510"/>
                    </a:lnTo>
                    <a:lnTo>
                      <a:pt x="536" y="522"/>
                    </a:lnTo>
                    <a:lnTo>
                      <a:pt x="536" y="524"/>
                    </a:lnTo>
                    <a:lnTo>
                      <a:pt x="537" y="529"/>
                    </a:lnTo>
                    <a:lnTo>
                      <a:pt x="537" y="549"/>
                    </a:lnTo>
                    <a:lnTo>
                      <a:pt x="541" y="556"/>
                    </a:lnTo>
                    <a:lnTo>
                      <a:pt x="524" y="571"/>
                    </a:lnTo>
                    <a:lnTo>
                      <a:pt x="517" y="576"/>
                    </a:lnTo>
                    <a:lnTo>
                      <a:pt x="507" y="593"/>
                    </a:lnTo>
                    <a:lnTo>
                      <a:pt x="491" y="610"/>
                    </a:lnTo>
                    <a:lnTo>
                      <a:pt x="485" y="619"/>
                    </a:lnTo>
                    <a:lnTo>
                      <a:pt x="481" y="621"/>
                    </a:lnTo>
                    <a:lnTo>
                      <a:pt x="474" y="622"/>
                    </a:lnTo>
                    <a:lnTo>
                      <a:pt x="461" y="622"/>
                    </a:lnTo>
                    <a:lnTo>
                      <a:pt x="457" y="622"/>
                    </a:lnTo>
                    <a:lnTo>
                      <a:pt x="442" y="610"/>
                    </a:lnTo>
                    <a:lnTo>
                      <a:pt x="423" y="600"/>
                    </a:lnTo>
                    <a:lnTo>
                      <a:pt x="417" y="595"/>
                    </a:lnTo>
                    <a:lnTo>
                      <a:pt x="415" y="595"/>
                    </a:lnTo>
                    <a:lnTo>
                      <a:pt x="411" y="595"/>
                    </a:lnTo>
                    <a:lnTo>
                      <a:pt x="393" y="605"/>
                    </a:lnTo>
                    <a:lnTo>
                      <a:pt x="393" y="622"/>
                    </a:lnTo>
                    <a:lnTo>
                      <a:pt x="369" y="622"/>
                    </a:lnTo>
                    <a:lnTo>
                      <a:pt x="360" y="631"/>
                    </a:lnTo>
                    <a:lnTo>
                      <a:pt x="357" y="636"/>
                    </a:lnTo>
                    <a:lnTo>
                      <a:pt x="355" y="639"/>
                    </a:lnTo>
                    <a:lnTo>
                      <a:pt x="354" y="639"/>
                    </a:lnTo>
                    <a:lnTo>
                      <a:pt x="354" y="641"/>
                    </a:lnTo>
                    <a:lnTo>
                      <a:pt x="352" y="641"/>
                    </a:lnTo>
                    <a:lnTo>
                      <a:pt x="349" y="641"/>
                    </a:lnTo>
                    <a:lnTo>
                      <a:pt x="347" y="643"/>
                    </a:lnTo>
                    <a:lnTo>
                      <a:pt x="320" y="643"/>
                    </a:lnTo>
                    <a:lnTo>
                      <a:pt x="316" y="643"/>
                    </a:lnTo>
                    <a:lnTo>
                      <a:pt x="309" y="629"/>
                    </a:lnTo>
                    <a:lnTo>
                      <a:pt x="306" y="629"/>
                    </a:lnTo>
                    <a:lnTo>
                      <a:pt x="298" y="629"/>
                    </a:lnTo>
                    <a:lnTo>
                      <a:pt x="281" y="627"/>
                    </a:lnTo>
                    <a:lnTo>
                      <a:pt x="270" y="627"/>
                    </a:lnTo>
                    <a:lnTo>
                      <a:pt x="264" y="629"/>
                    </a:lnTo>
                    <a:lnTo>
                      <a:pt x="250" y="634"/>
                    </a:lnTo>
                    <a:lnTo>
                      <a:pt x="235" y="633"/>
                    </a:lnTo>
                    <a:lnTo>
                      <a:pt x="231" y="629"/>
                    </a:lnTo>
                    <a:lnTo>
                      <a:pt x="230" y="627"/>
                    </a:lnTo>
                    <a:lnTo>
                      <a:pt x="226" y="621"/>
                    </a:lnTo>
                    <a:lnTo>
                      <a:pt x="224" y="614"/>
                    </a:lnTo>
                    <a:lnTo>
                      <a:pt x="219" y="609"/>
                    </a:lnTo>
                    <a:lnTo>
                      <a:pt x="216" y="602"/>
                    </a:lnTo>
                    <a:lnTo>
                      <a:pt x="209" y="600"/>
                    </a:lnTo>
                    <a:lnTo>
                      <a:pt x="209" y="590"/>
                    </a:lnTo>
                    <a:lnTo>
                      <a:pt x="207" y="590"/>
                    </a:lnTo>
                    <a:lnTo>
                      <a:pt x="207" y="588"/>
                    </a:lnTo>
                    <a:lnTo>
                      <a:pt x="206" y="588"/>
                    </a:lnTo>
                    <a:lnTo>
                      <a:pt x="204" y="587"/>
                    </a:lnTo>
                    <a:lnTo>
                      <a:pt x="204" y="588"/>
                    </a:lnTo>
                    <a:lnTo>
                      <a:pt x="202" y="587"/>
                    </a:lnTo>
                    <a:lnTo>
                      <a:pt x="202" y="588"/>
                    </a:lnTo>
                    <a:lnTo>
                      <a:pt x="201" y="587"/>
                    </a:lnTo>
                    <a:lnTo>
                      <a:pt x="201" y="588"/>
                    </a:lnTo>
                    <a:lnTo>
                      <a:pt x="201" y="587"/>
                    </a:lnTo>
                    <a:lnTo>
                      <a:pt x="199" y="588"/>
                    </a:lnTo>
                    <a:lnTo>
                      <a:pt x="197" y="588"/>
                    </a:lnTo>
                    <a:lnTo>
                      <a:pt x="196" y="588"/>
                    </a:lnTo>
                    <a:lnTo>
                      <a:pt x="196" y="587"/>
                    </a:lnTo>
                    <a:lnTo>
                      <a:pt x="194" y="588"/>
                    </a:lnTo>
                    <a:lnTo>
                      <a:pt x="190" y="588"/>
                    </a:lnTo>
                    <a:lnTo>
                      <a:pt x="189" y="590"/>
                    </a:lnTo>
                    <a:lnTo>
                      <a:pt x="187" y="588"/>
                    </a:lnTo>
                    <a:lnTo>
                      <a:pt x="187" y="590"/>
                    </a:lnTo>
                    <a:lnTo>
                      <a:pt x="185" y="588"/>
                    </a:lnTo>
                    <a:lnTo>
                      <a:pt x="185" y="590"/>
                    </a:lnTo>
                    <a:lnTo>
                      <a:pt x="184" y="588"/>
                    </a:lnTo>
                    <a:lnTo>
                      <a:pt x="184" y="590"/>
                    </a:lnTo>
                    <a:lnTo>
                      <a:pt x="182" y="588"/>
                    </a:lnTo>
                    <a:lnTo>
                      <a:pt x="182" y="590"/>
                    </a:lnTo>
                    <a:lnTo>
                      <a:pt x="182" y="588"/>
                    </a:lnTo>
                    <a:lnTo>
                      <a:pt x="180" y="590"/>
                    </a:lnTo>
                    <a:lnTo>
                      <a:pt x="179" y="590"/>
                    </a:lnTo>
                    <a:lnTo>
                      <a:pt x="179" y="592"/>
                    </a:lnTo>
                    <a:lnTo>
                      <a:pt x="175" y="590"/>
                    </a:lnTo>
                    <a:lnTo>
                      <a:pt x="175" y="592"/>
                    </a:lnTo>
                    <a:lnTo>
                      <a:pt x="173" y="590"/>
                    </a:lnTo>
                    <a:lnTo>
                      <a:pt x="172" y="592"/>
                    </a:lnTo>
                    <a:lnTo>
                      <a:pt x="170" y="592"/>
                    </a:lnTo>
                    <a:lnTo>
                      <a:pt x="172" y="593"/>
                    </a:lnTo>
                    <a:lnTo>
                      <a:pt x="168" y="592"/>
                    </a:lnTo>
                    <a:lnTo>
                      <a:pt x="168" y="593"/>
                    </a:lnTo>
                    <a:lnTo>
                      <a:pt x="167" y="593"/>
                    </a:lnTo>
                    <a:lnTo>
                      <a:pt x="167" y="595"/>
                    </a:lnTo>
                    <a:lnTo>
                      <a:pt x="165" y="595"/>
                    </a:lnTo>
                    <a:lnTo>
                      <a:pt x="165" y="597"/>
                    </a:lnTo>
                    <a:lnTo>
                      <a:pt x="165" y="599"/>
                    </a:lnTo>
                    <a:lnTo>
                      <a:pt x="163" y="599"/>
                    </a:lnTo>
                    <a:lnTo>
                      <a:pt x="165" y="600"/>
                    </a:lnTo>
                    <a:lnTo>
                      <a:pt x="163" y="600"/>
                    </a:lnTo>
                    <a:lnTo>
                      <a:pt x="165" y="602"/>
                    </a:lnTo>
                    <a:lnTo>
                      <a:pt x="167" y="604"/>
                    </a:lnTo>
                    <a:lnTo>
                      <a:pt x="165" y="605"/>
                    </a:lnTo>
                    <a:lnTo>
                      <a:pt x="163" y="605"/>
                    </a:lnTo>
                    <a:lnTo>
                      <a:pt x="163" y="607"/>
                    </a:lnTo>
                    <a:lnTo>
                      <a:pt x="165" y="607"/>
                    </a:lnTo>
                    <a:lnTo>
                      <a:pt x="163" y="609"/>
                    </a:lnTo>
                    <a:lnTo>
                      <a:pt x="163" y="610"/>
                    </a:lnTo>
                    <a:lnTo>
                      <a:pt x="162" y="610"/>
                    </a:lnTo>
                    <a:lnTo>
                      <a:pt x="160" y="614"/>
                    </a:lnTo>
                    <a:lnTo>
                      <a:pt x="162" y="614"/>
                    </a:lnTo>
                    <a:lnTo>
                      <a:pt x="160" y="614"/>
                    </a:lnTo>
                    <a:lnTo>
                      <a:pt x="158" y="616"/>
                    </a:lnTo>
                    <a:lnTo>
                      <a:pt x="156" y="616"/>
                    </a:lnTo>
                    <a:lnTo>
                      <a:pt x="158" y="616"/>
                    </a:lnTo>
                    <a:lnTo>
                      <a:pt x="156" y="616"/>
                    </a:lnTo>
                    <a:lnTo>
                      <a:pt x="156" y="617"/>
                    </a:lnTo>
                    <a:lnTo>
                      <a:pt x="155" y="617"/>
                    </a:lnTo>
                    <a:lnTo>
                      <a:pt x="151" y="621"/>
                    </a:lnTo>
                    <a:lnTo>
                      <a:pt x="150" y="622"/>
                    </a:lnTo>
                    <a:lnTo>
                      <a:pt x="150" y="627"/>
                    </a:lnTo>
                    <a:lnTo>
                      <a:pt x="150" y="631"/>
                    </a:lnTo>
                    <a:lnTo>
                      <a:pt x="150" y="634"/>
                    </a:lnTo>
                    <a:lnTo>
                      <a:pt x="143" y="641"/>
                    </a:lnTo>
                    <a:lnTo>
                      <a:pt x="145" y="643"/>
                    </a:lnTo>
                    <a:lnTo>
                      <a:pt x="141" y="650"/>
                    </a:lnTo>
                    <a:lnTo>
                      <a:pt x="139" y="656"/>
                    </a:lnTo>
                    <a:lnTo>
                      <a:pt x="141" y="663"/>
                    </a:lnTo>
                    <a:lnTo>
                      <a:pt x="138" y="668"/>
                    </a:lnTo>
                    <a:lnTo>
                      <a:pt x="131" y="670"/>
                    </a:lnTo>
                    <a:lnTo>
                      <a:pt x="128" y="673"/>
                    </a:lnTo>
                    <a:lnTo>
                      <a:pt x="124" y="675"/>
                    </a:lnTo>
                    <a:lnTo>
                      <a:pt x="122" y="675"/>
                    </a:lnTo>
                    <a:lnTo>
                      <a:pt x="121" y="675"/>
                    </a:lnTo>
                    <a:lnTo>
                      <a:pt x="119" y="675"/>
                    </a:lnTo>
                    <a:lnTo>
                      <a:pt x="117" y="675"/>
                    </a:lnTo>
                    <a:lnTo>
                      <a:pt x="112" y="673"/>
                    </a:lnTo>
                    <a:lnTo>
                      <a:pt x="111" y="675"/>
                    </a:lnTo>
                    <a:lnTo>
                      <a:pt x="109" y="673"/>
                    </a:lnTo>
                    <a:lnTo>
                      <a:pt x="105" y="673"/>
                    </a:lnTo>
                    <a:lnTo>
                      <a:pt x="104" y="673"/>
                    </a:lnTo>
                    <a:lnTo>
                      <a:pt x="100" y="675"/>
                    </a:lnTo>
                    <a:lnTo>
                      <a:pt x="99" y="673"/>
                    </a:lnTo>
                    <a:lnTo>
                      <a:pt x="94" y="673"/>
                    </a:lnTo>
                    <a:lnTo>
                      <a:pt x="92" y="672"/>
                    </a:lnTo>
                    <a:lnTo>
                      <a:pt x="90" y="672"/>
                    </a:lnTo>
                    <a:lnTo>
                      <a:pt x="88" y="673"/>
                    </a:lnTo>
                    <a:lnTo>
                      <a:pt x="87" y="673"/>
                    </a:lnTo>
                    <a:lnTo>
                      <a:pt x="87" y="672"/>
                    </a:lnTo>
                    <a:lnTo>
                      <a:pt x="87" y="668"/>
                    </a:lnTo>
                    <a:lnTo>
                      <a:pt x="90" y="667"/>
                    </a:lnTo>
                    <a:lnTo>
                      <a:pt x="90" y="660"/>
                    </a:lnTo>
                    <a:lnTo>
                      <a:pt x="90" y="658"/>
                    </a:lnTo>
                    <a:lnTo>
                      <a:pt x="88" y="658"/>
                    </a:lnTo>
                    <a:lnTo>
                      <a:pt x="87" y="662"/>
                    </a:lnTo>
                    <a:lnTo>
                      <a:pt x="83" y="660"/>
                    </a:lnTo>
                    <a:lnTo>
                      <a:pt x="83" y="658"/>
                    </a:lnTo>
                    <a:lnTo>
                      <a:pt x="85" y="655"/>
                    </a:lnTo>
                    <a:lnTo>
                      <a:pt x="85" y="653"/>
                    </a:lnTo>
                    <a:lnTo>
                      <a:pt x="85" y="650"/>
                    </a:lnTo>
                    <a:lnTo>
                      <a:pt x="88" y="650"/>
                    </a:lnTo>
                    <a:lnTo>
                      <a:pt x="92" y="648"/>
                    </a:lnTo>
                    <a:lnTo>
                      <a:pt x="92" y="646"/>
                    </a:lnTo>
                    <a:lnTo>
                      <a:pt x="94" y="646"/>
                    </a:lnTo>
                    <a:lnTo>
                      <a:pt x="94" y="645"/>
                    </a:lnTo>
                    <a:lnTo>
                      <a:pt x="92" y="643"/>
                    </a:lnTo>
                    <a:lnTo>
                      <a:pt x="94" y="641"/>
                    </a:lnTo>
                    <a:lnTo>
                      <a:pt x="95" y="638"/>
                    </a:lnTo>
                    <a:lnTo>
                      <a:pt x="95" y="636"/>
                    </a:lnTo>
                    <a:lnTo>
                      <a:pt x="94" y="638"/>
                    </a:lnTo>
                    <a:lnTo>
                      <a:pt x="92" y="634"/>
                    </a:lnTo>
                    <a:lnTo>
                      <a:pt x="94" y="633"/>
                    </a:lnTo>
                    <a:lnTo>
                      <a:pt x="92" y="631"/>
                    </a:lnTo>
                    <a:lnTo>
                      <a:pt x="95" y="626"/>
                    </a:lnTo>
                    <a:lnTo>
                      <a:pt x="95" y="614"/>
                    </a:lnTo>
                    <a:lnTo>
                      <a:pt x="83" y="597"/>
                    </a:lnTo>
                    <a:lnTo>
                      <a:pt x="77" y="585"/>
                    </a:lnTo>
                    <a:lnTo>
                      <a:pt x="75" y="585"/>
                    </a:lnTo>
                    <a:lnTo>
                      <a:pt x="70" y="580"/>
                    </a:lnTo>
                    <a:lnTo>
                      <a:pt x="68" y="576"/>
                    </a:lnTo>
                    <a:lnTo>
                      <a:pt x="61" y="573"/>
                    </a:lnTo>
                    <a:lnTo>
                      <a:pt x="58" y="565"/>
                    </a:lnTo>
                    <a:lnTo>
                      <a:pt x="54" y="561"/>
                    </a:lnTo>
                    <a:lnTo>
                      <a:pt x="60" y="551"/>
                    </a:lnTo>
                    <a:lnTo>
                      <a:pt x="60" y="546"/>
                    </a:lnTo>
                    <a:lnTo>
                      <a:pt x="60" y="542"/>
                    </a:lnTo>
                    <a:lnTo>
                      <a:pt x="58" y="542"/>
                    </a:lnTo>
                    <a:lnTo>
                      <a:pt x="58" y="537"/>
                    </a:lnTo>
                    <a:lnTo>
                      <a:pt x="49" y="537"/>
                    </a:lnTo>
                    <a:lnTo>
                      <a:pt x="49" y="536"/>
                    </a:lnTo>
                    <a:lnTo>
                      <a:pt x="48" y="534"/>
                    </a:lnTo>
                    <a:lnTo>
                      <a:pt x="43" y="532"/>
                    </a:lnTo>
                    <a:lnTo>
                      <a:pt x="39" y="527"/>
                    </a:lnTo>
                    <a:lnTo>
                      <a:pt x="37" y="522"/>
                    </a:lnTo>
                    <a:lnTo>
                      <a:pt x="43" y="505"/>
                    </a:lnTo>
                    <a:lnTo>
                      <a:pt x="37" y="505"/>
                    </a:lnTo>
                    <a:lnTo>
                      <a:pt x="36" y="507"/>
                    </a:lnTo>
                    <a:lnTo>
                      <a:pt x="34" y="505"/>
                    </a:lnTo>
                    <a:lnTo>
                      <a:pt x="34" y="498"/>
                    </a:lnTo>
                    <a:lnTo>
                      <a:pt x="32" y="493"/>
                    </a:lnTo>
                    <a:lnTo>
                      <a:pt x="32" y="491"/>
                    </a:lnTo>
                    <a:lnTo>
                      <a:pt x="31" y="490"/>
                    </a:lnTo>
                    <a:lnTo>
                      <a:pt x="32" y="488"/>
                    </a:lnTo>
                    <a:lnTo>
                      <a:pt x="29" y="485"/>
                    </a:lnTo>
                    <a:lnTo>
                      <a:pt x="32" y="481"/>
                    </a:lnTo>
                    <a:lnTo>
                      <a:pt x="32" y="476"/>
                    </a:lnTo>
                    <a:lnTo>
                      <a:pt x="29" y="474"/>
                    </a:lnTo>
                    <a:lnTo>
                      <a:pt x="20" y="469"/>
                    </a:lnTo>
                    <a:lnTo>
                      <a:pt x="19" y="473"/>
                    </a:lnTo>
                    <a:lnTo>
                      <a:pt x="17" y="474"/>
                    </a:lnTo>
                    <a:lnTo>
                      <a:pt x="12" y="474"/>
                    </a:lnTo>
                    <a:lnTo>
                      <a:pt x="7" y="474"/>
                    </a:lnTo>
                    <a:lnTo>
                      <a:pt x="2" y="471"/>
                    </a:lnTo>
                    <a:lnTo>
                      <a:pt x="2" y="468"/>
                    </a:lnTo>
                    <a:lnTo>
                      <a:pt x="0" y="466"/>
                    </a:lnTo>
                    <a:lnTo>
                      <a:pt x="2" y="466"/>
                    </a:lnTo>
                    <a:lnTo>
                      <a:pt x="5" y="457"/>
                    </a:lnTo>
                    <a:lnTo>
                      <a:pt x="7" y="456"/>
                    </a:lnTo>
                    <a:lnTo>
                      <a:pt x="7" y="454"/>
                    </a:lnTo>
                    <a:lnTo>
                      <a:pt x="9" y="452"/>
                    </a:lnTo>
                    <a:lnTo>
                      <a:pt x="10" y="449"/>
                    </a:lnTo>
                    <a:lnTo>
                      <a:pt x="14" y="449"/>
                    </a:lnTo>
                    <a:lnTo>
                      <a:pt x="17" y="449"/>
                    </a:lnTo>
                    <a:lnTo>
                      <a:pt x="19" y="444"/>
                    </a:lnTo>
                    <a:lnTo>
                      <a:pt x="24" y="439"/>
                    </a:lnTo>
                    <a:lnTo>
                      <a:pt x="24" y="437"/>
                    </a:lnTo>
                    <a:lnTo>
                      <a:pt x="22" y="435"/>
                    </a:lnTo>
                    <a:lnTo>
                      <a:pt x="20" y="434"/>
                    </a:lnTo>
                    <a:lnTo>
                      <a:pt x="22" y="428"/>
                    </a:lnTo>
                    <a:lnTo>
                      <a:pt x="17" y="425"/>
                    </a:lnTo>
                    <a:lnTo>
                      <a:pt x="15" y="422"/>
                    </a:lnTo>
                    <a:lnTo>
                      <a:pt x="17" y="420"/>
                    </a:lnTo>
                    <a:lnTo>
                      <a:pt x="15" y="418"/>
                    </a:lnTo>
                    <a:lnTo>
                      <a:pt x="22" y="408"/>
                    </a:lnTo>
                    <a:lnTo>
                      <a:pt x="29" y="403"/>
                    </a:lnTo>
                    <a:lnTo>
                      <a:pt x="32" y="403"/>
                    </a:lnTo>
                    <a:lnTo>
                      <a:pt x="36" y="401"/>
                    </a:lnTo>
                    <a:lnTo>
                      <a:pt x="37" y="400"/>
                    </a:lnTo>
                    <a:lnTo>
                      <a:pt x="39" y="398"/>
                    </a:lnTo>
                    <a:lnTo>
                      <a:pt x="37" y="394"/>
                    </a:lnTo>
                    <a:lnTo>
                      <a:pt x="36" y="394"/>
                    </a:lnTo>
                    <a:lnTo>
                      <a:pt x="34" y="394"/>
                    </a:lnTo>
                    <a:lnTo>
                      <a:pt x="32" y="391"/>
                    </a:lnTo>
                    <a:lnTo>
                      <a:pt x="34" y="389"/>
                    </a:lnTo>
                    <a:lnTo>
                      <a:pt x="32" y="388"/>
                    </a:lnTo>
                    <a:lnTo>
                      <a:pt x="32" y="381"/>
                    </a:lnTo>
                    <a:lnTo>
                      <a:pt x="29" y="381"/>
                    </a:lnTo>
                    <a:lnTo>
                      <a:pt x="31" y="376"/>
                    </a:lnTo>
                    <a:lnTo>
                      <a:pt x="34" y="374"/>
                    </a:lnTo>
                    <a:lnTo>
                      <a:pt x="46" y="371"/>
                    </a:lnTo>
                    <a:lnTo>
                      <a:pt x="44" y="362"/>
                    </a:lnTo>
                    <a:lnTo>
                      <a:pt x="46" y="360"/>
                    </a:lnTo>
                    <a:lnTo>
                      <a:pt x="48" y="360"/>
                    </a:lnTo>
                    <a:lnTo>
                      <a:pt x="48" y="357"/>
                    </a:lnTo>
                    <a:lnTo>
                      <a:pt x="51" y="354"/>
                    </a:lnTo>
                    <a:lnTo>
                      <a:pt x="53" y="354"/>
                    </a:lnTo>
                    <a:lnTo>
                      <a:pt x="54" y="352"/>
                    </a:lnTo>
                    <a:lnTo>
                      <a:pt x="58" y="350"/>
                    </a:lnTo>
                    <a:lnTo>
                      <a:pt x="58" y="347"/>
                    </a:lnTo>
                    <a:lnTo>
                      <a:pt x="60" y="345"/>
                    </a:lnTo>
                    <a:lnTo>
                      <a:pt x="61" y="343"/>
                    </a:lnTo>
                    <a:lnTo>
                      <a:pt x="60" y="342"/>
                    </a:lnTo>
                    <a:lnTo>
                      <a:pt x="61" y="340"/>
                    </a:lnTo>
                    <a:lnTo>
                      <a:pt x="60" y="335"/>
                    </a:lnTo>
                    <a:lnTo>
                      <a:pt x="56" y="332"/>
                    </a:lnTo>
                    <a:lnTo>
                      <a:pt x="58" y="326"/>
                    </a:lnTo>
                    <a:lnTo>
                      <a:pt x="61" y="325"/>
                    </a:lnTo>
                    <a:lnTo>
                      <a:pt x="66" y="320"/>
                    </a:lnTo>
                    <a:lnTo>
                      <a:pt x="71" y="320"/>
                    </a:lnTo>
                    <a:lnTo>
                      <a:pt x="73" y="320"/>
                    </a:lnTo>
                    <a:lnTo>
                      <a:pt x="78" y="321"/>
                    </a:lnTo>
                    <a:lnTo>
                      <a:pt x="82" y="320"/>
                    </a:lnTo>
                    <a:lnTo>
                      <a:pt x="88" y="316"/>
                    </a:lnTo>
                    <a:lnTo>
                      <a:pt x="94" y="316"/>
                    </a:lnTo>
                    <a:lnTo>
                      <a:pt x="111" y="320"/>
                    </a:lnTo>
                    <a:lnTo>
                      <a:pt x="111" y="294"/>
                    </a:lnTo>
                    <a:lnTo>
                      <a:pt x="111" y="280"/>
                    </a:lnTo>
                    <a:lnTo>
                      <a:pt x="111" y="275"/>
                    </a:lnTo>
                    <a:lnTo>
                      <a:pt x="111" y="253"/>
                    </a:lnTo>
                    <a:lnTo>
                      <a:pt x="111" y="212"/>
                    </a:lnTo>
                    <a:lnTo>
                      <a:pt x="111" y="175"/>
                    </a:lnTo>
                    <a:lnTo>
                      <a:pt x="111" y="143"/>
                    </a:lnTo>
                    <a:lnTo>
                      <a:pt x="111" y="127"/>
                    </a:lnTo>
                    <a:lnTo>
                      <a:pt x="111" y="102"/>
                    </a:lnTo>
                    <a:lnTo>
                      <a:pt x="162" y="102"/>
                    </a:lnTo>
                    <a:lnTo>
                      <a:pt x="162" y="47"/>
                    </a:lnTo>
                    <a:lnTo>
                      <a:pt x="162" y="2"/>
                    </a:lnTo>
                    <a:lnTo>
                      <a:pt x="410" y="2"/>
                    </a:lnTo>
                    <a:lnTo>
                      <a:pt x="473" y="2"/>
                    </a:lnTo>
                    <a:lnTo>
                      <a:pt x="483" y="2"/>
                    </a:lnTo>
                    <a:lnTo>
                      <a:pt x="490" y="2"/>
                    </a:lnTo>
                    <a:lnTo>
                      <a:pt x="539" y="2"/>
                    </a:lnTo>
                    <a:lnTo>
                      <a:pt x="541" y="2"/>
                    </a:lnTo>
                    <a:lnTo>
                      <a:pt x="576" y="0"/>
                    </a:lnTo>
                    <a:lnTo>
                      <a:pt x="588" y="0"/>
                    </a:lnTo>
                    <a:lnTo>
                      <a:pt x="622" y="0"/>
                    </a:lnTo>
                    <a:lnTo>
                      <a:pt x="646" y="2"/>
                    </a:lnTo>
                    <a:lnTo>
                      <a:pt x="755" y="0"/>
                    </a:lnTo>
                    <a:lnTo>
                      <a:pt x="755" y="2"/>
                    </a:lnTo>
                    <a:lnTo>
                      <a:pt x="763" y="2"/>
                    </a:lnTo>
                    <a:close/>
                    <a:moveTo>
                      <a:pt x="782" y="64"/>
                    </a:moveTo>
                    <a:lnTo>
                      <a:pt x="782" y="61"/>
                    </a:lnTo>
                    <a:lnTo>
                      <a:pt x="784" y="59"/>
                    </a:lnTo>
                    <a:lnTo>
                      <a:pt x="784" y="63"/>
                    </a:lnTo>
                    <a:lnTo>
                      <a:pt x="782" y="64"/>
                    </a:lnTo>
                    <a:close/>
                    <a:moveTo>
                      <a:pt x="843" y="194"/>
                    </a:moveTo>
                    <a:lnTo>
                      <a:pt x="843" y="195"/>
                    </a:lnTo>
                    <a:lnTo>
                      <a:pt x="845" y="197"/>
                    </a:lnTo>
                    <a:lnTo>
                      <a:pt x="843" y="195"/>
                    </a:lnTo>
                    <a:lnTo>
                      <a:pt x="842" y="195"/>
                    </a:lnTo>
                    <a:lnTo>
                      <a:pt x="842" y="194"/>
                    </a:lnTo>
                    <a:lnTo>
                      <a:pt x="843" y="194"/>
                    </a:lnTo>
                    <a:close/>
                    <a:moveTo>
                      <a:pt x="819" y="163"/>
                    </a:moveTo>
                    <a:lnTo>
                      <a:pt x="821" y="163"/>
                    </a:lnTo>
                    <a:lnTo>
                      <a:pt x="821" y="165"/>
                    </a:lnTo>
                    <a:lnTo>
                      <a:pt x="819" y="165"/>
                    </a:lnTo>
                    <a:lnTo>
                      <a:pt x="819" y="163"/>
                    </a:lnTo>
                    <a:close/>
                    <a:moveTo>
                      <a:pt x="835" y="192"/>
                    </a:moveTo>
                    <a:lnTo>
                      <a:pt x="838" y="192"/>
                    </a:lnTo>
                    <a:lnTo>
                      <a:pt x="835" y="192"/>
                    </a:lnTo>
                    <a:close/>
                    <a:moveTo>
                      <a:pt x="836" y="190"/>
                    </a:moveTo>
                    <a:lnTo>
                      <a:pt x="840" y="190"/>
                    </a:lnTo>
                    <a:lnTo>
                      <a:pt x="840" y="192"/>
                    </a:lnTo>
                    <a:lnTo>
                      <a:pt x="836" y="192"/>
                    </a:lnTo>
                    <a:lnTo>
                      <a:pt x="836" y="190"/>
                    </a:lnTo>
                    <a:close/>
                    <a:moveTo>
                      <a:pt x="835" y="189"/>
                    </a:moveTo>
                    <a:lnTo>
                      <a:pt x="836" y="189"/>
                    </a:lnTo>
                    <a:lnTo>
                      <a:pt x="836" y="190"/>
                    </a:lnTo>
                    <a:lnTo>
                      <a:pt x="835" y="190"/>
                    </a:lnTo>
                    <a:lnTo>
                      <a:pt x="835" y="189"/>
                    </a:lnTo>
                    <a:close/>
                    <a:moveTo>
                      <a:pt x="828" y="161"/>
                    </a:moveTo>
                    <a:lnTo>
                      <a:pt x="830" y="161"/>
                    </a:lnTo>
                    <a:lnTo>
                      <a:pt x="828" y="161"/>
                    </a:lnTo>
                    <a:close/>
                    <a:moveTo>
                      <a:pt x="853" y="175"/>
                    </a:moveTo>
                    <a:lnTo>
                      <a:pt x="853" y="177"/>
                    </a:lnTo>
                    <a:lnTo>
                      <a:pt x="853" y="175"/>
                    </a:lnTo>
                    <a:close/>
                    <a:moveTo>
                      <a:pt x="836" y="189"/>
                    </a:moveTo>
                    <a:lnTo>
                      <a:pt x="838" y="189"/>
                    </a:lnTo>
                    <a:lnTo>
                      <a:pt x="838" y="190"/>
                    </a:lnTo>
                    <a:lnTo>
                      <a:pt x="836" y="190"/>
                    </a:lnTo>
                    <a:lnTo>
                      <a:pt x="836" y="189"/>
                    </a:lnTo>
                    <a:close/>
                    <a:moveTo>
                      <a:pt x="838" y="192"/>
                    </a:moveTo>
                    <a:lnTo>
                      <a:pt x="840" y="192"/>
                    </a:lnTo>
                    <a:lnTo>
                      <a:pt x="838" y="192"/>
                    </a:lnTo>
                    <a:close/>
                    <a:moveTo>
                      <a:pt x="845" y="165"/>
                    </a:moveTo>
                    <a:lnTo>
                      <a:pt x="845" y="167"/>
                    </a:lnTo>
                    <a:lnTo>
                      <a:pt x="845" y="165"/>
                    </a:lnTo>
                    <a:close/>
                  </a:path>
                </a:pathLst>
              </a:custGeom>
              <a:solidFill>
                <a:schemeClr val="accent1">
                  <a:lumMod val="75000"/>
                </a:schemeClr>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74" name="Freeform 56">
                <a:extLst>
                  <a:ext uri="{FF2B5EF4-FFF2-40B4-BE49-F238E27FC236}">
                    <a16:creationId xmlns:a16="http://schemas.microsoft.com/office/drawing/2014/main" id="{4C737FA7-3151-45A2-9929-95F94723C897}"/>
                  </a:ext>
                </a:extLst>
              </p:cNvPr>
              <p:cNvSpPr>
                <a:spLocks/>
              </p:cNvSpPr>
              <p:nvPr/>
            </p:nvSpPr>
            <p:spPr bwMode="gray">
              <a:xfrm>
                <a:off x="7053263" y="5522913"/>
                <a:ext cx="107950" cy="128588"/>
              </a:xfrm>
              <a:custGeom>
                <a:avLst/>
                <a:gdLst>
                  <a:gd name="T0" fmla="*/ 59 w 68"/>
                  <a:gd name="T1" fmla="*/ 12 h 81"/>
                  <a:gd name="T2" fmla="*/ 61 w 68"/>
                  <a:gd name="T3" fmla="*/ 13 h 81"/>
                  <a:gd name="T4" fmla="*/ 64 w 68"/>
                  <a:gd name="T5" fmla="*/ 15 h 81"/>
                  <a:gd name="T6" fmla="*/ 66 w 68"/>
                  <a:gd name="T7" fmla="*/ 22 h 81"/>
                  <a:gd name="T8" fmla="*/ 64 w 68"/>
                  <a:gd name="T9" fmla="*/ 34 h 81"/>
                  <a:gd name="T10" fmla="*/ 68 w 68"/>
                  <a:gd name="T11" fmla="*/ 41 h 81"/>
                  <a:gd name="T12" fmla="*/ 66 w 68"/>
                  <a:gd name="T13" fmla="*/ 56 h 81"/>
                  <a:gd name="T14" fmla="*/ 66 w 68"/>
                  <a:gd name="T15" fmla="*/ 54 h 81"/>
                  <a:gd name="T16" fmla="*/ 63 w 68"/>
                  <a:gd name="T17" fmla="*/ 56 h 81"/>
                  <a:gd name="T18" fmla="*/ 61 w 68"/>
                  <a:gd name="T19" fmla="*/ 56 h 81"/>
                  <a:gd name="T20" fmla="*/ 59 w 68"/>
                  <a:gd name="T21" fmla="*/ 71 h 81"/>
                  <a:gd name="T22" fmla="*/ 59 w 68"/>
                  <a:gd name="T23" fmla="*/ 81 h 81"/>
                  <a:gd name="T24" fmla="*/ 35 w 68"/>
                  <a:gd name="T25" fmla="*/ 81 h 81"/>
                  <a:gd name="T26" fmla="*/ 17 w 68"/>
                  <a:gd name="T27" fmla="*/ 75 h 81"/>
                  <a:gd name="T28" fmla="*/ 13 w 68"/>
                  <a:gd name="T29" fmla="*/ 69 h 81"/>
                  <a:gd name="T30" fmla="*/ 8 w 68"/>
                  <a:gd name="T31" fmla="*/ 66 h 81"/>
                  <a:gd name="T32" fmla="*/ 8 w 68"/>
                  <a:gd name="T33" fmla="*/ 64 h 81"/>
                  <a:gd name="T34" fmla="*/ 8 w 68"/>
                  <a:gd name="T35" fmla="*/ 63 h 81"/>
                  <a:gd name="T36" fmla="*/ 8 w 68"/>
                  <a:gd name="T37" fmla="*/ 59 h 81"/>
                  <a:gd name="T38" fmla="*/ 5 w 68"/>
                  <a:gd name="T39" fmla="*/ 58 h 81"/>
                  <a:gd name="T40" fmla="*/ 5 w 68"/>
                  <a:gd name="T41" fmla="*/ 54 h 81"/>
                  <a:gd name="T42" fmla="*/ 1 w 68"/>
                  <a:gd name="T43" fmla="*/ 58 h 81"/>
                  <a:gd name="T44" fmla="*/ 0 w 68"/>
                  <a:gd name="T45" fmla="*/ 56 h 81"/>
                  <a:gd name="T46" fmla="*/ 0 w 68"/>
                  <a:gd name="T47" fmla="*/ 42 h 81"/>
                  <a:gd name="T48" fmla="*/ 0 w 68"/>
                  <a:gd name="T49" fmla="*/ 37 h 81"/>
                  <a:gd name="T50" fmla="*/ 1 w 68"/>
                  <a:gd name="T51" fmla="*/ 35 h 81"/>
                  <a:gd name="T52" fmla="*/ 5 w 68"/>
                  <a:gd name="T53" fmla="*/ 30 h 81"/>
                  <a:gd name="T54" fmla="*/ 8 w 68"/>
                  <a:gd name="T55" fmla="*/ 27 h 81"/>
                  <a:gd name="T56" fmla="*/ 15 w 68"/>
                  <a:gd name="T57" fmla="*/ 13 h 81"/>
                  <a:gd name="T58" fmla="*/ 17 w 68"/>
                  <a:gd name="T59" fmla="*/ 10 h 81"/>
                  <a:gd name="T60" fmla="*/ 23 w 68"/>
                  <a:gd name="T61" fmla="*/ 5 h 81"/>
                  <a:gd name="T62" fmla="*/ 25 w 68"/>
                  <a:gd name="T63" fmla="*/ 1 h 81"/>
                  <a:gd name="T64" fmla="*/ 30 w 68"/>
                  <a:gd name="T65" fmla="*/ 0 h 81"/>
                  <a:gd name="T66" fmla="*/ 37 w 68"/>
                  <a:gd name="T67" fmla="*/ 3 h 81"/>
                  <a:gd name="T68" fmla="*/ 54 w 68"/>
                  <a:gd name="T69" fmla="*/ 13 h 81"/>
                  <a:gd name="T70" fmla="*/ 59 w 68"/>
                  <a:gd name="T71"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81">
                    <a:moveTo>
                      <a:pt x="59" y="12"/>
                    </a:moveTo>
                    <a:lnTo>
                      <a:pt x="61" y="13"/>
                    </a:lnTo>
                    <a:lnTo>
                      <a:pt x="64" y="15"/>
                    </a:lnTo>
                    <a:lnTo>
                      <a:pt x="66" y="22"/>
                    </a:lnTo>
                    <a:lnTo>
                      <a:pt x="64" y="34"/>
                    </a:lnTo>
                    <a:lnTo>
                      <a:pt x="68" y="41"/>
                    </a:lnTo>
                    <a:lnTo>
                      <a:pt x="66" y="56"/>
                    </a:lnTo>
                    <a:lnTo>
                      <a:pt x="66" y="54"/>
                    </a:lnTo>
                    <a:lnTo>
                      <a:pt x="63" y="56"/>
                    </a:lnTo>
                    <a:lnTo>
                      <a:pt x="61" y="56"/>
                    </a:lnTo>
                    <a:lnTo>
                      <a:pt x="59" y="71"/>
                    </a:lnTo>
                    <a:lnTo>
                      <a:pt x="59" y="81"/>
                    </a:lnTo>
                    <a:lnTo>
                      <a:pt x="35" y="81"/>
                    </a:lnTo>
                    <a:lnTo>
                      <a:pt x="17" y="75"/>
                    </a:lnTo>
                    <a:lnTo>
                      <a:pt x="13" y="69"/>
                    </a:lnTo>
                    <a:lnTo>
                      <a:pt x="8" y="66"/>
                    </a:lnTo>
                    <a:lnTo>
                      <a:pt x="8" y="64"/>
                    </a:lnTo>
                    <a:lnTo>
                      <a:pt x="8" y="63"/>
                    </a:lnTo>
                    <a:lnTo>
                      <a:pt x="8" y="59"/>
                    </a:lnTo>
                    <a:lnTo>
                      <a:pt x="5" y="58"/>
                    </a:lnTo>
                    <a:lnTo>
                      <a:pt x="5" y="54"/>
                    </a:lnTo>
                    <a:lnTo>
                      <a:pt x="1" y="58"/>
                    </a:lnTo>
                    <a:lnTo>
                      <a:pt x="0" y="56"/>
                    </a:lnTo>
                    <a:lnTo>
                      <a:pt x="0" y="42"/>
                    </a:lnTo>
                    <a:lnTo>
                      <a:pt x="0" y="37"/>
                    </a:lnTo>
                    <a:lnTo>
                      <a:pt x="1" y="35"/>
                    </a:lnTo>
                    <a:lnTo>
                      <a:pt x="5" y="30"/>
                    </a:lnTo>
                    <a:lnTo>
                      <a:pt x="8" y="27"/>
                    </a:lnTo>
                    <a:lnTo>
                      <a:pt x="15" y="13"/>
                    </a:lnTo>
                    <a:lnTo>
                      <a:pt x="17" y="10"/>
                    </a:lnTo>
                    <a:lnTo>
                      <a:pt x="23" y="5"/>
                    </a:lnTo>
                    <a:lnTo>
                      <a:pt x="25" y="1"/>
                    </a:lnTo>
                    <a:lnTo>
                      <a:pt x="30" y="0"/>
                    </a:lnTo>
                    <a:lnTo>
                      <a:pt x="37" y="3"/>
                    </a:lnTo>
                    <a:lnTo>
                      <a:pt x="54" y="13"/>
                    </a:lnTo>
                    <a:lnTo>
                      <a:pt x="59" y="12"/>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75" name="Freeform 57">
                <a:extLst>
                  <a:ext uri="{FF2B5EF4-FFF2-40B4-BE49-F238E27FC236}">
                    <a16:creationId xmlns:a16="http://schemas.microsoft.com/office/drawing/2014/main" id="{C9783DC8-40BC-43C9-B3B6-5E853FAA0700}"/>
                  </a:ext>
                </a:extLst>
              </p:cNvPr>
              <p:cNvSpPr>
                <a:spLocks noEditPoints="1"/>
              </p:cNvSpPr>
              <p:nvPr/>
            </p:nvSpPr>
            <p:spPr bwMode="gray">
              <a:xfrm>
                <a:off x="6950043" y="3563335"/>
                <a:ext cx="885888" cy="816578"/>
              </a:xfrm>
              <a:custGeom>
                <a:avLst/>
                <a:gdLst>
                  <a:gd name="T0" fmla="*/ 299 w 560"/>
                  <a:gd name="T1" fmla="*/ 37 h 546"/>
                  <a:gd name="T2" fmla="*/ 417 w 560"/>
                  <a:gd name="T3" fmla="*/ 129 h 546"/>
                  <a:gd name="T4" fmla="*/ 498 w 560"/>
                  <a:gd name="T5" fmla="*/ 187 h 546"/>
                  <a:gd name="T6" fmla="*/ 493 w 560"/>
                  <a:gd name="T7" fmla="*/ 204 h 546"/>
                  <a:gd name="T8" fmla="*/ 485 w 560"/>
                  <a:gd name="T9" fmla="*/ 231 h 546"/>
                  <a:gd name="T10" fmla="*/ 486 w 560"/>
                  <a:gd name="T11" fmla="*/ 277 h 546"/>
                  <a:gd name="T12" fmla="*/ 502 w 560"/>
                  <a:gd name="T13" fmla="*/ 299 h 546"/>
                  <a:gd name="T14" fmla="*/ 510 w 560"/>
                  <a:gd name="T15" fmla="*/ 313 h 546"/>
                  <a:gd name="T16" fmla="*/ 505 w 560"/>
                  <a:gd name="T17" fmla="*/ 344 h 546"/>
                  <a:gd name="T18" fmla="*/ 500 w 560"/>
                  <a:gd name="T19" fmla="*/ 371 h 546"/>
                  <a:gd name="T20" fmla="*/ 507 w 560"/>
                  <a:gd name="T21" fmla="*/ 393 h 546"/>
                  <a:gd name="T22" fmla="*/ 509 w 560"/>
                  <a:gd name="T23" fmla="*/ 401 h 546"/>
                  <a:gd name="T24" fmla="*/ 517 w 560"/>
                  <a:gd name="T25" fmla="*/ 413 h 546"/>
                  <a:gd name="T26" fmla="*/ 515 w 560"/>
                  <a:gd name="T27" fmla="*/ 429 h 546"/>
                  <a:gd name="T28" fmla="*/ 526 w 560"/>
                  <a:gd name="T29" fmla="*/ 446 h 546"/>
                  <a:gd name="T30" fmla="*/ 532 w 560"/>
                  <a:gd name="T31" fmla="*/ 459 h 546"/>
                  <a:gd name="T32" fmla="*/ 548 w 560"/>
                  <a:gd name="T33" fmla="*/ 471 h 546"/>
                  <a:gd name="T34" fmla="*/ 560 w 560"/>
                  <a:gd name="T35" fmla="*/ 475 h 546"/>
                  <a:gd name="T36" fmla="*/ 524 w 560"/>
                  <a:gd name="T37" fmla="*/ 505 h 546"/>
                  <a:gd name="T38" fmla="*/ 497 w 560"/>
                  <a:gd name="T39" fmla="*/ 517 h 546"/>
                  <a:gd name="T40" fmla="*/ 452 w 560"/>
                  <a:gd name="T41" fmla="*/ 524 h 546"/>
                  <a:gd name="T42" fmla="*/ 424 w 560"/>
                  <a:gd name="T43" fmla="*/ 536 h 546"/>
                  <a:gd name="T44" fmla="*/ 384 w 560"/>
                  <a:gd name="T45" fmla="*/ 538 h 546"/>
                  <a:gd name="T46" fmla="*/ 352 w 560"/>
                  <a:gd name="T47" fmla="*/ 544 h 546"/>
                  <a:gd name="T48" fmla="*/ 335 w 560"/>
                  <a:gd name="T49" fmla="*/ 532 h 546"/>
                  <a:gd name="T50" fmla="*/ 311 w 560"/>
                  <a:gd name="T51" fmla="*/ 538 h 546"/>
                  <a:gd name="T52" fmla="*/ 281 w 560"/>
                  <a:gd name="T53" fmla="*/ 529 h 546"/>
                  <a:gd name="T54" fmla="*/ 267 w 560"/>
                  <a:gd name="T55" fmla="*/ 493 h 546"/>
                  <a:gd name="T56" fmla="*/ 260 w 560"/>
                  <a:gd name="T57" fmla="*/ 463 h 546"/>
                  <a:gd name="T58" fmla="*/ 220 w 560"/>
                  <a:gd name="T59" fmla="*/ 436 h 546"/>
                  <a:gd name="T60" fmla="*/ 196 w 560"/>
                  <a:gd name="T61" fmla="*/ 432 h 546"/>
                  <a:gd name="T62" fmla="*/ 163 w 560"/>
                  <a:gd name="T63" fmla="*/ 420 h 546"/>
                  <a:gd name="T64" fmla="*/ 129 w 560"/>
                  <a:gd name="T65" fmla="*/ 405 h 546"/>
                  <a:gd name="T66" fmla="*/ 107 w 560"/>
                  <a:gd name="T67" fmla="*/ 391 h 546"/>
                  <a:gd name="T68" fmla="*/ 63 w 560"/>
                  <a:gd name="T69" fmla="*/ 354 h 546"/>
                  <a:gd name="T70" fmla="*/ 12 w 560"/>
                  <a:gd name="T71" fmla="*/ 247 h 546"/>
                  <a:gd name="T72" fmla="*/ 29 w 560"/>
                  <a:gd name="T73" fmla="*/ 170 h 546"/>
                  <a:gd name="T74" fmla="*/ 48 w 560"/>
                  <a:gd name="T75" fmla="*/ 143 h 546"/>
                  <a:gd name="T76" fmla="*/ 68 w 560"/>
                  <a:gd name="T77" fmla="*/ 116 h 546"/>
                  <a:gd name="T78" fmla="*/ 63 w 560"/>
                  <a:gd name="T79" fmla="*/ 100 h 546"/>
                  <a:gd name="T80" fmla="*/ 56 w 560"/>
                  <a:gd name="T81" fmla="*/ 78 h 546"/>
                  <a:gd name="T82" fmla="*/ 73 w 560"/>
                  <a:gd name="T83" fmla="*/ 53 h 546"/>
                  <a:gd name="T84" fmla="*/ 70 w 560"/>
                  <a:gd name="T85" fmla="*/ 29 h 546"/>
                  <a:gd name="T86" fmla="*/ 55 w 560"/>
                  <a:gd name="T87" fmla="*/ 5 h 546"/>
                  <a:gd name="T88" fmla="*/ 209 w 560"/>
                  <a:gd name="T89" fmla="*/ 2 h 546"/>
                  <a:gd name="T90" fmla="*/ 512 w 560"/>
                  <a:gd name="T91" fmla="*/ 262 h 546"/>
                  <a:gd name="T92" fmla="*/ 505 w 560"/>
                  <a:gd name="T93" fmla="*/ 271 h 546"/>
                  <a:gd name="T94" fmla="*/ 500 w 560"/>
                  <a:gd name="T95" fmla="*/ 248 h 546"/>
                  <a:gd name="T96" fmla="*/ 531 w 560"/>
                  <a:gd name="T97" fmla="*/ 206 h 546"/>
                  <a:gd name="T98" fmla="*/ 524 w 560"/>
                  <a:gd name="T99" fmla="*/ 226 h 546"/>
                  <a:gd name="T100" fmla="*/ 522 w 560"/>
                  <a:gd name="T101" fmla="*/ 214 h 546"/>
                  <a:gd name="T102" fmla="*/ 522 w 560"/>
                  <a:gd name="T103" fmla="*/ 209 h 546"/>
                  <a:gd name="T104" fmla="*/ 531 w 560"/>
                  <a:gd name="T105" fmla="*/ 349 h 546"/>
                  <a:gd name="T106" fmla="*/ 526 w 560"/>
                  <a:gd name="T107" fmla="*/ 345 h 546"/>
                  <a:gd name="T108" fmla="*/ 527 w 560"/>
                  <a:gd name="T109" fmla="*/ 354 h 546"/>
                  <a:gd name="T110" fmla="*/ 498 w 560"/>
                  <a:gd name="T111" fmla="*/ 247 h 546"/>
                  <a:gd name="T112" fmla="*/ 520 w 560"/>
                  <a:gd name="T113" fmla="*/ 204 h 546"/>
                  <a:gd name="T114" fmla="*/ 522 w 560"/>
                  <a:gd name="T115" fmla="*/ 359 h 546"/>
                  <a:gd name="T116" fmla="*/ 526 w 560"/>
                  <a:gd name="T117" fmla="*/ 354 h 546"/>
                  <a:gd name="T118" fmla="*/ 507 w 560"/>
                  <a:gd name="T119" fmla="*/ 400 h 546"/>
                  <a:gd name="T120" fmla="*/ 514 w 560"/>
                  <a:gd name="T121" fmla="*/ 35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0" h="546">
                    <a:moveTo>
                      <a:pt x="230" y="2"/>
                    </a:moveTo>
                    <a:lnTo>
                      <a:pt x="235" y="2"/>
                    </a:lnTo>
                    <a:lnTo>
                      <a:pt x="235" y="3"/>
                    </a:lnTo>
                    <a:lnTo>
                      <a:pt x="238" y="2"/>
                    </a:lnTo>
                    <a:lnTo>
                      <a:pt x="240" y="3"/>
                    </a:lnTo>
                    <a:lnTo>
                      <a:pt x="247" y="7"/>
                    </a:lnTo>
                    <a:lnTo>
                      <a:pt x="247" y="9"/>
                    </a:lnTo>
                    <a:lnTo>
                      <a:pt x="250" y="9"/>
                    </a:lnTo>
                    <a:lnTo>
                      <a:pt x="257" y="14"/>
                    </a:lnTo>
                    <a:lnTo>
                      <a:pt x="271" y="20"/>
                    </a:lnTo>
                    <a:lnTo>
                      <a:pt x="279" y="26"/>
                    </a:lnTo>
                    <a:lnTo>
                      <a:pt x="286" y="29"/>
                    </a:lnTo>
                    <a:lnTo>
                      <a:pt x="299" y="37"/>
                    </a:lnTo>
                    <a:lnTo>
                      <a:pt x="335" y="56"/>
                    </a:lnTo>
                    <a:lnTo>
                      <a:pt x="335" y="58"/>
                    </a:lnTo>
                    <a:lnTo>
                      <a:pt x="345" y="63"/>
                    </a:lnTo>
                    <a:lnTo>
                      <a:pt x="374" y="80"/>
                    </a:lnTo>
                    <a:lnTo>
                      <a:pt x="401" y="94"/>
                    </a:lnTo>
                    <a:lnTo>
                      <a:pt x="420" y="106"/>
                    </a:lnTo>
                    <a:lnTo>
                      <a:pt x="422" y="117"/>
                    </a:lnTo>
                    <a:lnTo>
                      <a:pt x="420" y="119"/>
                    </a:lnTo>
                    <a:lnTo>
                      <a:pt x="420" y="121"/>
                    </a:lnTo>
                    <a:lnTo>
                      <a:pt x="415" y="124"/>
                    </a:lnTo>
                    <a:lnTo>
                      <a:pt x="415" y="126"/>
                    </a:lnTo>
                    <a:lnTo>
                      <a:pt x="417" y="126"/>
                    </a:lnTo>
                    <a:lnTo>
                      <a:pt x="417" y="129"/>
                    </a:lnTo>
                    <a:lnTo>
                      <a:pt x="418" y="129"/>
                    </a:lnTo>
                    <a:lnTo>
                      <a:pt x="420" y="128"/>
                    </a:lnTo>
                    <a:lnTo>
                      <a:pt x="422" y="129"/>
                    </a:lnTo>
                    <a:lnTo>
                      <a:pt x="424" y="129"/>
                    </a:lnTo>
                    <a:lnTo>
                      <a:pt x="425" y="136"/>
                    </a:lnTo>
                    <a:lnTo>
                      <a:pt x="435" y="143"/>
                    </a:lnTo>
                    <a:lnTo>
                      <a:pt x="458" y="158"/>
                    </a:lnTo>
                    <a:lnTo>
                      <a:pt x="461" y="160"/>
                    </a:lnTo>
                    <a:lnTo>
                      <a:pt x="478" y="172"/>
                    </a:lnTo>
                    <a:lnTo>
                      <a:pt x="493" y="182"/>
                    </a:lnTo>
                    <a:lnTo>
                      <a:pt x="497" y="185"/>
                    </a:lnTo>
                    <a:lnTo>
                      <a:pt x="498" y="185"/>
                    </a:lnTo>
                    <a:lnTo>
                      <a:pt x="498" y="187"/>
                    </a:lnTo>
                    <a:lnTo>
                      <a:pt x="497" y="189"/>
                    </a:lnTo>
                    <a:lnTo>
                      <a:pt x="497" y="192"/>
                    </a:lnTo>
                    <a:lnTo>
                      <a:pt x="495" y="192"/>
                    </a:lnTo>
                    <a:lnTo>
                      <a:pt x="497" y="194"/>
                    </a:lnTo>
                    <a:lnTo>
                      <a:pt x="498" y="194"/>
                    </a:lnTo>
                    <a:lnTo>
                      <a:pt x="497" y="197"/>
                    </a:lnTo>
                    <a:lnTo>
                      <a:pt x="495" y="201"/>
                    </a:lnTo>
                    <a:lnTo>
                      <a:pt x="495" y="199"/>
                    </a:lnTo>
                    <a:lnTo>
                      <a:pt x="495" y="197"/>
                    </a:lnTo>
                    <a:lnTo>
                      <a:pt x="493" y="199"/>
                    </a:lnTo>
                    <a:lnTo>
                      <a:pt x="493" y="201"/>
                    </a:lnTo>
                    <a:lnTo>
                      <a:pt x="493" y="202"/>
                    </a:lnTo>
                    <a:lnTo>
                      <a:pt x="493" y="204"/>
                    </a:lnTo>
                    <a:lnTo>
                      <a:pt x="495" y="204"/>
                    </a:lnTo>
                    <a:lnTo>
                      <a:pt x="493" y="206"/>
                    </a:lnTo>
                    <a:lnTo>
                      <a:pt x="492" y="206"/>
                    </a:lnTo>
                    <a:lnTo>
                      <a:pt x="492" y="208"/>
                    </a:lnTo>
                    <a:lnTo>
                      <a:pt x="493" y="206"/>
                    </a:lnTo>
                    <a:lnTo>
                      <a:pt x="493" y="209"/>
                    </a:lnTo>
                    <a:lnTo>
                      <a:pt x="492" y="211"/>
                    </a:lnTo>
                    <a:lnTo>
                      <a:pt x="492" y="213"/>
                    </a:lnTo>
                    <a:lnTo>
                      <a:pt x="490" y="214"/>
                    </a:lnTo>
                    <a:lnTo>
                      <a:pt x="492" y="216"/>
                    </a:lnTo>
                    <a:lnTo>
                      <a:pt x="488" y="225"/>
                    </a:lnTo>
                    <a:lnTo>
                      <a:pt x="486" y="226"/>
                    </a:lnTo>
                    <a:lnTo>
                      <a:pt x="485" y="231"/>
                    </a:lnTo>
                    <a:lnTo>
                      <a:pt x="481" y="236"/>
                    </a:lnTo>
                    <a:lnTo>
                      <a:pt x="481" y="240"/>
                    </a:lnTo>
                    <a:lnTo>
                      <a:pt x="478" y="247"/>
                    </a:lnTo>
                    <a:lnTo>
                      <a:pt x="478" y="252"/>
                    </a:lnTo>
                    <a:lnTo>
                      <a:pt x="476" y="255"/>
                    </a:lnTo>
                    <a:lnTo>
                      <a:pt x="476" y="257"/>
                    </a:lnTo>
                    <a:lnTo>
                      <a:pt x="478" y="262"/>
                    </a:lnTo>
                    <a:lnTo>
                      <a:pt x="480" y="262"/>
                    </a:lnTo>
                    <a:lnTo>
                      <a:pt x="480" y="265"/>
                    </a:lnTo>
                    <a:lnTo>
                      <a:pt x="478" y="271"/>
                    </a:lnTo>
                    <a:lnTo>
                      <a:pt x="483" y="277"/>
                    </a:lnTo>
                    <a:lnTo>
                      <a:pt x="488" y="279"/>
                    </a:lnTo>
                    <a:lnTo>
                      <a:pt x="486" y="277"/>
                    </a:lnTo>
                    <a:lnTo>
                      <a:pt x="488" y="279"/>
                    </a:lnTo>
                    <a:lnTo>
                      <a:pt x="492" y="281"/>
                    </a:lnTo>
                    <a:lnTo>
                      <a:pt x="493" y="282"/>
                    </a:lnTo>
                    <a:lnTo>
                      <a:pt x="495" y="284"/>
                    </a:lnTo>
                    <a:lnTo>
                      <a:pt x="498" y="288"/>
                    </a:lnTo>
                    <a:lnTo>
                      <a:pt x="498" y="293"/>
                    </a:lnTo>
                    <a:lnTo>
                      <a:pt x="500" y="293"/>
                    </a:lnTo>
                    <a:lnTo>
                      <a:pt x="500" y="291"/>
                    </a:lnTo>
                    <a:lnTo>
                      <a:pt x="502" y="293"/>
                    </a:lnTo>
                    <a:lnTo>
                      <a:pt x="502" y="294"/>
                    </a:lnTo>
                    <a:lnTo>
                      <a:pt x="502" y="296"/>
                    </a:lnTo>
                    <a:lnTo>
                      <a:pt x="502" y="298"/>
                    </a:lnTo>
                    <a:lnTo>
                      <a:pt x="502" y="299"/>
                    </a:lnTo>
                    <a:lnTo>
                      <a:pt x="502" y="298"/>
                    </a:lnTo>
                    <a:lnTo>
                      <a:pt x="502" y="296"/>
                    </a:lnTo>
                    <a:lnTo>
                      <a:pt x="503" y="296"/>
                    </a:lnTo>
                    <a:lnTo>
                      <a:pt x="505" y="298"/>
                    </a:lnTo>
                    <a:lnTo>
                      <a:pt x="507" y="298"/>
                    </a:lnTo>
                    <a:lnTo>
                      <a:pt x="509" y="298"/>
                    </a:lnTo>
                    <a:lnTo>
                      <a:pt x="510" y="298"/>
                    </a:lnTo>
                    <a:lnTo>
                      <a:pt x="514" y="305"/>
                    </a:lnTo>
                    <a:lnTo>
                      <a:pt x="514" y="310"/>
                    </a:lnTo>
                    <a:lnTo>
                      <a:pt x="515" y="311"/>
                    </a:lnTo>
                    <a:lnTo>
                      <a:pt x="514" y="311"/>
                    </a:lnTo>
                    <a:lnTo>
                      <a:pt x="512" y="315"/>
                    </a:lnTo>
                    <a:lnTo>
                      <a:pt x="510" y="313"/>
                    </a:lnTo>
                    <a:lnTo>
                      <a:pt x="509" y="315"/>
                    </a:lnTo>
                    <a:lnTo>
                      <a:pt x="509" y="318"/>
                    </a:lnTo>
                    <a:lnTo>
                      <a:pt x="505" y="320"/>
                    </a:lnTo>
                    <a:lnTo>
                      <a:pt x="505" y="325"/>
                    </a:lnTo>
                    <a:lnTo>
                      <a:pt x="502" y="328"/>
                    </a:lnTo>
                    <a:lnTo>
                      <a:pt x="500" y="335"/>
                    </a:lnTo>
                    <a:lnTo>
                      <a:pt x="502" y="337"/>
                    </a:lnTo>
                    <a:lnTo>
                      <a:pt x="502" y="339"/>
                    </a:lnTo>
                    <a:lnTo>
                      <a:pt x="502" y="342"/>
                    </a:lnTo>
                    <a:lnTo>
                      <a:pt x="502" y="344"/>
                    </a:lnTo>
                    <a:lnTo>
                      <a:pt x="503" y="344"/>
                    </a:lnTo>
                    <a:lnTo>
                      <a:pt x="503" y="342"/>
                    </a:lnTo>
                    <a:lnTo>
                      <a:pt x="505" y="344"/>
                    </a:lnTo>
                    <a:lnTo>
                      <a:pt x="510" y="347"/>
                    </a:lnTo>
                    <a:lnTo>
                      <a:pt x="509" y="349"/>
                    </a:lnTo>
                    <a:lnTo>
                      <a:pt x="509" y="350"/>
                    </a:lnTo>
                    <a:lnTo>
                      <a:pt x="510" y="356"/>
                    </a:lnTo>
                    <a:lnTo>
                      <a:pt x="505" y="367"/>
                    </a:lnTo>
                    <a:lnTo>
                      <a:pt x="503" y="366"/>
                    </a:lnTo>
                    <a:lnTo>
                      <a:pt x="503" y="367"/>
                    </a:lnTo>
                    <a:lnTo>
                      <a:pt x="503" y="369"/>
                    </a:lnTo>
                    <a:lnTo>
                      <a:pt x="505" y="369"/>
                    </a:lnTo>
                    <a:lnTo>
                      <a:pt x="503" y="371"/>
                    </a:lnTo>
                    <a:lnTo>
                      <a:pt x="502" y="369"/>
                    </a:lnTo>
                    <a:lnTo>
                      <a:pt x="502" y="371"/>
                    </a:lnTo>
                    <a:lnTo>
                      <a:pt x="500" y="371"/>
                    </a:lnTo>
                    <a:lnTo>
                      <a:pt x="502" y="374"/>
                    </a:lnTo>
                    <a:lnTo>
                      <a:pt x="502" y="376"/>
                    </a:lnTo>
                    <a:lnTo>
                      <a:pt x="502" y="378"/>
                    </a:lnTo>
                    <a:lnTo>
                      <a:pt x="502" y="379"/>
                    </a:lnTo>
                    <a:lnTo>
                      <a:pt x="502" y="381"/>
                    </a:lnTo>
                    <a:lnTo>
                      <a:pt x="503" y="383"/>
                    </a:lnTo>
                    <a:lnTo>
                      <a:pt x="503" y="384"/>
                    </a:lnTo>
                    <a:lnTo>
                      <a:pt x="505" y="384"/>
                    </a:lnTo>
                    <a:lnTo>
                      <a:pt x="503" y="386"/>
                    </a:lnTo>
                    <a:lnTo>
                      <a:pt x="505" y="388"/>
                    </a:lnTo>
                    <a:lnTo>
                      <a:pt x="505" y="390"/>
                    </a:lnTo>
                    <a:lnTo>
                      <a:pt x="505" y="393"/>
                    </a:lnTo>
                    <a:lnTo>
                      <a:pt x="507" y="393"/>
                    </a:lnTo>
                    <a:lnTo>
                      <a:pt x="509" y="393"/>
                    </a:lnTo>
                    <a:lnTo>
                      <a:pt x="510" y="396"/>
                    </a:lnTo>
                    <a:lnTo>
                      <a:pt x="512" y="398"/>
                    </a:lnTo>
                    <a:lnTo>
                      <a:pt x="512" y="396"/>
                    </a:lnTo>
                    <a:lnTo>
                      <a:pt x="514" y="401"/>
                    </a:lnTo>
                    <a:lnTo>
                      <a:pt x="515" y="403"/>
                    </a:lnTo>
                    <a:lnTo>
                      <a:pt x="514" y="403"/>
                    </a:lnTo>
                    <a:lnTo>
                      <a:pt x="512" y="403"/>
                    </a:lnTo>
                    <a:lnTo>
                      <a:pt x="512" y="401"/>
                    </a:lnTo>
                    <a:lnTo>
                      <a:pt x="510" y="400"/>
                    </a:lnTo>
                    <a:lnTo>
                      <a:pt x="507" y="400"/>
                    </a:lnTo>
                    <a:lnTo>
                      <a:pt x="507" y="401"/>
                    </a:lnTo>
                    <a:lnTo>
                      <a:pt x="509" y="401"/>
                    </a:lnTo>
                    <a:lnTo>
                      <a:pt x="510" y="401"/>
                    </a:lnTo>
                    <a:lnTo>
                      <a:pt x="510" y="403"/>
                    </a:lnTo>
                    <a:lnTo>
                      <a:pt x="512" y="403"/>
                    </a:lnTo>
                    <a:lnTo>
                      <a:pt x="512" y="405"/>
                    </a:lnTo>
                    <a:lnTo>
                      <a:pt x="512" y="407"/>
                    </a:lnTo>
                    <a:lnTo>
                      <a:pt x="512" y="410"/>
                    </a:lnTo>
                    <a:lnTo>
                      <a:pt x="510" y="412"/>
                    </a:lnTo>
                    <a:lnTo>
                      <a:pt x="512" y="412"/>
                    </a:lnTo>
                    <a:lnTo>
                      <a:pt x="512" y="415"/>
                    </a:lnTo>
                    <a:lnTo>
                      <a:pt x="514" y="415"/>
                    </a:lnTo>
                    <a:lnTo>
                      <a:pt x="512" y="413"/>
                    </a:lnTo>
                    <a:lnTo>
                      <a:pt x="515" y="412"/>
                    </a:lnTo>
                    <a:lnTo>
                      <a:pt x="517" y="413"/>
                    </a:lnTo>
                    <a:lnTo>
                      <a:pt x="517" y="412"/>
                    </a:lnTo>
                    <a:lnTo>
                      <a:pt x="515" y="412"/>
                    </a:lnTo>
                    <a:lnTo>
                      <a:pt x="515" y="408"/>
                    </a:lnTo>
                    <a:lnTo>
                      <a:pt x="519" y="410"/>
                    </a:lnTo>
                    <a:lnTo>
                      <a:pt x="517" y="413"/>
                    </a:lnTo>
                    <a:lnTo>
                      <a:pt x="519" y="415"/>
                    </a:lnTo>
                    <a:lnTo>
                      <a:pt x="519" y="419"/>
                    </a:lnTo>
                    <a:lnTo>
                      <a:pt x="519" y="420"/>
                    </a:lnTo>
                    <a:lnTo>
                      <a:pt x="520" y="420"/>
                    </a:lnTo>
                    <a:lnTo>
                      <a:pt x="520" y="425"/>
                    </a:lnTo>
                    <a:lnTo>
                      <a:pt x="517" y="427"/>
                    </a:lnTo>
                    <a:lnTo>
                      <a:pt x="515" y="427"/>
                    </a:lnTo>
                    <a:lnTo>
                      <a:pt x="515" y="429"/>
                    </a:lnTo>
                    <a:lnTo>
                      <a:pt x="517" y="429"/>
                    </a:lnTo>
                    <a:lnTo>
                      <a:pt x="519" y="429"/>
                    </a:lnTo>
                    <a:lnTo>
                      <a:pt x="520" y="430"/>
                    </a:lnTo>
                    <a:lnTo>
                      <a:pt x="520" y="432"/>
                    </a:lnTo>
                    <a:lnTo>
                      <a:pt x="522" y="434"/>
                    </a:lnTo>
                    <a:lnTo>
                      <a:pt x="524" y="437"/>
                    </a:lnTo>
                    <a:lnTo>
                      <a:pt x="524" y="439"/>
                    </a:lnTo>
                    <a:lnTo>
                      <a:pt x="524" y="441"/>
                    </a:lnTo>
                    <a:lnTo>
                      <a:pt x="524" y="442"/>
                    </a:lnTo>
                    <a:lnTo>
                      <a:pt x="526" y="442"/>
                    </a:lnTo>
                    <a:lnTo>
                      <a:pt x="524" y="444"/>
                    </a:lnTo>
                    <a:lnTo>
                      <a:pt x="526" y="444"/>
                    </a:lnTo>
                    <a:lnTo>
                      <a:pt x="526" y="446"/>
                    </a:lnTo>
                    <a:lnTo>
                      <a:pt x="527" y="449"/>
                    </a:lnTo>
                    <a:lnTo>
                      <a:pt x="527" y="451"/>
                    </a:lnTo>
                    <a:lnTo>
                      <a:pt x="526" y="453"/>
                    </a:lnTo>
                    <a:lnTo>
                      <a:pt x="527" y="454"/>
                    </a:lnTo>
                    <a:lnTo>
                      <a:pt x="522" y="456"/>
                    </a:lnTo>
                    <a:lnTo>
                      <a:pt x="522" y="458"/>
                    </a:lnTo>
                    <a:lnTo>
                      <a:pt x="520" y="459"/>
                    </a:lnTo>
                    <a:lnTo>
                      <a:pt x="522" y="459"/>
                    </a:lnTo>
                    <a:lnTo>
                      <a:pt x="524" y="456"/>
                    </a:lnTo>
                    <a:lnTo>
                      <a:pt x="529" y="456"/>
                    </a:lnTo>
                    <a:lnTo>
                      <a:pt x="529" y="458"/>
                    </a:lnTo>
                    <a:lnTo>
                      <a:pt x="531" y="458"/>
                    </a:lnTo>
                    <a:lnTo>
                      <a:pt x="532" y="459"/>
                    </a:lnTo>
                    <a:lnTo>
                      <a:pt x="536" y="464"/>
                    </a:lnTo>
                    <a:lnTo>
                      <a:pt x="536" y="466"/>
                    </a:lnTo>
                    <a:lnTo>
                      <a:pt x="536" y="468"/>
                    </a:lnTo>
                    <a:lnTo>
                      <a:pt x="537" y="468"/>
                    </a:lnTo>
                    <a:lnTo>
                      <a:pt x="537" y="466"/>
                    </a:lnTo>
                    <a:lnTo>
                      <a:pt x="536" y="464"/>
                    </a:lnTo>
                    <a:lnTo>
                      <a:pt x="537" y="464"/>
                    </a:lnTo>
                    <a:lnTo>
                      <a:pt x="544" y="466"/>
                    </a:lnTo>
                    <a:lnTo>
                      <a:pt x="544" y="470"/>
                    </a:lnTo>
                    <a:lnTo>
                      <a:pt x="543" y="471"/>
                    </a:lnTo>
                    <a:lnTo>
                      <a:pt x="544" y="471"/>
                    </a:lnTo>
                    <a:lnTo>
                      <a:pt x="548" y="470"/>
                    </a:lnTo>
                    <a:lnTo>
                      <a:pt x="548" y="471"/>
                    </a:lnTo>
                    <a:lnTo>
                      <a:pt x="549" y="471"/>
                    </a:lnTo>
                    <a:lnTo>
                      <a:pt x="551" y="471"/>
                    </a:lnTo>
                    <a:lnTo>
                      <a:pt x="549" y="470"/>
                    </a:lnTo>
                    <a:lnTo>
                      <a:pt x="548" y="471"/>
                    </a:lnTo>
                    <a:lnTo>
                      <a:pt x="549" y="468"/>
                    </a:lnTo>
                    <a:lnTo>
                      <a:pt x="549" y="470"/>
                    </a:lnTo>
                    <a:lnTo>
                      <a:pt x="553" y="471"/>
                    </a:lnTo>
                    <a:lnTo>
                      <a:pt x="554" y="475"/>
                    </a:lnTo>
                    <a:lnTo>
                      <a:pt x="558" y="476"/>
                    </a:lnTo>
                    <a:lnTo>
                      <a:pt x="558" y="475"/>
                    </a:lnTo>
                    <a:lnTo>
                      <a:pt x="556" y="475"/>
                    </a:lnTo>
                    <a:lnTo>
                      <a:pt x="558" y="473"/>
                    </a:lnTo>
                    <a:lnTo>
                      <a:pt x="560" y="475"/>
                    </a:lnTo>
                    <a:lnTo>
                      <a:pt x="558" y="476"/>
                    </a:lnTo>
                    <a:lnTo>
                      <a:pt x="560" y="481"/>
                    </a:lnTo>
                    <a:lnTo>
                      <a:pt x="556" y="483"/>
                    </a:lnTo>
                    <a:lnTo>
                      <a:pt x="556" y="487"/>
                    </a:lnTo>
                    <a:lnTo>
                      <a:pt x="553" y="487"/>
                    </a:lnTo>
                    <a:lnTo>
                      <a:pt x="549" y="488"/>
                    </a:lnTo>
                    <a:lnTo>
                      <a:pt x="544" y="493"/>
                    </a:lnTo>
                    <a:lnTo>
                      <a:pt x="541" y="495"/>
                    </a:lnTo>
                    <a:lnTo>
                      <a:pt x="537" y="498"/>
                    </a:lnTo>
                    <a:lnTo>
                      <a:pt x="532" y="500"/>
                    </a:lnTo>
                    <a:lnTo>
                      <a:pt x="527" y="504"/>
                    </a:lnTo>
                    <a:lnTo>
                      <a:pt x="526" y="504"/>
                    </a:lnTo>
                    <a:lnTo>
                      <a:pt x="524" y="505"/>
                    </a:lnTo>
                    <a:lnTo>
                      <a:pt x="517" y="505"/>
                    </a:lnTo>
                    <a:lnTo>
                      <a:pt x="515" y="507"/>
                    </a:lnTo>
                    <a:lnTo>
                      <a:pt x="514" y="507"/>
                    </a:lnTo>
                    <a:lnTo>
                      <a:pt x="514" y="509"/>
                    </a:lnTo>
                    <a:lnTo>
                      <a:pt x="510" y="509"/>
                    </a:lnTo>
                    <a:lnTo>
                      <a:pt x="510" y="510"/>
                    </a:lnTo>
                    <a:lnTo>
                      <a:pt x="509" y="510"/>
                    </a:lnTo>
                    <a:lnTo>
                      <a:pt x="505" y="512"/>
                    </a:lnTo>
                    <a:lnTo>
                      <a:pt x="503" y="512"/>
                    </a:lnTo>
                    <a:lnTo>
                      <a:pt x="503" y="515"/>
                    </a:lnTo>
                    <a:lnTo>
                      <a:pt x="502" y="515"/>
                    </a:lnTo>
                    <a:lnTo>
                      <a:pt x="500" y="517"/>
                    </a:lnTo>
                    <a:lnTo>
                      <a:pt x="497" y="517"/>
                    </a:lnTo>
                    <a:lnTo>
                      <a:pt x="495" y="515"/>
                    </a:lnTo>
                    <a:lnTo>
                      <a:pt x="490" y="517"/>
                    </a:lnTo>
                    <a:lnTo>
                      <a:pt x="480" y="517"/>
                    </a:lnTo>
                    <a:lnTo>
                      <a:pt x="478" y="519"/>
                    </a:lnTo>
                    <a:lnTo>
                      <a:pt x="475" y="521"/>
                    </a:lnTo>
                    <a:lnTo>
                      <a:pt x="475" y="522"/>
                    </a:lnTo>
                    <a:lnTo>
                      <a:pt x="473" y="522"/>
                    </a:lnTo>
                    <a:lnTo>
                      <a:pt x="468" y="522"/>
                    </a:lnTo>
                    <a:lnTo>
                      <a:pt x="461" y="529"/>
                    </a:lnTo>
                    <a:lnTo>
                      <a:pt x="459" y="529"/>
                    </a:lnTo>
                    <a:lnTo>
                      <a:pt x="458" y="527"/>
                    </a:lnTo>
                    <a:lnTo>
                      <a:pt x="454" y="527"/>
                    </a:lnTo>
                    <a:lnTo>
                      <a:pt x="452" y="524"/>
                    </a:lnTo>
                    <a:lnTo>
                      <a:pt x="451" y="524"/>
                    </a:lnTo>
                    <a:lnTo>
                      <a:pt x="449" y="522"/>
                    </a:lnTo>
                    <a:lnTo>
                      <a:pt x="444" y="522"/>
                    </a:lnTo>
                    <a:lnTo>
                      <a:pt x="442" y="521"/>
                    </a:lnTo>
                    <a:lnTo>
                      <a:pt x="439" y="522"/>
                    </a:lnTo>
                    <a:lnTo>
                      <a:pt x="432" y="521"/>
                    </a:lnTo>
                    <a:lnTo>
                      <a:pt x="429" y="524"/>
                    </a:lnTo>
                    <a:lnTo>
                      <a:pt x="427" y="524"/>
                    </a:lnTo>
                    <a:lnTo>
                      <a:pt x="427" y="527"/>
                    </a:lnTo>
                    <a:lnTo>
                      <a:pt x="425" y="531"/>
                    </a:lnTo>
                    <a:lnTo>
                      <a:pt x="425" y="532"/>
                    </a:lnTo>
                    <a:lnTo>
                      <a:pt x="425" y="534"/>
                    </a:lnTo>
                    <a:lnTo>
                      <a:pt x="424" y="536"/>
                    </a:lnTo>
                    <a:lnTo>
                      <a:pt x="418" y="538"/>
                    </a:lnTo>
                    <a:lnTo>
                      <a:pt x="415" y="539"/>
                    </a:lnTo>
                    <a:lnTo>
                      <a:pt x="412" y="539"/>
                    </a:lnTo>
                    <a:lnTo>
                      <a:pt x="410" y="539"/>
                    </a:lnTo>
                    <a:lnTo>
                      <a:pt x="408" y="541"/>
                    </a:lnTo>
                    <a:lnTo>
                      <a:pt x="407" y="543"/>
                    </a:lnTo>
                    <a:lnTo>
                      <a:pt x="405" y="543"/>
                    </a:lnTo>
                    <a:lnTo>
                      <a:pt x="401" y="543"/>
                    </a:lnTo>
                    <a:lnTo>
                      <a:pt x="400" y="541"/>
                    </a:lnTo>
                    <a:lnTo>
                      <a:pt x="396" y="541"/>
                    </a:lnTo>
                    <a:lnTo>
                      <a:pt x="390" y="539"/>
                    </a:lnTo>
                    <a:lnTo>
                      <a:pt x="386" y="538"/>
                    </a:lnTo>
                    <a:lnTo>
                      <a:pt x="384" y="538"/>
                    </a:lnTo>
                    <a:lnTo>
                      <a:pt x="381" y="539"/>
                    </a:lnTo>
                    <a:lnTo>
                      <a:pt x="381" y="538"/>
                    </a:lnTo>
                    <a:lnTo>
                      <a:pt x="379" y="538"/>
                    </a:lnTo>
                    <a:lnTo>
                      <a:pt x="376" y="536"/>
                    </a:lnTo>
                    <a:lnTo>
                      <a:pt x="374" y="541"/>
                    </a:lnTo>
                    <a:lnTo>
                      <a:pt x="367" y="544"/>
                    </a:lnTo>
                    <a:lnTo>
                      <a:pt x="364" y="543"/>
                    </a:lnTo>
                    <a:lnTo>
                      <a:pt x="361" y="546"/>
                    </a:lnTo>
                    <a:lnTo>
                      <a:pt x="361" y="544"/>
                    </a:lnTo>
                    <a:lnTo>
                      <a:pt x="361" y="543"/>
                    </a:lnTo>
                    <a:lnTo>
                      <a:pt x="359" y="543"/>
                    </a:lnTo>
                    <a:lnTo>
                      <a:pt x="354" y="543"/>
                    </a:lnTo>
                    <a:lnTo>
                      <a:pt x="352" y="544"/>
                    </a:lnTo>
                    <a:lnTo>
                      <a:pt x="350" y="544"/>
                    </a:lnTo>
                    <a:lnTo>
                      <a:pt x="349" y="544"/>
                    </a:lnTo>
                    <a:lnTo>
                      <a:pt x="349" y="543"/>
                    </a:lnTo>
                    <a:lnTo>
                      <a:pt x="345" y="544"/>
                    </a:lnTo>
                    <a:lnTo>
                      <a:pt x="344" y="541"/>
                    </a:lnTo>
                    <a:lnTo>
                      <a:pt x="345" y="538"/>
                    </a:lnTo>
                    <a:lnTo>
                      <a:pt x="344" y="536"/>
                    </a:lnTo>
                    <a:lnTo>
                      <a:pt x="342" y="538"/>
                    </a:lnTo>
                    <a:lnTo>
                      <a:pt x="342" y="536"/>
                    </a:lnTo>
                    <a:lnTo>
                      <a:pt x="340" y="534"/>
                    </a:lnTo>
                    <a:lnTo>
                      <a:pt x="339" y="536"/>
                    </a:lnTo>
                    <a:lnTo>
                      <a:pt x="337" y="532"/>
                    </a:lnTo>
                    <a:lnTo>
                      <a:pt x="335" y="532"/>
                    </a:lnTo>
                    <a:lnTo>
                      <a:pt x="333" y="531"/>
                    </a:lnTo>
                    <a:lnTo>
                      <a:pt x="332" y="529"/>
                    </a:lnTo>
                    <a:lnTo>
                      <a:pt x="330" y="531"/>
                    </a:lnTo>
                    <a:lnTo>
                      <a:pt x="327" y="529"/>
                    </a:lnTo>
                    <a:lnTo>
                      <a:pt x="325" y="529"/>
                    </a:lnTo>
                    <a:lnTo>
                      <a:pt x="323" y="532"/>
                    </a:lnTo>
                    <a:lnTo>
                      <a:pt x="323" y="531"/>
                    </a:lnTo>
                    <a:lnTo>
                      <a:pt x="323" y="532"/>
                    </a:lnTo>
                    <a:lnTo>
                      <a:pt x="320" y="532"/>
                    </a:lnTo>
                    <a:lnTo>
                      <a:pt x="320" y="534"/>
                    </a:lnTo>
                    <a:lnTo>
                      <a:pt x="316" y="536"/>
                    </a:lnTo>
                    <a:lnTo>
                      <a:pt x="313" y="536"/>
                    </a:lnTo>
                    <a:lnTo>
                      <a:pt x="311" y="538"/>
                    </a:lnTo>
                    <a:lnTo>
                      <a:pt x="311" y="536"/>
                    </a:lnTo>
                    <a:lnTo>
                      <a:pt x="310" y="538"/>
                    </a:lnTo>
                    <a:lnTo>
                      <a:pt x="310" y="536"/>
                    </a:lnTo>
                    <a:lnTo>
                      <a:pt x="308" y="536"/>
                    </a:lnTo>
                    <a:lnTo>
                      <a:pt x="308" y="538"/>
                    </a:lnTo>
                    <a:lnTo>
                      <a:pt x="306" y="538"/>
                    </a:lnTo>
                    <a:lnTo>
                      <a:pt x="305" y="536"/>
                    </a:lnTo>
                    <a:lnTo>
                      <a:pt x="305" y="538"/>
                    </a:lnTo>
                    <a:lnTo>
                      <a:pt x="301" y="536"/>
                    </a:lnTo>
                    <a:lnTo>
                      <a:pt x="282" y="538"/>
                    </a:lnTo>
                    <a:lnTo>
                      <a:pt x="282" y="532"/>
                    </a:lnTo>
                    <a:lnTo>
                      <a:pt x="281" y="531"/>
                    </a:lnTo>
                    <a:lnTo>
                      <a:pt x="281" y="529"/>
                    </a:lnTo>
                    <a:lnTo>
                      <a:pt x="281" y="527"/>
                    </a:lnTo>
                    <a:lnTo>
                      <a:pt x="274" y="524"/>
                    </a:lnTo>
                    <a:lnTo>
                      <a:pt x="274" y="522"/>
                    </a:lnTo>
                    <a:lnTo>
                      <a:pt x="272" y="521"/>
                    </a:lnTo>
                    <a:lnTo>
                      <a:pt x="272" y="519"/>
                    </a:lnTo>
                    <a:lnTo>
                      <a:pt x="269" y="517"/>
                    </a:lnTo>
                    <a:lnTo>
                      <a:pt x="269" y="515"/>
                    </a:lnTo>
                    <a:lnTo>
                      <a:pt x="265" y="514"/>
                    </a:lnTo>
                    <a:lnTo>
                      <a:pt x="265" y="510"/>
                    </a:lnTo>
                    <a:lnTo>
                      <a:pt x="264" y="509"/>
                    </a:lnTo>
                    <a:lnTo>
                      <a:pt x="267" y="505"/>
                    </a:lnTo>
                    <a:lnTo>
                      <a:pt x="269" y="495"/>
                    </a:lnTo>
                    <a:lnTo>
                      <a:pt x="267" y="493"/>
                    </a:lnTo>
                    <a:lnTo>
                      <a:pt x="267" y="492"/>
                    </a:lnTo>
                    <a:lnTo>
                      <a:pt x="265" y="490"/>
                    </a:lnTo>
                    <a:lnTo>
                      <a:pt x="265" y="488"/>
                    </a:lnTo>
                    <a:lnTo>
                      <a:pt x="264" y="487"/>
                    </a:lnTo>
                    <a:lnTo>
                      <a:pt x="262" y="485"/>
                    </a:lnTo>
                    <a:lnTo>
                      <a:pt x="264" y="481"/>
                    </a:lnTo>
                    <a:lnTo>
                      <a:pt x="264" y="480"/>
                    </a:lnTo>
                    <a:lnTo>
                      <a:pt x="262" y="481"/>
                    </a:lnTo>
                    <a:lnTo>
                      <a:pt x="262" y="480"/>
                    </a:lnTo>
                    <a:lnTo>
                      <a:pt x="264" y="473"/>
                    </a:lnTo>
                    <a:lnTo>
                      <a:pt x="262" y="470"/>
                    </a:lnTo>
                    <a:lnTo>
                      <a:pt x="262" y="468"/>
                    </a:lnTo>
                    <a:lnTo>
                      <a:pt x="260" y="463"/>
                    </a:lnTo>
                    <a:lnTo>
                      <a:pt x="260" y="461"/>
                    </a:lnTo>
                    <a:lnTo>
                      <a:pt x="259" y="458"/>
                    </a:lnTo>
                    <a:lnTo>
                      <a:pt x="257" y="454"/>
                    </a:lnTo>
                    <a:lnTo>
                      <a:pt x="250" y="446"/>
                    </a:lnTo>
                    <a:lnTo>
                      <a:pt x="235" y="432"/>
                    </a:lnTo>
                    <a:lnTo>
                      <a:pt x="231" y="434"/>
                    </a:lnTo>
                    <a:lnTo>
                      <a:pt x="231" y="436"/>
                    </a:lnTo>
                    <a:lnTo>
                      <a:pt x="231" y="437"/>
                    </a:lnTo>
                    <a:lnTo>
                      <a:pt x="230" y="442"/>
                    </a:lnTo>
                    <a:lnTo>
                      <a:pt x="228" y="442"/>
                    </a:lnTo>
                    <a:lnTo>
                      <a:pt x="225" y="439"/>
                    </a:lnTo>
                    <a:lnTo>
                      <a:pt x="223" y="436"/>
                    </a:lnTo>
                    <a:lnTo>
                      <a:pt x="220" y="436"/>
                    </a:lnTo>
                    <a:lnTo>
                      <a:pt x="218" y="437"/>
                    </a:lnTo>
                    <a:lnTo>
                      <a:pt x="214" y="437"/>
                    </a:lnTo>
                    <a:lnTo>
                      <a:pt x="213" y="436"/>
                    </a:lnTo>
                    <a:lnTo>
                      <a:pt x="211" y="437"/>
                    </a:lnTo>
                    <a:lnTo>
                      <a:pt x="209" y="439"/>
                    </a:lnTo>
                    <a:lnTo>
                      <a:pt x="206" y="437"/>
                    </a:lnTo>
                    <a:lnTo>
                      <a:pt x="204" y="437"/>
                    </a:lnTo>
                    <a:lnTo>
                      <a:pt x="204" y="436"/>
                    </a:lnTo>
                    <a:lnTo>
                      <a:pt x="203" y="434"/>
                    </a:lnTo>
                    <a:lnTo>
                      <a:pt x="201" y="434"/>
                    </a:lnTo>
                    <a:lnTo>
                      <a:pt x="199" y="432"/>
                    </a:lnTo>
                    <a:lnTo>
                      <a:pt x="197" y="432"/>
                    </a:lnTo>
                    <a:lnTo>
                      <a:pt x="196" y="432"/>
                    </a:lnTo>
                    <a:lnTo>
                      <a:pt x="194" y="432"/>
                    </a:lnTo>
                    <a:lnTo>
                      <a:pt x="191" y="432"/>
                    </a:lnTo>
                    <a:lnTo>
                      <a:pt x="186" y="427"/>
                    </a:lnTo>
                    <a:lnTo>
                      <a:pt x="182" y="425"/>
                    </a:lnTo>
                    <a:lnTo>
                      <a:pt x="180" y="427"/>
                    </a:lnTo>
                    <a:lnTo>
                      <a:pt x="179" y="427"/>
                    </a:lnTo>
                    <a:lnTo>
                      <a:pt x="179" y="425"/>
                    </a:lnTo>
                    <a:lnTo>
                      <a:pt x="177" y="427"/>
                    </a:lnTo>
                    <a:lnTo>
                      <a:pt x="177" y="425"/>
                    </a:lnTo>
                    <a:lnTo>
                      <a:pt x="175" y="425"/>
                    </a:lnTo>
                    <a:lnTo>
                      <a:pt x="170" y="422"/>
                    </a:lnTo>
                    <a:lnTo>
                      <a:pt x="169" y="420"/>
                    </a:lnTo>
                    <a:lnTo>
                      <a:pt x="163" y="420"/>
                    </a:lnTo>
                    <a:lnTo>
                      <a:pt x="162" y="420"/>
                    </a:lnTo>
                    <a:lnTo>
                      <a:pt x="160" y="420"/>
                    </a:lnTo>
                    <a:lnTo>
                      <a:pt x="157" y="415"/>
                    </a:lnTo>
                    <a:lnTo>
                      <a:pt x="157" y="413"/>
                    </a:lnTo>
                    <a:lnTo>
                      <a:pt x="155" y="413"/>
                    </a:lnTo>
                    <a:lnTo>
                      <a:pt x="146" y="413"/>
                    </a:lnTo>
                    <a:lnTo>
                      <a:pt x="143" y="412"/>
                    </a:lnTo>
                    <a:lnTo>
                      <a:pt x="140" y="410"/>
                    </a:lnTo>
                    <a:lnTo>
                      <a:pt x="136" y="408"/>
                    </a:lnTo>
                    <a:lnTo>
                      <a:pt x="133" y="410"/>
                    </a:lnTo>
                    <a:lnTo>
                      <a:pt x="131" y="410"/>
                    </a:lnTo>
                    <a:lnTo>
                      <a:pt x="129" y="408"/>
                    </a:lnTo>
                    <a:lnTo>
                      <a:pt x="129" y="405"/>
                    </a:lnTo>
                    <a:lnTo>
                      <a:pt x="129" y="403"/>
                    </a:lnTo>
                    <a:lnTo>
                      <a:pt x="128" y="401"/>
                    </a:lnTo>
                    <a:lnTo>
                      <a:pt x="123" y="401"/>
                    </a:lnTo>
                    <a:lnTo>
                      <a:pt x="121" y="401"/>
                    </a:lnTo>
                    <a:lnTo>
                      <a:pt x="119" y="403"/>
                    </a:lnTo>
                    <a:lnTo>
                      <a:pt x="116" y="403"/>
                    </a:lnTo>
                    <a:lnTo>
                      <a:pt x="114" y="400"/>
                    </a:lnTo>
                    <a:lnTo>
                      <a:pt x="111" y="398"/>
                    </a:lnTo>
                    <a:lnTo>
                      <a:pt x="111" y="396"/>
                    </a:lnTo>
                    <a:lnTo>
                      <a:pt x="111" y="395"/>
                    </a:lnTo>
                    <a:lnTo>
                      <a:pt x="111" y="391"/>
                    </a:lnTo>
                    <a:lnTo>
                      <a:pt x="109" y="391"/>
                    </a:lnTo>
                    <a:lnTo>
                      <a:pt x="107" y="391"/>
                    </a:lnTo>
                    <a:lnTo>
                      <a:pt x="106" y="388"/>
                    </a:lnTo>
                    <a:lnTo>
                      <a:pt x="102" y="388"/>
                    </a:lnTo>
                    <a:lnTo>
                      <a:pt x="101" y="386"/>
                    </a:lnTo>
                    <a:lnTo>
                      <a:pt x="99" y="388"/>
                    </a:lnTo>
                    <a:lnTo>
                      <a:pt x="97" y="386"/>
                    </a:lnTo>
                    <a:lnTo>
                      <a:pt x="95" y="388"/>
                    </a:lnTo>
                    <a:lnTo>
                      <a:pt x="94" y="386"/>
                    </a:lnTo>
                    <a:lnTo>
                      <a:pt x="92" y="386"/>
                    </a:lnTo>
                    <a:lnTo>
                      <a:pt x="89" y="388"/>
                    </a:lnTo>
                    <a:lnTo>
                      <a:pt x="85" y="386"/>
                    </a:lnTo>
                    <a:lnTo>
                      <a:pt x="78" y="379"/>
                    </a:lnTo>
                    <a:lnTo>
                      <a:pt x="72" y="367"/>
                    </a:lnTo>
                    <a:lnTo>
                      <a:pt x="63" y="354"/>
                    </a:lnTo>
                    <a:lnTo>
                      <a:pt x="56" y="342"/>
                    </a:lnTo>
                    <a:lnTo>
                      <a:pt x="51" y="333"/>
                    </a:lnTo>
                    <a:lnTo>
                      <a:pt x="48" y="313"/>
                    </a:lnTo>
                    <a:lnTo>
                      <a:pt x="44" y="306"/>
                    </a:lnTo>
                    <a:lnTo>
                      <a:pt x="36" y="298"/>
                    </a:lnTo>
                    <a:lnTo>
                      <a:pt x="27" y="289"/>
                    </a:lnTo>
                    <a:lnTo>
                      <a:pt x="19" y="282"/>
                    </a:lnTo>
                    <a:lnTo>
                      <a:pt x="14" y="277"/>
                    </a:lnTo>
                    <a:lnTo>
                      <a:pt x="10" y="274"/>
                    </a:lnTo>
                    <a:lnTo>
                      <a:pt x="7" y="264"/>
                    </a:lnTo>
                    <a:lnTo>
                      <a:pt x="7" y="259"/>
                    </a:lnTo>
                    <a:lnTo>
                      <a:pt x="9" y="253"/>
                    </a:lnTo>
                    <a:lnTo>
                      <a:pt x="12" y="247"/>
                    </a:lnTo>
                    <a:lnTo>
                      <a:pt x="16" y="240"/>
                    </a:lnTo>
                    <a:lnTo>
                      <a:pt x="14" y="235"/>
                    </a:lnTo>
                    <a:lnTo>
                      <a:pt x="7" y="223"/>
                    </a:lnTo>
                    <a:lnTo>
                      <a:pt x="0" y="202"/>
                    </a:lnTo>
                    <a:lnTo>
                      <a:pt x="0" y="191"/>
                    </a:lnTo>
                    <a:lnTo>
                      <a:pt x="0" y="175"/>
                    </a:lnTo>
                    <a:lnTo>
                      <a:pt x="14" y="175"/>
                    </a:lnTo>
                    <a:lnTo>
                      <a:pt x="19" y="177"/>
                    </a:lnTo>
                    <a:lnTo>
                      <a:pt x="19" y="175"/>
                    </a:lnTo>
                    <a:lnTo>
                      <a:pt x="21" y="172"/>
                    </a:lnTo>
                    <a:lnTo>
                      <a:pt x="24" y="172"/>
                    </a:lnTo>
                    <a:lnTo>
                      <a:pt x="26" y="172"/>
                    </a:lnTo>
                    <a:lnTo>
                      <a:pt x="29" y="170"/>
                    </a:lnTo>
                    <a:lnTo>
                      <a:pt x="29" y="168"/>
                    </a:lnTo>
                    <a:lnTo>
                      <a:pt x="33" y="167"/>
                    </a:lnTo>
                    <a:lnTo>
                      <a:pt x="34" y="162"/>
                    </a:lnTo>
                    <a:lnTo>
                      <a:pt x="39" y="158"/>
                    </a:lnTo>
                    <a:lnTo>
                      <a:pt x="41" y="158"/>
                    </a:lnTo>
                    <a:lnTo>
                      <a:pt x="41" y="155"/>
                    </a:lnTo>
                    <a:lnTo>
                      <a:pt x="43" y="155"/>
                    </a:lnTo>
                    <a:lnTo>
                      <a:pt x="43" y="153"/>
                    </a:lnTo>
                    <a:lnTo>
                      <a:pt x="41" y="153"/>
                    </a:lnTo>
                    <a:lnTo>
                      <a:pt x="43" y="150"/>
                    </a:lnTo>
                    <a:lnTo>
                      <a:pt x="44" y="148"/>
                    </a:lnTo>
                    <a:lnTo>
                      <a:pt x="46" y="145"/>
                    </a:lnTo>
                    <a:lnTo>
                      <a:pt x="48" y="143"/>
                    </a:lnTo>
                    <a:lnTo>
                      <a:pt x="50" y="141"/>
                    </a:lnTo>
                    <a:lnTo>
                      <a:pt x="51" y="143"/>
                    </a:lnTo>
                    <a:lnTo>
                      <a:pt x="51" y="140"/>
                    </a:lnTo>
                    <a:lnTo>
                      <a:pt x="53" y="133"/>
                    </a:lnTo>
                    <a:lnTo>
                      <a:pt x="53" y="131"/>
                    </a:lnTo>
                    <a:lnTo>
                      <a:pt x="56" y="129"/>
                    </a:lnTo>
                    <a:lnTo>
                      <a:pt x="58" y="129"/>
                    </a:lnTo>
                    <a:lnTo>
                      <a:pt x="65" y="124"/>
                    </a:lnTo>
                    <a:lnTo>
                      <a:pt x="65" y="123"/>
                    </a:lnTo>
                    <a:lnTo>
                      <a:pt x="63" y="121"/>
                    </a:lnTo>
                    <a:lnTo>
                      <a:pt x="65" y="119"/>
                    </a:lnTo>
                    <a:lnTo>
                      <a:pt x="68" y="117"/>
                    </a:lnTo>
                    <a:lnTo>
                      <a:pt x="68" y="116"/>
                    </a:lnTo>
                    <a:lnTo>
                      <a:pt x="70" y="117"/>
                    </a:lnTo>
                    <a:lnTo>
                      <a:pt x="73" y="116"/>
                    </a:lnTo>
                    <a:lnTo>
                      <a:pt x="72" y="114"/>
                    </a:lnTo>
                    <a:lnTo>
                      <a:pt x="73" y="112"/>
                    </a:lnTo>
                    <a:lnTo>
                      <a:pt x="73" y="111"/>
                    </a:lnTo>
                    <a:lnTo>
                      <a:pt x="73" y="107"/>
                    </a:lnTo>
                    <a:lnTo>
                      <a:pt x="72" y="106"/>
                    </a:lnTo>
                    <a:lnTo>
                      <a:pt x="73" y="100"/>
                    </a:lnTo>
                    <a:lnTo>
                      <a:pt x="70" y="102"/>
                    </a:lnTo>
                    <a:lnTo>
                      <a:pt x="68" y="102"/>
                    </a:lnTo>
                    <a:lnTo>
                      <a:pt x="67" y="100"/>
                    </a:lnTo>
                    <a:lnTo>
                      <a:pt x="65" y="102"/>
                    </a:lnTo>
                    <a:lnTo>
                      <a:pt x="63" y="100"/>
                    </a:lnTo>
                    <a:lnTo>
                      <a:pt x="60" y="97"/>
                    </a:lnTo>
                    <a:lnTo>
                      <a:pt x="56" y="100"/>
                    </a:lnTo>
                    <a:lnTo>
                      <a:pt x="53" y="99"/>
                    </a:lnTo>
                    <a:lnTo>
                      <a:pt x="53" y="97"/>
                    </a:lnTo>
                    <a:lnTo>
                      <a:pt x="51" y="95"/>
                    </a:lnTo>
                    <a:lnTo>
                      <a:pt x="53" y="92"/>
                    </a:lnTo>
                    <a:lnTo>
                      <a:pt x="53" y="90"/>
                    </a:lnTo>
                    <a:lnTo>
                      <a:pt x="58" y="87"/>
                    </a:lnTo>
                    <a:lnTo>
                      <a:pt x="58" y="85"/>
                    </a:lnTo>
                    <a:lnTo>
                      <a:pt x="55" y="87"/>
                    </a:lnTo>
                    <a:lnTo>
                      <a:pt x="53" y="85"/>
                    </a:lnTo>
                    <a:lnTo>
                      <a:pt x="56" y="80"/>
                    </a:lnTo>
                    <a:lnTo>
                      <a:pt x="56" y="78"/>
                    </a:lnTo>
                    <a:lnTo>
                      <a:pt x="56" y="77"/>
                    </a:lnTo>
                    <a:lnTo>
                      <a:pt x="58" y="73"/>
                    </a:lnTo>
                    <a:lnTo>
                      <a:pt x="60" y="73"/>
                    </a:lnTo>
                    <a:lnTo>
                      <a:pt x="61" y="71"/>
                    </a:lnTo>
                    <a:lnTo>
                      <a:pt x="65" y="73"/>
                    </a:lnTo>
                    <a:lnTo>
                      <a:pt x="67" y="70"/>
                    </a:lnTo>
                    <a:lnTo>
                      <a:pt x="70" y="71"/>
                    </a:lnTo>
                    <a:lnTo>
                      <a:pt x="72" y="70"/>
                    </a:lnTo>
                    <a:lnTo>
                      <a:pt x="73" y="70"/>
                    </a:lnTo>
                    <a:lnTo>
                      <a:pt x="75" y="68"/>
                    </a:lnTo>
                    <a:lnTo>
                      <a:pt x="73" y="63"/>
                    </a:lnTo>
                    <a:lnTo>
                      <a:pt x="77" y="56"/>
                    </a:lnTo>
                    <a:lnTo>
                      <a:pt x="73" y="53"/>
                    </a:lnTo>
                    <a:lnTo>
                      <a:pt x="72" y="49"/>
                    </a:lnTo>
                    <a:lnTo>
                      <a:pt x="70" y="49"/>
                    </a:lnTo>
                    <a:lnTo>
                      <a:pt x="73" y="44"/>
                    </a:lnTo>
                    <a:lnTo>
                      <a:pt x="72" y="44"/>
                    </a:lnTo>
                    <a:lnTo>
                      <a:pt x="73" y="43"/>
                    </a:lnTo>
                    <a:lnTo>
                      <a:pt x="73" y="39"/>
                    </a:lnTo>
                    <a:lnTo>
                      <a:pt x="72" y="39"/>
                    </a:lnTo>
                    <a:lnTo>
                      <a:pt x="73" y="37"/>
                    </a:lnTo>
                    <a:lnTo>
                      <a:pt x="73" y="36"/>
                    </a:lnTo>
                    <a:lnTo>
                      <a:pt x="73" y="34"/>
                    </a:lnTo>
                    <a:lnTo>
                      <a:pt x="73" y="32"/>
                    </a:lnTo>
                    <a:lnTo>
                      <a:pt x="70" y="31"/>
                    </a:lnTo>
                    <a:lnTo>
                      <a:pt x="70" y="29"/>
                    </a:lnTo>
                    <a:lnTo>
                      <a:pt x="68" y="27"/>
                    </a:lnTo>
                    <a:lnTo>
                      <a:pt x="68" y="26"/>
                    </a:lnTo>
                    <a:lnTo>
                      <a:pt x="68" y="22"/>
                    </a:lnTo>
                    <a:lnTo>
                      <a:pt x="67" y="22"/>
                    </a:lnTo>
                    <a:lnTo>
                      <a:pt x="65" y="20"/>
                    </a:lnTo>
                    <a:lnTo>
                      <a:pt x="63" y="20"/>
                    </a:lnTo>
                    <a:lnTo>
                      <a:pt x="61" y="19"/>
                    </a:lnTo>
                    <a:lnTo>
                      <a:pt x="60" y="19"/>
                    </a:lnTo>
                    <a:lnTo>
                      <a:pt x="60" y="14"/>
                    </a:lnTo>
                    <a:lnTo>
                      <a:pt x="56" y="10"/>
                    </a:lnTo>
                    <a:lnTo>
                      <a:pt x="55" y="9"/>
                    </a:lnTo>
                    <a:lnTo>
                      <a:pt x="55" y="7"/>
                    </a:lnTo>
                    <a:lnTo>
                      <a:pt x="55" y="5"/>
                    </a:lnTo>
                    <a:lnTo>
                      <a:pt x="55" y="3"/>
                    </a:lnTo>
                    <a:lnTo>
                      <a:pt x="58" y="5"/>
                    </a:lnTo>
                    <a:lnTo>
                      <a:pt x="61" y="5"/>
                    </a:lnTo>
                    <a:lnTo>
                      <a:pt x="63" y="5"/>
                    </a:lnTo>
                    <a:lnTo>
                      <a:pt x="67" y="2"/>
                    </a:lnTo>
                    <a:lnTo>
                      <a:pt x="70" y="0"/>
                    </a:lnTo>
                    <a:lnTo>
                      <a:pt x="72" y="2"/>
                    </a:lnTo>
                    <a:lnTo>
                      <a:pt x="95" y="2"/>
                    </a:lnTo>
                    <a:lnTo>
                      <a:pt x="116" y="2"/>
                    </a:lnTo>
                    <a:lnTo>
                      <a:pt x="133" y="2"/>
                    </a:lnTo>
                    <a:lnTo>
                      <a:pt x="170" y="2"/>
                    </a:lnTo>
                    <a:lnTo>
                      <a:pt x="177" y="2"/>
                    </a:lnTo>
                    <a:lnTo>
                      <a:pt x="209" y="2"/>
                    </a:lnTo>
                    <a:lnTo>
                      <a:pt x="216" y="2"/>
                    </a:lnTo>
                    <a:lnTo>
                      <a:pt x="230" y="2"/>
                    </a:lnTo>
                    <a:close/>
                    <a:moveTo>
                      <a:pt x="505" y="245"/>
                    </a:moveTo>
                    <a:lnTo>
                      <a:pt x="505" y="250"/>
                    </a:lnTo>
                    <a:lnTo>
                      <a:pt x="507" y="257"/>
                    </a:lnTo>
                    <a:lnTo>
                      <a:pt x="509" y="259"/>
                    </a:lnTo>
                    <a:lnTo>
                      <a:pt x="509" y="262"/>
                    </a:lnTo>
                    <a:lnTo>
                      <a:pt x="509" y="264"/>
                    </a:lnTo>
                    <a:lnTo>
                      <a:pt x="510" y="265"/>
                    </a:lnTo>
                    <a:lnTo>
                      <a:pt x="510" y="264"/>
                    </a:lnTo>
                    <a:lnTo>
                      <a:pt x="512" y="265"/>
                    </a:lnTo>
                    <a:lnTo>
                      <a:pt x="512" y="264"/>
                    </a:lnTo>
                    <a:lnTo>
                      <a:pt x="512" y="262"/>
                    </a:lnTo>
                    <a:lnTo>
                      <a:pt x="512" y="260"/>
                    </a:lnTo>
                    <a:lnTo>
                      <a:pt x="514" y="264"/>
                    </a:lnTo>
                    <a:lnTo>
                      <a:pt x="514" y="269"/>
                    </a:lnTo>
                    <a:lnTo>
                      <a:pt x="517" y="274"/>
                    </a:lnTo>
                    <a:lnTo>
                      <a:pt x="515" y="277"/>
                    </a:lnTo>
                    <a:lnTo>
                      <a:pt x="514" y="279"/>
                    </a:lnTo>
                    <a:lnTo>
                      <a:pt x="512" y="279"/>
                    </a:lnTo>
                    <a:lnTo>
                      <a:pt x="510" y="277"/>
                    </a:lnTo>
                    <a:lnTo>
                      <a:pt x="507" y="271"/>
                    </a:lnTo>
                    <a:lnTo>
                      <a:pt x="509" y="272"/>
                    </a:lnTo>
                    <a:lnTo>
                      <a:pt x="509" y="276"/>
                    </a:lnTo>
                    <a:lnTo>
                      <a:pt x="505" y="272"/>
                    </a:lnTo>
                    <a:lnTo>
                      <a:pt x="505" y="271"/>
                    </a:lnTo>
                    <a:lnTo>
                      <a:pt x="502" y="267"/>
                    </a:lnTo>
                    <a:lnTo>
                      <a:pt x="502" y="269"/>
                    </a:lnTo>
                    <a:lnTo>
                      <a:pt x="502" y="267"/>
                    </a:lnTo>
                    <a:lnTo>
                      <a:pt x="502" y="271"/>
                    </a:lnTo>
                    <a:lnTo>
                      <a:pt x="497" y="265"/>
                    </a:lnTo>
                    <a:lnTo>
                      <a:pt x="497" y="264"/>
                    </a:lnTo>
                    <a:lnTo>
                      <a:pt x="498" y="262"/>
                    </a:lnTo>
                    <a:lnTo>
                      <a:pt x="498" y="259"/>
                    </a:lnTo>
                    <a:lnTo>
                      <a:pt x="497" y="253"/>
                    </a:lnTo>
                    <a:lnTo>
                      <a:pt x="497" y="250"/>
                    </a:lnTo>
                    <a:lnTo>
                      <a:pt x="498" y="250"/>
                    </a:lnTo>
                    <a:lnTo>
                      <a:pt x="498" y="248"/>
                    </a:lnTo>
                    <a:lnTo>
                      <a:pt x="500" y="248"/>
                    </a:lnTo>
                    <a:lnTo>
                      <a:pt x="502" y="240"/>
                    </a:lnTo>
                    <a:lnTo>
                      <a:pt x="505" y="245"/>
                    </a:lnTo>
                    <a:close/>
                    <a:moveTo>
                      <a:pt x="522" y="199"/>
                    </a:moveTo>
                    <a:lnTo>
                      <a:pt x="527" y="201"/>
                    </a:lnTo>
                    <a:lnTo>
                      <a:pt x="529" y="202"/>
                    </a:lnTo>
                    <a:lnTo>
                      <a:pt x="527" y="201"/>
                    </a:lnTo>
                    <a:lnTo>
                      <a:pt x="529" y="201"/>
                    </a:lnTo>
                    <a:lnTo>
                      <a:pt x="529" y="199"/>
                    </a:lnTo>
                    <a:lnTo>
                      <a:pt x="529" y="201"/>
                    </a:lnTo>
                    <a:lnTo>
                      <a:pt x="531" y="201"/>
                    </a:lnTo>
                    <a:lnTo>
                      <a:pt x="531" y="199"/>
                    </a:lnTo>
                    <a:lnTo>
                      <a:pt x="531" y="204"/>
                    </a:lnTo>
                    <a:lnTo>
                      <a:pt x="531" y="206"/>
                    </a:lnTo>
                    <a:lnTo>
                      <a:pt x="529" y="204"/>
                    </a:lnTo>
                    <a:lnTo>
                      <a:pt x="529" y="208"/>
                    </a:lnTo>
                    <a:lnTo>
                      <a:pt x="529" y="209"/>
                    </a:lnTo>
                    <a:lnTo>
                      <a:pt x="529" y="211"/>
                    </a:lnTo>
                    <a:lnTo>
                      <a:pt x="529" y="209"/>
                    </a:lnTo>
                    <a:lnTo>
                      <a:pt x="531" y="209"/>
                    </a:lnTo>
                    <a:lnTo>
                      <a:pt x="529" y="218"/>
                    </a:lnTo>
                    <a:lnTo>
                      <a:pt x="527" y="221"/>
                    </a:lnTo>
                    <a:lnTo>
                      <a:pt x="527" y="225"/>
                    </a:lnTo>
                    <a:lnTo>
                      <a:pt x="524" y="228"/>
                    </a:lnTo>
                    <a:lnTo>
                      <a:pt x="524" y="226"/>
                    </a:lnTo>
                    <a:lnTo>
                      <a:pt x="522" y="226"/>
                    </a:lnTo>
                    <a:lnTo>
                      <a:pt x="524" y="226"/>
                    </a:lnTo>
                    <a:lnTo>
                      <a:pt x="522" y="226"/>
                    </a:lnTo>
                    <a:lnTo>
                      <a:pt x="520" y="226"/>
                    </a:lnTo>
                    <a:lnTo>
                      <a:pt x="519" y="226"/>
                    </a:lnTo>
                    <a:lnTo>
                      <a:pt x="519" y="225"/>
                    </a:lnTo>
                    <a:lnTo>
                      <a:pt x="520" y="219"/>
                    </a:lnTo>
                    <a:lnTo>
                      <a:pt x="520" y="221"/>
                    </a:lnTo>
                    <a:lnTo>
                      <a:pt x="522" y="221"/>
                    </a:lnTo>
                    <a:lnTo>
                      <a:pt x="520" y="218"/>
                    </a:lnTo>
                    <a:lnTo>
                      <a:pt x="522" y="218"/>
                    </a:lnTo>
                    <a:lnTo>
                      <a:pt x="522" y="216"/>
                    </a:lnTo>
                    <a:lnTo>
                      <a:pt x="524" y="216"/>
                    </a:lnTo>
                    <a:lnTo>
                      <a:pt x="526" y="216"/>
                    </a:lnTo>
                    <a:lnTo>
                      <a:pt x="522" y="214"/>
                    </a:lnTo>
                    <a:lnTo>
                      <a:pt x="520" y="216"/>
                    </a:lnTo>
                    <a:lnTo>
                      <a:pt x="520" y="214"/>
                    </a:lnTo>
                    <a:lnTo>
                      <a:pt x="519" y="214"/>
                    </a:lnTo>
                    <a:lnTo>
                      <a:pt x="520" y="213"/>
                    </a:lnTo>
                    <a:lnTo>
                      <a:pt x="520" y="214"/>
                    </a:lnTo>
                    <a:lnTo>
                      <a:pt x="522" y="214"/>
                    </a:lnTo>
                    <a:lnTo>
                      <a:pt x="524" y="214"/>
                    </a:lnTo>
                    <a:lnTo>
                      <a:pt x="524" y="213"/>
                    </a:lnTo>
                    <a:lnTo>
                      <a:pt x="524" y="211"/>
                    </a:lnTo>
                    <a:lnTo>
                      <a:pt x="522" y="213"/>
                    </a:lnTo>
                    <a:lnTo>
                      <a:pt x="524" y="211"/>
                    </a:lnTo>
                    <a:lnTo>
                      <a:pt x="522" y="211"/>
                    </a:lnTo>
                    <a:lnTo>
                      <a:pt x="522" y="209"/>
                    </a:lnTo>
                    <a:lnTo>
                      <a:pt x="522" y="208"/>
                    </a:lnTo>
                    <a:lnTo>
                      <a:pt x="524" y="208"/>
                    </a:lnTo>
                    <a:lnTo>
                      <a:pt x="520" y="206"/>
                    </a:lnTo>
                    <a:lnTo>
                      <a:pt x="522" y="206"/>
                    </a:lnTo>
                    <a:lnTo>
                      <a:pt x="520" y="202"/>
                    </a:lnTo>
                    <a:lnTo>
                      <a:pt x="522" y="202"/>
                    </a:lnTo>
                    <a:lnTo>
                      <a:pt x="520" y="201"/>
                    </a:lnTo>
                    <a:lnTo>
                      <a:pt x="522" y="197"/>
                    </a:lnTo>
                    <a:lnTo>
                      <a:pt x="522" y="199"/>
                    </a:lnTo>
                    <a:close/>
                    <a:moveTo>
                      <a:pt x="532" y="337"/>
                    </a:moveTo>
                    <a:lnTo>
                      <a:pt x="532" y="344"/>
                    </a:lnTo>
                    <a:lnTo>
                      <a:pt x="531" y="347"/>
                    </a:lnTo>
                    <a:lnTo>
                      <a:pt x="531" y="349"/>
                    </a:lnTo>
                    <a:lnTo>
                      <a:pt x="529" y="352"/>
                    </a:lnTo>
                    <a:lnTo>
                      <a:pt x="527" y="350"/>
                    </a:lnTo>
                    <a:lnTo>
                      <a:pt x="526" y="350"/>
                    </a:lnTo>
                    <a:lnTo>
                      <a:pt x="524" y="354"/>
                    </a:lnTo>
                    <a:lnTo>
                      <a:pt x="526" y="356"/>
                    </a:lnTo>
                    <a:lnTo>
                      <a:pt x="522" y="356"/>
                    </a:lnTo>
                    <a:lnTo>
                      <a:pt x="519" y="356"/>
                    </a:lnTo>
                    <a:lnTo>
                      <a:pt x="517" y="354"/>
                    </a:lnTo>
                    <a:lnTo>
                      <a:pt x="520" y="350"/>
                    </a:lnTo>
                    <a:lnTo>
                      <a:pt x="524" y="349"/>
                    </a:lnTo>
                    <a:lnTo>
                      <a:pt x="522" y="347"/>
                    </a:lnTo>
                    <a:lnTo>
                      <a:pt x="527" y="345"/>
                    </a:lnTo>
                    <a:lnTo>
                      <a:pt x="526" y="345"/>
                    </a:lnTo>
                    <a:lnTo>
                      <a:pt x="527" y="344"/>
                    </a:lnTo>
                    <a:lnTo>
                      <a:pt x="529" y="344"/>
                    </a:lnTo>
                    <a:lnTo>
                      <a:pt x="531" y="340"/>
                    </a:lnTo>
                    <a:lnTo>
                      <a:pt x="532" y="337"/>
                    </a:lnTo>
                    <a:close/>
                    <a:moveTo>
                      <a:pt x="517" y="225"/>
                    </a:moveTo>
                    <a:lnTo>
                      <a:pt x="519" y="226"/>
                    </a:lnTo>
                    <a:lnTo>
                      <a:pt x="520" y="226"/>
                    </a:lnTo>
                    <a:lnTo>
                      <a:pt x="520" y="228"/>
                    </a:lnTo>
                    <a:lnTo>
                      <a:pt x="519" y="228"/>
                    </a:lnTo>
                    <a:lnTo>
                      <a:pt x="517" y="228"/>
                    </a:lnTo>
                    <a:lnTo>
                      <a:pt x="515" y="225"/>
                    </a:lnTo>
                    <a:lnTo>
                      <a:pt x="517" y="225"/>
                    </a:lnTo>
                    <a:close/>
                    <a:moveTo>
                      <a:pt x="527" y="354"/>
                    </a:moveTo>
                    <a:lnTo>
                      <a:pt x="527" y="356"/>
                    </a:lnTo>
                    <a:lnTo>
                      <a:pt x="527" y="357"/>
                    </a:lnTo>
                    <a:lnTo>
                      <a:pt x="526" y="357"/>
                    </a:lnTo>
                    <a:lnTo>
                      <a:pt x="526" y="356"/>
                    </a:lnTo>
                    <a:lnTo>
                      <a:pt x="527" y="356"/>
                    </a:lnTo>
                    <a:lnTo>
                      <a:pt x="527" y="354"/>
                    </a:lnTo>
                    <a:close/>
                    <a:moveTo>
                      <a:pt x="512" y="403"/>
                    </a:moveTo>
                    <a:lnTo>
                      <a:pt x="514" y="403"/>
                    </a:lnTo>
                    <a:lnTo>
                      <a:pt x="514" y="407"/>
                    </a:lnTo>
                    <a:lnTo>
                      <a:pt x="512" y="407"/>
                    </a:lnTo>
                    <a:lnTo>
                      <a:pt x="512" y="403"/>
                    </a:lnTo>
                    <a:close/>
                    <a:moveTo>
                      <a:pt x="498" y="245"/>
                    </a:moveTo>
                    <a:lnTo>
                      <a:pt x="498" y="247"/>
                    </a:lnTo>
                    <a:lnTo>
                      <a:pt x="498" y="248"/>
                    </a:lnTo>
                    <a:lnTo>
                      <a:pt x="497" y="247"/>
                    </a:lnTo>
                    <a:lnTo>
                      <a:pt x="498" y="242"/>
                    </a:lnTo>
                    <a:lnTo>
                      <a:pt x="498" y="245"/>
                    </a:lnTo>
                    <a:close/>
                    <a:moveTo>
                      <a:pt x="531" y="208"/>
                    </a:moveTo>
                    <a:lnTo>
                      <a:pt x="531" y="209"/>
                    </a:lnTo>
                    <a:lnTo>
                      <a:pt x="529" y="209"/>
                    </a:lnTo>
                    <a:lnTo>
                      <a:pt x="531" y="208"/>
                    </a:lnTo>
                    <a:lnTo>
                      <a:pt x="529" y="208"/>
                    </a:lnTo>
                    <a:lnTo>
                      <a:pt x="531" y="206"/>
                    </a:lnTo>
                    <a:lnTo>
                      <a:pt x="531" y="208"/>
                    </a:lnTo>
                    <a:close/>
                    <a:moveTo>
                      <a:pt x="519" y="209"/>
                    </a:moveTo>
                    <a:lnTo>
                      <a:pt x="520" y="204"/>
                    </a:lnTo>
                    <a:lnTo>
                      <a:pt x="519" y="208"/>
                    </a:lnTo>
                    <a:lnTo>
                      <a:pt x="519" y="209"/>
                    </a:lnTo>
                    <a:close/>
                    <a:moveTo>
                      <a:pt x="507" y="401"/>
                    </a:moveTo>
                    <a:lnTo>
                      <a:pt x="510" y="401"/>
                    </a:lnTo>
                    <a:lnTo>
                      <a:pt x="507" y="401"/>
                    </a:lnTo>
                    <a:close/>
                    <a:moveTo>
                      <a:pt x="512" y="381"/>
                    </a:moveTo>
                    <a:lnTo>
                      <a:pt x="514" y="381"/>
                    </a:lnTo>
                    <a:lnTo>
                      <a:pt x="514" y="383"/>
                    </a:lnTo>
                    <a:lnTo>
                      <a:pt x="512" y="383"/>
                    </a:lnTo>
                    <a:lnTo>
                      <a:pt x="512" y="381"/>
                    </a:lnTo>
                    <a:close/>
                    <a:moveTo>
                      <a:pt x="522" y="359"/>
                    </a:moveTo>
                    <a:lnTo>
                      <a:pt x="524" y="359"/>
                    </a:lnTo>
                    <a:lnTo>
                      <a:pt x="522" y="359"/>
                    </a:lnTo>
                    <a:close/>
                    <a:moveTo>
                      <a:pt x="520" y="202"/>
                    </a:moveTo>
                    <a:lnTo>
                      <a:pt x="520" y="204"/>
                    </a:lnTo>
                    <a:lnTo>
                      <a:pt x="520" y="202"/>
                    </a:lnTo>
                    <a:close/>
                    <a:moveTo>
                      <a:pt x="554" y="470"/>
                    </a:moveTo>
                    <a:lnTo>
                      <a:pt x="554" y="471"/>
                    </a:lnTo>
                    <a:lnTo>
                      <a:pt x="554" y="470"/>
                    </a:lnTo>
                    <a:close/>
                    <a:moveTo>
                      <a:pt x="517" y="223"/>
                    </a:moveTo>
                    <a:lnTo>
                      <a:pt x="519" y="223"/>
                    </a:lnTo>
                    <a:lnTo>
                      <a:pt x="517" y="223"/>
                    </a:lnTo>
                    <a:close/>
                    <a:moveTo>
                      <a:pt x="556" y="471"/>
                    </a:moveTo>
                    <a:lnTo>
                      <a:pt x="556" y="473"/>
                    </a:lnTo>
                    <a:lnTo>
                      <a:pt x="556" y="471"/>
                    </a:lnTo>
                    <a:close/>
                    <a:moveTo>
                      <a:pt x="526" y="354"/>
                    </a:moveTo>
                    <a:lnTo>
                      <a:pt x="526" y="356"/>
                    </a:lnTo>
                    <a:lnTo>
                      <a:pt x="526" y="354"/>
                    </a:lnTo>
                    <a:close/>
                    <a:moveTo>
                      <a:pt x="519" y="209"/>
                    </a:moveTo>
                    <a:lnTo>
                      <a:pt x="519" y="211"/>
                    </a:lnTo>
                    <a:lnTo>
                      <a:pt x="519" y="209"/>
                    </a:lnTo>
                    <a:close/>
                    <a:moveTo>
                      <a:pt x="503" y="276"/>
                    </a:moveTo>
                    <a:lnTo>
                      <a:pt x="503" y="277"/>
                    </a:lnTo>
                    <a:lnTo>
                      <a:pt x="503" y="276"/>
                    </a:lnTo>
                    <a:close/>
                    <a:moveTo>
                      <a:pt x="507" y="400"/>
                    </a:moveTo>
                    <a:lnTo>
                      <a:pt x="509" y="400"/>
                    </a:lnTo>
                    <a:lnTo>
                      <a:pt x="509" y="401"/>
                    </a:lnTo>
                    <a:lnTo>
                      <a:pt x="507" y="401"/>
                    </a:lnTo>
                    <a:lnTo>
                      <a:pt x="507" y="400"/>
                    </a:lnTo>
                    <a:close/>
                    <a:moveTo>
                      <a:pt x="527" y="352"/>
                    </a:moveTo>
                    <a:lnTo>
                      <a:pt x="529" y="352"/>
                    </a:lnTo>
                    <a:lnTo>
                      <a:pt x="529" y="354"/>
                    </a:lnTo>
                    <a:lnTo>
                      <a:pt x="527" y="354"/>
                    </a:lnTo>
                    <a:lnTo>
                      <a:pt x="527" y="352"/>
                    </a:lnTo>
                    <a:close/>
                    <a:moveTo>
                      <a:pt x="509" y="400"/>
                    </a:moveTo>
                    <a:lnTo>
                      <a:pt x="509" y="401"/>
                    </a:lnTo>
                    <a:lnTo>
                      <a:pt x="509" y="400"/>
                    </a:lnTo>
                    <a:close/>
                    <a:moveTo>
                      <a:pt x="500" y="289"/>
                    </a:moveTo>
                    <a:lnTo>
                      <a:pt x="500" y="291"/>
                    </a:lnTo>
                    <a:lnTo>
                      <a:pt x="500" y="289"/>
                    </a:lnTo>
                    <a:close/>
                    <a:moveTo>
                      <a:pt x="512" y="352"/>
                    </a:moveTo>
                    <a:lnTo>
                      <a:pt x="514" y="352"/>
                    </a:lnTo>
                    <a:lnTo>
                      <a:pt x="514" y="354"/>
                    </a:lnTo>
                    <a:lnTo>
                      <a:pt x="512" y="354"/>
                    </a:lnTo>
                    <a:lnTo>
                      <a:pt x="512" y="352"/>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76" name="Freeform 58">
                <a:extLst>
                  <a:ext uri="{FF2B5EF4-FFF2-40B4-BE49-F238E27FC236}">
                    <a16:creationId xmlns:a16="http://schemas.microsoft.com/office/drawing/2014/main" id="{3AD264DA-DBE3-4A9E-8298-3777F20FFC98}"/>
                  </a:ext>
                </a:extLst>
              </p:cNvPr>
              <p:cNvSpPr>
                <a:spLocks/>
              </p:cNvSpPr>
              <p:nvPr/>
            </p:nvSpPr>
            <p:spPr bwMode="gray">
              <a:xfrm>
                <a:off x="4564063" y="2557463"/>
                <a:ext cx="157162" cy="404813"/>
              </a:xfrm>
              <a:custGeom>
                <a:avLst/>
                <a:gdLst>
                  <a:gd name="T0" fmla="*/ 48 w 99"/>
                  <a:gd name="T1" fmla="*/ 29 h 255"/>
                  <a:gd name="T2" fmla="*/ 77 w 99"/>
                  <a:gd name="T3" fmla="*/ 58 h 255"/>
                  <a:gd name="T4" fmla="*/ 79 w 99"/>
                  <a:gd name="T5" fmla="*/ 83 h 255"/>
                  <a:gd name="T6" fmla="*/ 90 w 99"/>
                  <a:gd name="T7" fmla="*/ 104 h 255"/>
                  <a:gd name="T8" fmla="*/ 92 w 99"/>
                  <a:gd name="T9" fmla="*/ 134 h 255"/>
                  <a:gd name="T10" fmla="*/ 90 w 99"/>
                  <a:gd name="T11" fmla="*/ 168 h 255"/>
                  <a:gd name="T12" fmla="*/ 92 w 99"/>
                  <a:gd name="T13" fmla="*/ 185 h 255"/>
                  <a:gd name="T14" fmla="*/ 87 w 99"/>
                  <a:gd name="T15" fmla="*/ 209 h 255"/>
                  <a:gd name="T16" fmla="*/ 89 w 99"/>
                  <a:gd name="T17" fmla="*/ 221 h 255"/>
                  <a:gd name="T18" fmla="*/ 89 w 99"/>
                  <a:gd name="T19" fmla="*/ 224 h 255"/>
                  <a:gd name="T20" fmla="*/ 89 w 99"/>
                  <a:gd name="T21" fmla="*/ 230 h 255"/>
                  <a:gd name="T22" fmla="*/ 94 w 99"/>
                  <a:gd name="T23" fmla="*/ 235 h 255"/>
                  <a:gd name="T24" fmla="*/ 99 w 99"/>
                  <a:gd name="T25" fmla="*/ 242 h 255"/>
                  <a:gd name="T26" fmla="*/ 90 w 99"/>
                  <a:gd name="T27" fmla="*/ 248 h 255"/>
                  <a:gd name="T28" fmla="*/ 68 w 99"/>
                  <a:gd name="T29" fmla="*/ 252 h 255"/>
                  <a:gd name="T30" fmla="*/ 58 w 99"/>
                  <a:gd name="T31" fmla="*/ 243 h 255"/>
                  <a:gd name="T32" fmla="*/ 46 w 99"/>
                  <a:gd name="T33" fmla="*/ 238 h 255"/>
                  <a:gd name="T34" fmla="*/ 43 w 99"/>
                  <a:gd name="T35" fmla="*/ 230 h 255"/>
                  <a:gd name="T36" fmla="*/ 38 w 99"/>
                  <a:gd name="T37" fmla="*/ 221 h 255"/>
                  <a:gd name="T38" fmla="*/ 34 w 99"/>
                  <a:gd name="T39" fmla="*/ 213 h 255"/>
                  <a:gd name="T40" fmla="*/ 38 w 99"/>
                  <a:gd name="T41" fmla="*/ 207 h 255"/>
                  <a:gd name="T42" fmla="*/ 41 w 99"/>
                  <a:gd name="T43" fmla="*/ 194 h 255"/>
                  <a:gd name="T44" fmla="*/ 34 w 99"/>
                  <a:gd name="T45" fmla="*/ 187 h 255"/>
                  <a:gd name="T46" fmla="*/ 38 w 99"/>
                  <a:gd name="T47" fmla="*/ 175 h 255"/>
                  <a:gd name="T48" fmla="*/ 38 w 99"/>
                  <a:gd name="T49" fmla="*/ 155 h 255"/>
                  <a:gd name="T50" fmla="*/ 39 w 99"/>
                  <a:gd name="T51" fmla="*/ 148 h 255"/>
                  <a:gd name="T52" fmla="*/ 43 w 99"/>
                  <a:gd name="T53" fmla="*/ 139 h 255"/>
                  <a:gd name="T54" fmla="*/ 34 w 99"/>
                  <a:gd name="T55" fmla="*/ 131 h 255"/>
                  <a:gd name="T56" fmla="*/ 28 w 99"/>
                  <a:gd name="T57" fmla="*/ 119 h 255"/>
                  <a:gd name="T58" fmla="*/ 33 w 99"/>
                  <a:gd name="T59" fmla="*/ 119 h 255"/>
                  <a:gd name="T60" fmla="*/ 31 w 99"/>
                  <a:gd name="T61" fmla="*/ 105 h 255"/>
                  <a:gd name="T62" fmla="*/ 34 w 99"/>
                  <a:gd name="T63" fmla="*/ 95 h 255"/>
                  <a:gd name="T64" fmla="*/ 36 w 99"/>
                  <a:gd name="T65" fmla="*/ 87 h 255"/>
                  <a:gd name="T66" fmla="*/ 26 w 99"/>
                  <a:gd name="T67" fmla="*/ 83 h 255"/>
                  <a:gd name="T68" fmla="*/ 19 w 99"/>
                  <a:gd name="T69" fmla="*/ 85 h 255"/>
                  <a:gd name="T70" fmla="*/ 22 w 99"/>
                  <a:gd name="T71" fmla="*/ 82 h 255"/>
                  <a:gd name="T72" fmla="*/ 28 w 99"/>
                  <a:gd name="T73" fmla="*/ 78 h 255"/>
                  <a:gd name="T74" fmla="*/ 22 w 99"/>
                  <a:gd name="T75" fmla="*/ 73 h 255"/>
                  <a:gd name="T76" fmla="*/ 24 w 99"/>
                  <a:gd name="T77" fmla="*/ 71 h 255"/>
                  <a:gd name="T78" fmla="*/ 28 w 99"/>
                  <a:gd name="T79" fmla="*/ 61 h 255"/>
                  <a:gd name="T80" fmla="*/ 29 w 99"/>
                  <a:gd name="T81" fmla="*/ 54 h 255"/>
                  <a:gd name="T82" fmla="*/ 24 w 99"/>
                  <a:gd name="T83" fmla="*/ 42 h 255"/>
                  <a:gd name="T84" fmla="*/ 22 w 99"/>
                  <a:gd name="T85" fmla="*/ 36 h 255"/>
                  <a:gd name="T86" fmla="*/ 14 w 99"/>
                  <a:gd name="T87" fmla="*/ 32 h 255"/>
                  <a:gd name="T88" fmla="*/ 4 w 99"/>
                  <a:gd name="T89" fmla="*/ 22 h 255"/>
                  <a:gd name="T90" fmla="*/ 7 w 99"/>
                  <a:gd name="T91" fmla="*/ 8 h 255"/>
                  <a:gd name="T92" fmla="*/ 4 w 99"/>
                  <a:gd name="T93" fmla="*/ 3 h 255"/>
                  <a:gd name="T94" fmla="*/ 33 w 99"/>
                  <a:gd name="T95" fmla="*/ 7 h 255"/>
                  <a:gd name="T96" fmla="*/ 41 w 99"/>
                  <a:gd name="T97" fmla="*/ 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255">
                    <a:moveTo>
                      <a:pt x="55" y="7"/>
                    </a:moveTo>
                    <a:lnTo>
                      <a:pt x="53" y="17"/>
                    </a:lnTo>
                    <a:lnTo>
                      <a:pt x="48" y="20"/>
                    </a:lnTo>
                    <a:lnTo>
                      <a:pt x="48" y="29"/>
                    </a:lnTo>
                    <a:lnTo>
                      <a:pt x="48" y="32"/>
                    </a:lnTo>
                    <a:lnTo>
                      <a:pt x="48" y="37"/>
                    </a:lnTo>
                    <a:lnTo>
                      <a:pt x="58" y="48"/>
                    </a:lnTo>
                    <a:lnTo>
                      <a:pt x="77" y="58"/>
                    </a:lnTo>
                    <a:lnTo>
                      <a:pt x="77" y="75"/>
                    </a:lnTo>
                    <a:lnTo>
                      <a:pt x="75" y="82"/>
                    </a:lnTo>
                    <a:lnTo>
                      <a:pt x="77" y="83"/>
                    </a:lnTo>
                    <a:lnTo>
                      <a:pt x="79" y="83"/>
                    </a:lnTo>
                    <a:lnTo>
                      <a:pt x="80" y="92"/>
                    </a:lnTo>
                    <a:lnTo>
                      <a:pt x="82" y="95"/>
                    </a:lnTo>
                    <a:lnTo>
                      <a:pt x="87" y="100"/>
                    </a:lnTo>
                    <a:lnTo>
                      <a:pt x="90" y="104"/>
                    </a:lnTo>
                    <a:lnTo>
                      <a:pt x="90" y="107"/>
                    </a:lnTo>
                    <a:lnTo>
                      <a:pt x="90" y="129"/>
                    </a:lnTo>
                    <a:lnTo>
                      <a:pt x="90" y="133"/>
                    </a:lnTo>
                    <a:lnTo>
                      <a:pt x="92" y="134"/>
                    </a:lnTo>
                    <a:lnTo>
                      <a:pt x="90" y="136"/>
                    </a:lnTo>
                    <a:lnTo>
                      <a:pt x="90" y="141"/>
                    </a:lnTo>
                    <a:lnTo>
                      <a:pt x="90" y="150"/>
                    </a:lnTo>
                    <a:lnTo>
                      <a:pt x="90" y="168"/>
                    </a:lnTo>
                    <a:lnTo>
                      <a:pt x="90" y="175"/>
                    </a:lnTo>
                    <a:lnTo>
                      <a:pt x="92" y="179"/>
                    </a:lnTo>
                    <a:lnTo>
                      <a:pt x="92" y="182"/>
                    </a:lnTo>
                    <a:lnTo>
                      <a:pt x="92" y="185"/>
                    </a:lnTo>
                    <a:lnTo>
                      <a:pt x="90" y="185"/>
                    </a:lnTo>
                    <a:lnTo>
                      <a:pt x="90" y="189"/>
                    </a:lnTo>
                    <a:lnTo>
                      <a:pt x="90" y="211"/>
                    </a:lnTo>
                    <a:lnTo>
                      <a:pt x="87" y="209"/>
                    </a:lnTo>
                    <a:lnTo>
                      <a:pt x="89" y="214"/>
                    </a:lnTo>
                    <a:lnTo>
                      <a:pt x="89" y="218"/>
                    </a:lnTo>
                    <a:lnTo>
                      <a:pt x="89" y="219"/>
                    </a:lnTo>
                    <a:lnTo>
                      <a:pt x="89" y="221"/>
                    </a:lnTo>
                    <a:lnTo>
                      <a:pt x="90" y="221"/>
                    </a:lnTo>
                    <a:lnTo>
                      <a:pt x="90" y="223"/>
                    </a:lnTo>
                    <a:lnTo>
                      <a:pt x="89" y="223"/>
                    </a:lnTo>
                    <a:lnTo>
                      <a:pt x="89" y="224"/>
                    </a:lnTo>
                    <a:lnTo>
                      <a:pt x="87" y="226"/>
                    </a:lnTo>
                    <a:lnTo>
                      <a:pt x="90" y="228"/>
                    </a:lnTo>
                    <a:lnTo>
                      <a:pt x="89" y="228"/>
                    </a:lnTo>
                    <a:lnTo>
                      <a:pt x="89" y="230"/>
                    </a:lnTo>
                    <a:lnTo>
                      <a:pt x="92" y="231"/>
                    </a:lnTo>
                    <a:lnTo>
                      <a:pt x="92" y="233"/>
                    </a:lnTo>
                    <a:lnTo>
                      <a:pt x="94" y="233"/>
                    </a:lnTo>
                    <a:lnTo>
                      <a:pt x="94" y="235"/>
                    </a:lnTo>
                    <a:lnTo>
                      <a:pt x="97" y="236"/>
                    </a:lnTo>
                    <a:lnTo>
                      <a:pt x="97" y="238"/>
                    </a:lnTo>
                    <a:lnTo>
                      <a:pt x="97" y="240"/>
                    </a:lnTo>
                    <a:lnTo>
                      <a:pt x="99" y="242"/>
                    </a:lnTo>
                    <a:lnTo>
                      <a:pt x="97" y="243"/>
                    </a:lnTo>
                    <a:lnTo>
                      <a:pt x="99" y="245"/>
                    </a:lnTo>
                    <a:lnTo>
                      <a:pt x="99" y="247"/>
                    </a:lnTo>
                    <a:lnTo>
                      <a:pt x="90" y="248"/>
                    </a:lnTo>
                    <a:lnTo>
                      <a:pt x="77" y="252"/>
                    </a:lnTo>
                    <a:lnTo>
                      <a:pt x="73" y="253"/>
                    </a:lnTo>
                    <a:lnTo>
                      <a:pt x="68" y="255"/>
                    </a:lnTo>
                    <a:lnTo>
                      <a:pt x="68" y="252"/>
                    </a:lnTo>
                    <a:lnTo>
                      <a:pt x="63" y="252"/>
                    </a:lnTo>
                    <a:lnTo>
                      <a:pt x="62" y="250"/>
                    </a:lnTo>
                    <a:lnTo>
                      <a:pt x="60" y="248"/>
                    </a:lnTo>
                    <a:lnTo>
                      <a:pt x="58" y="243"/>
                    </a:lnTo>
                    <a:lnTo>
                      <a:pt x="53" y="243"/>
                    </a:lnTo>
                    <a:lnTo>
                      <a:pt x="51" y="242"/>
                    </a:lnTo>
                    <a:lnTo>
                      <a:pt x="48" y="240"/>
                    </a:lnTo>
                    <a:lnTo>
                      <a:pt x="46" y="238"/>
                    </a:lnTo>
                    <a:lnTo>
                      <a:pt x="45" y="233"/>
                    </a:lnTo>
                    <a:lnTo>
                      <a:pt x="46" y="231"/>
                    </a:lnTo>
                    <a:lnTo>
                      <a:pt x="43" y="231"/>
                    </a:lnTo>
                    <a:lnTo>
                      <a:pt x="43" y="230"/>
                    </a:lnTo>
                    <a:lnTo>
                      <a:pt x="41" y="230"/>
                    </a:lnTo>
                    <a:lnTo>
                      <a:pt x="39" y="228"/>
                    </a:lnTo>
                    <a:lnTo>
                      <a:pt x="41" y="223"/>
                    </a:lnTo>
                    <a:lnTo>
                      <a:pt x="38" y="221"/>
                    </a:lnTo>
                    <a:lnTo>
                      <a:pt x="36" y="219"/>
                    </a:lnTo>
                    <a:lnTo>
                      <a:pt x="34" y="218"/>
                    </a:lnTo>
                    <a:lnTo>
                      <a:pt x="36" y="214"/>
                    </a:lnTo>
                    <a:lnTo>
                      <a:pt x="34" y="213"/>
                    </a:lnTo>
                    <a:lnTo>
                      <a:pt x="34" y="211"/>
                    </a:lnTo>
                    <a:lnTo>
                      <a:pt x="36" y="211"/>
                    </a:lnTo>
                    <a:lnTo>
                      <a:pt x="38" y="209"/>
                    </a:lnTo>
                    <a:lnTo>
                      <a:pt x="38" y="207"/>
                    </a:lnTo>
                    <a:lnTo>
                      <a:pt x="39" y="206"/>
                    </a:lnTo>
                    <a:lnTo>
                      <a:pt x="38" y="202"/>
                    </a:lnTo>
                    <a:lnTo>
                      <a:pt x="39" y="201"/>
                    </a:lnTo>
                    <a:lnTo>
                      <a:pt x="41" y="194"/>
                    </a:lnTo>
                    <a:lnTo>
                      <a:pt x="41" y="190"/>
                    </a:lnTo>
                    <a:lnTo>
                      <a:pt x="39" y="189"/>
                    </a:lnTo>
                    <a:lnTo>
                      <a:pt x="36" y="190"/>
                    </a:lnTo>
                    <a:lnTo>
                      <a:pt x="34" y="187"/>
                    </a:lnTo>
                    <a:lnTo>
                      <a:pt x="34" y="185"/>
                    </a:lnTo>
                    <a:lnTo>
                      <a:pt x="34" y="180"/>
                    </a:lnTo>
                    <a:lnTo>
                      <a:pt x="38" y="179"/>
                    </a:lnTo>
                    <a:lnTo>
                      <a:pt x="38" y="175"/>
                    </a:lnTo>
                    <a:lnTo>
                      <a:pt x="39" y="173"/>
                    </a:lnTo>
                    <a:lnTo>
                      <a:pt x="39" y="172"/>
                    </a:lnTo>
                    <a:lnTo>
                      <a:pt x="39" y="170"/>
                    </a:lnTo>
                    <a:lnTo>
                      <a:pt x="38" y="155"/>
                    </a:lnTo>
                    <a:lnTo>
                      <a:pt x="38" y="153"/>
                    </a:lnTo>
                    <a:lnTo>
                      <a:pt x="39" y="151"/>
                    </a:lnTo>
                    <a:lnTo>
                      <a:pt x="38" y="150"/>
                    </a:lnTo>
                    <a:lnTo>
                      <a:pt x="39" y="148"/>
                    </a:lnTo>
                    <a:lnTo>
                      <a:pt x="41" y="146"/>
                    </a:lnTo>
                    <a:lnTo>
                      <a:pt x="45" y="145"/>
                    </a:lnTo>
                    <a:lnTo>
                      <a:pt x="45" y="143"/>
                    </a:lnTo>
                    <a:lnTo>
                      <a:pt x="43" y="139"/>
                    </a:lnTo>
                    <a:lnTo>
                      <a:pt x="41" y="138"/>
                    </a:lnTo>
                    <a:lnTo>
                      <a:pt x="41" y="134"/>
                    </a:lnTo>
                    <a:lnTo>
                      <a:pt x="36" y="133"/>
                    </a:lnTo>
                    <a:lnTo>
                      <a:pt x="34" y="131"/>
                    </a:lnTo>
                    <a:lnTo>
                      <a:pt x="33" y="129"/>
                    </a:lnTo>
                    <a:lnTo>
                      <a:pt x="31" y="129"/>
                    </a:lnTo>
                    <a:lnTo>
                      <a:pt x="28" y="121"/>
                    </a:lnTo>
                    <a:lnTo>
                      <a:pt x="28" y="119"/>
                    </a:lnTo>
                    <a:lnTo>
                      <a:pt x="29" y="119"/>
                    </a:lnTo>
                    <a:lnTo>
                      <a:pt x="31" y="117"/>
                    </a:lnTo>
                    <a:lnTo>
                      <a:pt x="31" y="119"/>
                    </a:lnTo>
                    <a:lnTo>
                      <a:pt x="33" y="119"/>
                    </a:lnTo>
                    <a:lnTo>
                      <a:pt x="33" y="117"/>
                    </a:lnTo>
                    <a:lnTo>
                      <a:pt x="34" y="116"/>
                    </a:lnTo>
                    <a:lnTo>
                      <a:pt x="34" y="112"/>
                    </a:lnTo>
                    <a:lnTo>
                      <a:pt x="31" y="105"/>
                    </a:lnTo>
                    <a:lnTo>
                      <a:pt x="33" y="102"/>
                    </a:lnTo>
                    <a:lnTo>
                      <a:pt x="33" y="100"/>
                    </a:lnTo>
                    <a:lnTo>
                      <a:pt x="34" y="99"/>
                    </a:lnTo>
                    <a:lnTo>
                      <a:pt x="34" y="95"/>
                    </a:lnTo>
                    <a:lnTo>
                      <a:pt x="36" y="94"/>
                    </a:lnTo>
                    <a:lnTo>
                      <a:pt x="36" y="92"/>
                    </a:lnTo>
                    <a:lnTo>
                      <a:pt x="36" y="88"/>
                    </a:lnTo>
                    <a:lnTo>
                      <a:pt x="36" y="87"/>
                    </a:lnTo>
                    <a:lnTo>
                      <a:pt x="33" y="87"/>
                    </a:lnTo>
                    <a:lnTo>
                      <a:pt x="33" y="83"/>
                    </a:lnTo>
                    <a:lnTo>
                      <a:pt x="31" y="83"/>
                    </a:lnTo>
                    <a:lnTo>
                      <a:pt x="26" y="83"/>
                    </a:lnTo>
                    <a:lnTo>
                      <a:pt x="26" y="85"/>
                    </a:lnTo>
                    <a:lnTo>
                      <a:pt x="22" y="87"/>
                    </a:lnTo>
                    <a:lnTo>
                      <a:pt x="21" y="87"/>
                    </a:lnTo>
                    <a:lnTo>
                      <a:pt x="19" y="85"/>
                    </a:lnTo>
                    <a:lnTo>
                      <a:pt x="19" y="83"/>
                    </a:lnTo>
                    <a:lnTo>
                      <a:pt x="21" y="85"/>
                    </a:lnTo>
                    <a:lnTo>
                      <a:pt x="24" y="83"/>
                    </a:lnTo>
                    <a:lnTo>
                      <a:pt x="22" y="82"/>
                    </a:lnTo>
                    <a:lnTo>
                      <a:pt x="21" y="82"/>
                    </a:lnTo>
                    <a:lnTo>
                      <a:pt x="21" y="80"/>
                    </a:lnTo>
                    <a:lnTo>
                      <a:pt x="26" y="80"/>
                    </a:lnTo>
                    <a:lnTo>
                      <a:pt x="28" y="78"/>
                    </a:lnTo>
                    <a:lnTo>
                      <a:pt x="26" y="76"/>
                    </a:lnTo>
                    <a:lnTo>
                      <a:pt x="22" y="78"/>
                    </a:lnTo>
                    <a:lnTo>
                      <a:pt x="21" y="75"/>
                    </a:lnTo>
                    <a:lnTo>
                      <a:pt x="22" y="73"/>
                    </a:lnTo>
                    <a:lnTo>
                      <a:pt x="24" y="75"/>
                    </a:lnTo>
                    <a:lnTo>
                      <a:pt x="26" y="75"/>
                    </a:lnTo>
                    <a:lnTo>
                      <a:pt x="26" y="73"/>
                    </a:lnTo>
                    <a:lnTo>
                      <a:pt x="24" y="71"/>
                    </a:lnTo>
                    <a:lnTo>
                      <a:pt x="24" y="68"/>
                    </a:lnTo>
                    <a:lnTo>
                      <a:pt x="26" y="66"/>
                    </a:lnTo>
                    <a:lnTo>
                      <a:pt x="26" y="63"/>
                    </a:lnTo>
                    <a:lnTo>
                      <a:pt x="28" y="61"/>
                    </a:lnTo>
                    <a:lnTo>
                      <a:pt x="26" y="58"/>
                    </a:lnTo>
                    <a:lnTo>
                      <a:pt x="26" y="56"/>
                    </a:lnTo>
                    <a:lnTo>
                      <a:pt x="29" y="56"/>
                    </a:lnTo>
                    <a:lnTo>
                      <a:pt x="29" y="54"/>
                    </a:lnTo>
                    <a:lnTo>
                      <a:pt x="26" y="53"/>
                    </a:lnTo>
                    <a:lnTo>
                      <a:pt x="26" y="44"/>
                    </a:lnTo>
                    <a:lnTo>
                      <a:pt x="28" y="42"/>
                    </a:lnTo>
                    <a:lnTo>
                      <a:pt x="24" y="42"/>
                    </a:lnTo>
                    <a:lnTo>
                      <a:pt x="24" y="41"/>
                    </a:lnTo>
                    <a:lnTo>
                      <a:pt x="22" y="39"/>
                    </a:lnTo>
                    <a:lnTo>
                      <a:pt x="22" y="37"/>
                    </a:lnTo>
                    <a:lnTo>
                      <a:pt x="22" y="36"/>
                    </a:lnTo>
                    <a:lnTo>
                      <a:pt x="21" y="37"/>
                    </a:lnTo>
                    <a:lnTo>
                      <a:pt x="19" y="36"/>
                    </a:lnTo>
                    <a:lnTo>
                      <a:pt x="17" y="37"/>
                    </a:lnTo>
                    <a:lnTo>
                      <a:pt x="14" y="32"/>
                    </a:lnTo>
                    <a:lnTo>
                      <a:pt x="11" y="31"/>
                    </a:lnTo>
                    <a:lnTo>
                      <a:pt x="11" y="27"/>
                    </a:lnTo>
                    <a:lnTo>
                      <a:pt x="4" y="25"/>
                    </a:lnTo>
                    <a:lnTo>
                      <a:pt x="4" y="22"/>
                    </a:lnTo>
                    <a:lnTo>
                      <a:pt x="4" y="19"/>
                    </a:lnTo>
                    <a:lnTo>
                      <a:pt x="7" y="17"/>
                    </a:lnTo>
                    <a:lnTo>
                      <a:pt x="7" y="15"/>
                    </a:lnTo>
                    <a:lnTo>
                      <a:pt x="7" y="8"/>
                    </a:lnTo>
                    <a:lnTo>
                      <a:pt x="9" y="8"/>
                    </a:lnTo>
                    <a:lnTo>
                      <a:pt x="9" y="3"/>
                    </a:lnTo>
                    <a:lnTo>
                      <a:pt x="7" y="2"/>
                    </a:lnTo>
                    <a:lnTo>
                      <a:pt x="4" y="3"/>
                    </a:lnTo>
                    <a:lnTo>
                      <a:pt x="0" y="2"/>
                    </a:lnTo>
                    <a:lnTo>
                      <a:pt x="0" y="0"/>
                    </a:lnTo>
                    <a:lnTo>
                      <a:pt x="11" y="2"/>
                    </a:lnTo>
                    <a:lnTo>
                      <a:pt x="33" y="7"/>
                    </a:lnTo>
                    <a:lnTo>
                      <a:pt x="33" y="8"/>
                    </a:lnTo>
                    <a:lnTo>
                      <a:pt x="34" y="8"/>
                    </a:lnTo>
                    <a:lnTo>
                      <a:pt x="33" y="10"/>
                    </a:lnTo>
                    <a:lnTo>
                      <a:pt x="41" y="7"/>
                    </a:lnTo>
                    <a:lnTo>
                      <a:pt x="55" y="7"/>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77" name="Freeform 59">
                <a:extLst>
                  <a:ext uri="{FF2B5EF4-FFF2-40B4-BE49-F238E27FC236}">
                    <a16:creationId xmlns:a16="http://schemas.microsoft.com/office/drawing/2014/main" id="{CBF5892C-830C-426D-B8E1-C238FC65D107}"/>
                  </a:ext>
                </a:extLst>
              </p:cNvPr>
              <p:cNvSpPr>
                <a:spLocks noEditPoints="1"/>
              </p:cNvSpPr>
              <p:nvPr/>
            </p:nvSpPr>
            <p:spPr bwMode="gray">
              <a:xfrm>
                <a:off x="5183188" y="434975"/>
                <a:ext cx="325437" cy="585788"/>
              </a:xfrm>
              <a:custGeom>
                <a:avLst/>
                <a:gdLst>
                  <a:gd name="T0" fmla="*/ 200 w 205"/>
                  <a:gd name="T1" fmla="*/ 247 h 369"/>
                  <a:gd name="T2" fmla="*/ 183 w 205"/>
                  <a:gd name="T3" fmla="*/ 267 h 369"/>
                  <a:gd name="T4" fmla="*/ 156 w 205"/>
                  <a:gd name="T5" fmla="*/ 282 h 369"/>
                  <a:gd name="T6" fmla="*/ 144 w 205"/>
                  <a:gd name="T7" fmla="*/ 292 h 369"/>
                  <a:gd name="T8" fmla="*/ 137 w 205"/>
                  <a:gd name="T9" fmla="*/ 340 h 369"/>
                  <a:gd name="T10" fmla="*/ 119 w 205"/>
                  <a:gd name="T11" fmla="*/ 364 h 369"/>
                  <a:gd name="T12" fmla="*/ 39 w 205"/>
                  <a:gd name="T13" fmla="*/ 238 h 369"/>
                  <a:gd name="T14" fmla="*/ 10 w 205"/>
                  <a:gd name="T15" fmla="*/ 216 h 369"/>
                  <a:gd name="T16" fmla="*/ 3 w 205"/>
                  <a:gd name="T17" fmla="*/ 192 h 369"/>
                  <a:gd name="T18" fmla="*/ 0 w 205"/>
                  <a:gd name="T19" fmla="*/ 175 h 369"/>
                  <a:gd name="T20" fmla="*/ 20 w 205"/>
                  <a:gd name="T21" fmla="*/ 158 h 369"/>
                  <a:gd name="T22" fmla="*/ 34 w 205"/>
                  <a:gd name="T23" fmla="*/ 148 h 369"/>
                  <a:gd name="T24" fmla="*/ 37 w 205"/>
                  <a:gd name="T25" fmla="*/ 139 h 369"/>
                  <a:gd name="T26" fmla="*/ 44 w 205"/>
                  <a:gd name="T27" fmla="*/ 121 h 369"/>
                  <a:gd name="T28" fmla="*/ 39 w 205"/>
                  <a:gd name="T29" fmla="*/ 107 h 369"/>
                  <a:gd name="T30" fmla="*/ 37 w 205"/>
                  <a:gd name="T31" fmla="*/ 87 h 369"/>
                  <a:gd name="T32" fmla="*/ 39 w 205"/>
                  <a:gd name="T33" fmla="*/ 75 h 369"/>
                  <a:gd name="T34" fmla="*/ 42 w 205"/>
                  <a:gd name="T35" fmla="*/ 59 h 369"/>
                  <a:gd name="T36" fmla="*/ 30 w 205"/>
                  <a:gd name="T37" fmla="*/ 53 h 369"/>
                  <a:gd name="T38" fmla="*/ 47 w 205"/>
                  <a:gd name="T39" fmla="*/ 42 h 369"/>
                  <a:gd name="T40" fmla="*/ 57 w 205"/>
                  <a:gd name="T41" fmla="*/ 34 h 369"/>
                  <a:gd name="T42" fmla="*/ 61 w 205"/>
                  <a:gd name="T43" fmla="*/ 29 h 369"/>
                  <a:gd name="T44" fmla="*/ 80 w 205"/>
                  <a:gd name="T45" fmla="*/ 19 h 369"/>
                  <a:gd name="T46" fmla="*/ 102 w 205"/>
                  <a:gd name="T47" fmla="*/ 12 h 369"/>
                  <a:gd name="T48" fmla="*/ 117 w 205"/>
                  <a:gd name="T49" fmla="*/ 10 h 369"/>
                  <a:gd name="T50" fmla="*/ 120 w 205"/>
                  <a:gd name="T51" fmla="*/ 15 h 369"/>
                  <a:gd name="T52" fmla="*/ 132 w 205"/>
                  <a:gd name="T53" fmla="*/ 15 h 369"/>
                  <a:gd name="T54" fmla="*/ 136 w 205"/>
                  <a:gd name="T55" fmla="*/ 20 h 369"/>
                  <a:gd name="T56" fmla="*/ 134 w 205"/>
                  <a:gd name="T57" fmla="*/ 22 h 369"/>
                  <a:gd name="T58" fmla="*/ 139 w 205"/>
                  <a:gd name="T59" fmla="*/ 37 h 369"/>
                  <a:gd name="T60" fmla="*/ 154 w 205"/>
                  <a:gd name="T61" fmla="*/ 32 h 369"/>
                  <a:gd name="T62" fmla="*/ 176 w 205"/>
                  <a:gd name="T63" fmla="*/ 22 h 369"/>
                  <a:gd name="T64" fmla="*/ 181 w 205"/>
                  <a:gd name="T65" fmla="*/ 36 h 369"/>
                  <a:gd name="T66" fmla="*/ 154 w 205"/>
                  <a:gd name="T67" fmla="*/ 58 h 369"/>
                  <a:gd name="T68" fmla="*/ 151 w 205"/>
                  <a:gd name="T69" fmla="*/ 78 h 369"/>
                  <a:gd name="T70" fmla="*/ 178 w 205"/>
                  <a:gd name="T71" fmla="*/ 97 h 369"/>
                  <a:gd name="T72" fmla="*/ 176 w 205"/>
                  <a:gd name="T73" fmla="*/ 110 h 369"/>
                  <a:gd name="T74" fmla="*/ 176 w 205"/>
                  <a:gd name="T75" fmla="*/ 122 h 369"/>
                  <a:gd name="T76" fmla="*/ 168 w 205"/>
                  <a:gd name="T77" fmla="*/ 138 h 369"/>
                  <a:gd name="T78" fmla="*/ 159 w 205"/>
                  <a:gd name="T79" fmla="*/ 146 h 369"/>
                  <a:gd name="T80" fmla="*/ 142 w 205"/>
                  <a:gd name="T81" fmla="*/ 156 h 369"/>
                  <a:gd name="T82" fmla="*/ 136 w 205"/>
                  <a:gd name="T83" fmla="*/ 162 h 369"/>
                  <a:gd name="T84" fmla="*/ 127 w 205"/>
                  <a:gd name="T85" fmla="*/ 180 h 369"/>
                  <a:gd name="T86" fmla="*/ 161 w 205"/>
                  <a:gd name="T87" fmla="*/ 194 h 369"/>
                  <a:gd name="T88" fmla="*/ 171 w 205"/>
                  <a:gd name="T89" fmla="*/ 202 h 369"/>
                  <a:gd name="T90" fmla="*/ 178 w 205"/>
                  <a:gd name="T91" fmla="*/ 197 h 369"/>
                  <a:gd name="T92" fmla="*/ 190 w 205"/>
                  <a:gd name="T93" fmla="*/ 216 h 369"/>
                  <a:gd name="T94" fmla="*/ 197 w 205"/>
                  <a:gd name="T95" fmla="*/ 221 h 369"/>
                  <a:gd name="T96" fmla="*/ 178 w 205"/>
                  <a:gd name="T97" fmla="*/ 187 h 369"/>
                  <a:gd name="T98" fmla="*/ 170 w 205"/>
                  <a:gd name="T99" fmla="*/ 196 h 369"/>
                  <a:gd name="T100" fmla="*/ 164 w 205"/>
                  <a:gd name="T101" fmla="*/ 194 h 369"/>
                  <a:gd name="T102" fmla="*/ 164 w 205"/>
                  <a:gd name="T103" fmla="*/ 184 h 369"/>
                  <a:gd name="T104" fmla="*/ 190 w 205"/>
                  <a:gd name="T105" fmla="*/ 139 h 369"/>
                  <a:gd name="T106" fmla="*/ 181 w 205"/>
                  <a:gd name="T107" fmla="*/ 143 h 369"/>
                  <a:gd name="T108" fmla="*/ 188 w 205"/>
                  <a:gd name="T109" fmla="*/ 139 h 369"/>
                  <a:gd name="T110" fmla="*/ 175 w 205"/>
                  <a:gd name="T111" fmla="*/ 144 h 369"/>
                  <a:gd name="T112" fmla="*/ 164 w 205"/>
                  <a:gd name="T113" fmla="*/ 19 h 369"/>
                  <a:gd name="T114" fmla="*/ 115 w 205"/>
                  <a:gd name="T115" fmla="*/ 15 h 369"/>
                  <a:gd name="T116" fmla="*/ 141 w 205"/>
                  <a:gd name="T117" fmla="*/ 160 h 369"/>
                  <a:gd name="T118" fmla="*/ 180 w 205"/>
                  <a:gd name="T119" fmla="*/ 209 h 369"/>
                  <a:gd name="T120" fmla="*/ 159 w 205"/>
                  <a:gd name="T121" fmla="*/ 192 h 369"/>
                  <a:gd name="T122" fmla="*/ 190 w 205"/>
                  <a:gd name="T123" fmla="*/ 138 h 369"/>
                  <a:gd name="T124" fmla="*/ 166 w 205"/>
                  <a:gd name="T125" fmla="*/ 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369">
                    <a:moveTo>
                      <a:pt x="204" y="221"/>
                    </a:moveTo>
                    <a:lnTo>
                      <a:pt x="202" y="226"/>
                    </a:lnTo>
                    <a:lnTo>
                      <a:pt x="202" y="230"/>
                    </a:lnTo>
                    <a:lnTo>
                      <a:pt x="200" y="235"/>
                    </a:lnTo>
                    <a:lnTo>
                      <a:pt x="200" y="236"/>
                    </a:lnTo>
                    <a:lnTo>
                      <a:pt x="200" y="247"/>
                    </a:lnTo>
                    <a:lnTo>
                      <a:pt x="200" y="248"/>
                    </a:lnTo>
                    <a:lnTo>
                      <a:pt x="205" y="252"/>
                    </a:lnTo>
                    <a:lnTo>
                      <a:pt x="205" y="257"/>
                    </a:lnTo>
                    <a:lnTo>
                      <a:pt x="204" y="260"/>
                    </a:lnTo>
                    <a:lnTo>
                      <a:pt x="193" y="264"/>
                    </a:lnTo>
                    <a:lnTo>
                      <a:pt x="183" y="267"/>
                    </a:lnTo>
                    <a:lnTo>
                      <a:pt x="173" y="270"/>
                    </a:lnTo>
                    <a:lnTo>
                      <a:pt x="168" y="275"/>
                    </a:lnTo>
                    <a:lnTo>
                      <a:pt x="164" y="281"/>
                    </a:lnTo>
                    <a:lnTo>
                      <a:pt x="161" y="282"/>
                    </a:lnTo>
                    <a:lnTo>
                      <a:pt x="158" y="281"/>
                    </a:lnTo>
                    <a:lnTo>
                      <a:pt x="156" y="282"/>
                    </a:lnTo>
                    <a:lnTo>
                      <a:pt x="156" y="284"/>
                    </a:lnTo>
                    <a:lnTo>
                      <a:pt x="156" y="286"/>
                    </a:lnTo>
                    <a:lnTo>
                      <a:pt x="153" y="291"/>
                    </a:lnTo>
                    <a:lnTo>
                      <a:pt x="151" y="292"/>
                    </a:lnTo>
                    <a:lnTo>
                      <a:pt x="147" y="294"/>
                    </a:lnTo>
                    <a:lnTo>
                      <a:pt x="144" y="292"/>
                    </a:lnTo>
                    <a:lnTo>
                      <a:pt x="139" y="296"/>
                    </a:lnTo>
                    <a:lnTo>
                      <a:pt x="130" y="306"/>
                    </a:lnTo>
                    <a:lnTo>
                      <a:pt x="139" y="327"/>
                    </a:lnTo>
                    <a:lnTo>
                      <a:pt x="137" y="328"/>
                    </a:lnTo>
                    <a:lnTo>
                      <a:pt x="139" y="335"/>
                    </a:lnTo>
                    <a:lnTo>
                      <a:pt x="137" y="340"/>
                    </a:lnTo>
                    <a:lnTo>
                      <a:pt x="136" y="345"/>
                    </a:lnTo>
                    <a:lnTo>
                      <a:pt x="132" y="347"/>
                    </a:lnTo>
                    <a:lnTo>
                      <a:pt x="125" y="355"/>
                    </a:lnTo>
                    <a:lnTo>
                      <a:pt x="125" y="357"/>
                    </a:lnTo>
                    <a:lnTo>
                      <a:pt x="120" y="362"/>
                    </a:lnTo>
                    <a:lnTo>
                      <a:pt x="119" y="364"/>
                    </a:lnTo>
                    <a:lnTo>
                      <a:pt x="115" y="364"/>
                    </a:lnTo>
                    <a:lnTo>
                      <a:pt x="102" y="369"/>
                    </a:lnTo>
                    <a:lnTo>
                      <a:pt x="98" y="354"/>
                    </a:lnTo>
                    <a:lnTo>
                      <a:pt x="78" y="275"/>
                    </a:lnTo>
                    <a:lnTo>
                      <a:pt x="40" y="255"/>
                    </a:lnTo>
                    <a:lnTo>
                      <a:pt x="39" y="238"/>
                    </a:lnTo>
                    <a:lnTo>
                      <a:pt x="27" y="226"/>
                    </a:lnTo>
                    <a:lnTo>
                      <a:pt x="29" y="224"/>
                    </a:lnTo>
                    <a:lnTo>
                      <a:pt x="25" y="224"/>
                    </a:lnTo>
                    <a:lnTo>
                      <a:pt x="18" y="221"/>
                    </a:lnTo>
                    <a:lnTo>
                      <a:pt x="13" y="221"/>
                    </a:lnTo>
                    <a:lnTo>
                      <a:pt x="10" y="216"/>
                    </a:lnTo>
                    <a:lnTo>
                      <a:pt x="10" y="207"/>
                    </a:lnTo>
                    <a:lnTo>
                      <a:pt x="5" y="201"/>
                    </a:lnTo>
                    <a:lnTo>
                      <a:pt x="3" y="197"/>
                    </a:lnTo>
                    <a:lnTo>
                      <a:pt x="3" y="194"/>
                    </a:lnTo>
                    <a:lnTo>
                      <a:pt x="1" y="192"/>
                    </a:lnTo>
                    <a:lnTo>
                      <a:pt x="3" y="192"/>
                    </a:lnTo>
                    <a:lnTo>
                      <a:pt x="0" y="189"/>
                    </a:lnTo>
                    <a:lnTo>
                      <a:pt x="0" y="187"/>
                    </a:lnTo>
                    <a:lnTo>
                      <a:pt x="0" y="184"/>
                    </a:lnTo>
                    <a:lnTo>
                      <a:pt x="0" y="182"/>
                    </a:lnTo>
                    <a:lnTo>
                      <a:pt x="0" y="179"/>
                    </a:lnTo>
                    <a:lnTo>
                      <a:pt x="0" y="175"/>
                    </a:lnTo>
                    <a:lnTo>
                      <a:pt x="3" y="173"/>
                    </a:lnTo>
                    <a:lnTo>
                      <a:pt x="5" y="168"/>
                    </a:lnTo>
                    <a:lnTo>
                      <a:pt x="13" y="168"/>
                    </a:lnTo>
                    <a:lnTo>
                      <a:pt x="15" y="162"/>
                    </a:lnTo>
                    <a:lnTo>
                      <a:pt x="15" y="158"/>
                    </a:lnTo>
                    <a:lnTo>
                      <a:pt x="20" y="158"/>
                    </a:lnTo>
                    <a:lnTo>
                      <a:pt x="25" y="153"/>
                    </a:lnTo>
                    <a:lnTo>
                      <a:pt x="29" y="153"/>
                    </a:lnTo>
                    <a:lnTo>
                      <a:pt x="32" y="151"/>
                    </a:lnTo>
                    <a:lnTo>
                      <a:pt x="32" y="150"/>
                    </a:lnTo>
                    <a:lnTo>
                      <a:pt x="34" y="150"/>
                    </a:lnTo>
                    <a:lnTo>
                      <a:pt x="34" y="148"/>
                    </a:lnTo>
                    <a:lnTo>
                      <a:pt x="35" y="148"/>
                    </a:lnTo>
                    <a:lnTo>
                      <a:pt x="35" y="146"/>
                    </a:lnTo>
                    <a:lnTo>
                      <a:pt x="37" y="146"/>
                    </a:lnTo>
                    <a:lnTo>
                      <a:pt x="35" y="144"/>
                    </a:lnTo>
                    <a:lnTo>
                      <a:pt x="39" y="141"/>
                    </a:lnTo>
                    <a:lnTo>
                      <a:pt x="37" y="139"/>
                    </a:lnTo>
                    <a:lnTo>
                      <a:pt x="37" y="136"/>
                    </a:lnTo>
                    <a:lnTo>
                      <a:pt x="35" y="133"/>
                    </a:lnTo>
                    <a:lnTo>
                      <a:pt x="39" y="131"/>
                    </a:lnTo>
                    <a:lnTo>
                      <a:pt x="39" y="127"/>
                    </a:lnTo>
                    <a:lnTo>
                      <a:pt x="40" y="122"/>
                    </a:lnTo>
                    <a:lnTo>
                      <a:pt x="44" y="121"/>
                    </a:lnTo>
                    <a:lnTo>
                      <a:pt x="47" y="116"/>
                    </a:lnTo>
                    <a:lnTo>
                      <a:pt x="44" y="116"/>
                    </a:lnTo>
                    <a:lnTo>
                      <a:pt x="39" y="114"/>
                    </a:lnTo>
                    <a:lnTo>
                      <a:pt x="39" y="112"/>
                    </a:lnTo>
                    <a:lnTo>
                      <a:pt x="40" y="107"/>
                    </a:lnTo>
                    <a:lnTo>
                      <a:pt x="39" y="107"/>
                    </a:lnTo>
                    <a:lnTo>
                      <a:pt x="40" y="105"/>
                    </a:lnTo>
                    <a:lnTo>
                      <a:pt x="42" y="104"/>
                    </a:lnTo>
                    <a:lnTo>
                      <a:pt x="40" y="102"/>
                    </a:lnTo>
                    <a:lnTo>
                      <a:pt x="40" y="95"/>
                    </a:lnTo>
                    <a:lnTo>
                      <a:pt x="35" y="92"/>
                    </a:lnTo>
                    <a:lnTo>
                      <a:pt x="37" y="87"/>
                    </a:lnTo>
                    <a:lnTo>
                      <a:pt x="37" y="83"/>
                    </a:lnTo>
                    <a:lnTo>
                      <a:pt x="35" y="83"/>
                    </a:lnTo>
                    <a:lnTo>
                      <a:pt x="37" y="82"/>
                    </a:lnTo>
                    <a:lnTo>
                      <a:pt x="35" y="82"/>
                    </a:lnTo>
                    <a:lnTo>
                      <a:pt x="37" y="80"/>
                    </a:lnTo>
                    <a:lnTo>
                      <a:pt x="39" y="75"/>
                    </a:lnTo>
                    <a:lnTo>
                      <a:pt x="40" y="71"/>
                    </a:lnTo>
                    <a:lnTo>
                      <a:pt x="39" y="68"/>
                    </a:lnTo>
                    <a:lnTo>
                      <a:pt x="40" y="66"/>
                    </a:lnTo>
                    <a:lnTo>
                      <a:pt x="40" y="65"/>
                    </a:lnTo>
                    <a:lnTo>
                      <a:pt x="42" y="61"/>
                    </a:lnTo>
                    <a:lnTo>
                      <a:pt x="42" y="59"/>
                    </a:lnTo>
                    <a:lnTo>
                      <a:pt x="44" y="56"/>
                    </a:lnTo>
                    <a:lnTo>
                      <a:pt x="40" y="54"/>
                    </a:lnTo>
                    <a:lnTo>
                      <a:pt x="39" y="56"/>
                    </a:lnTo>
                    <a:lnTo>
                      <a:pt x="34" y="54"/>
                    </a:lnTo>
                    <a:lnTo>
                      <a:pt x="32" y="54"/>
                    </a:lnTo>
                    <a:lnTo>
                      <a:pt x="30" y="53"/>
                    </a:lnTo>
                    <a:lnTo>
                      <a:pt x="32" y="51"/>
                    </a:lnTo>
                    <a:lnTo>
                      <a:pt x="37" y="49"/>
                    </a:lnTo>
                    <a:lnTo>
                      <a:pt x="44" y="46"/>
                    </a:lnTo>
                    <a:lnTo>
                      <a:pt x="46" y="46"/>
                    </a:lnTo>
                    <a:lnTo>
                      <a:pt x="46" y="44"/>
                    </a:lnTo>
                    <a:lnTo>
                      <a:pt x="47" y="42"/>
                    </a:lnTo>
                    <a:lnTo>
                      <a:pt x="47" y="39"/>
                    </a:lnTo>
                    <a:lnTo>
                      <a:pt x="46" y="39"/>
                    </a:lnTo>
                    <a:lnTo>
                      <a:pt x="47" y="37"/>
                    </a:lnTo>
                    <a:lnTo>
                      <a:pt x="52" y="37"/>
                    </a:lnTo>
                    <a:lnTo>
                      <a:pt x="57" y="36"/>
                    </a:lnTo>
                    <a:lnTo>
                      <a:pt x="57" y="34"/>
                    </a:lnTo>
                    <a:lnTo>
                      <a:pt x="54" y="34"/>
                    </a:lnTo>
                    <a:lnTo>
                      <a:pt x="56" y="32"/>
                    </a:lnTo>
                    <a:lnTo>
                      <a:pt x="56" y="31"/>
                    </a:lnTo>
                    <a:lnTo>
                      <a:pt x="56" y="29"/>
                    </a:lnTo>
                    <a:lnTo>
                      <a:pt x="59" y="29"/>
                    </a:lnTo>
                    <a:lnTo>
                      <a:pt x="61" y="29"/>
                    </a:lnTo>
                    <a:lnTo>
                      <a:pt x="63" y="29"/>
                    </a:lnTo>
                    <a:lnTo>
                      <a:pt x="66" y="27"/>
                    </a:lnTo>
                    <a:lnTo>
                      <a:pt x="71" y="24"/>
                    </a:lnTo>
                    <a:lnTo>
                      <a:pt x="73" y="22"/>
                    </a:lnTo>
                    <a:lnTo>
                      <a:pt x="74" y="20"/>
                    </a:lnTo>
                    <a:lnTo>
                      <a:pt x="80" y="19"/>
                    </a:lnTo>
                    <a:lnTo>
                      <a:pt x="85" y="15"/>
                    </a:lnTo>
                    <a:lnTo>
                      <a:pt x="86" y="15"/>
                    </a:lnTo>
                    <a:lnTo>
                      <a:pt x="90" y="15"/>
                    </a:lnTo>
                    <a:lnTo>
                      <a:pt x="93" y="14"/>
                    </a:lnTo>
                    <a:lnTo>
                      <a:pt x="97" y="14"/>
                    </a:lnTo>
                    <a:lnTo>
                      <a:pt x="102" y="12"/>
                    </a:lnTo>
                    <a:lnTo>
                      <a:pt x="103" y="12"/>
                    </a:lnTo>
                    <a:lnTo>
                      <a:pt x="107" y="10"/>
                    </a:lnTo>
                    <a:lnTo>
                      <a:pt x="110" y="10"/>
                    </a:lnTo>
                    <a:lnTo>
                      <a:pt x="112" y="8"/>
                    </a:lnTo>
                    <a:lnTo>
                      <a:pt x="113" y="10"/>
                    </a:lnTo>
                    <a:lnTo>
                      <a:pt x="117" y="10"/>
                    </a:lnTo>
                    <a:lnTo>
                      <a:pt x="119" y="12"/>
                    </a:lnTo>
                    <a:lnTo>
                      <a:pt x="112" y="15"/>
                    </a:lnTo>
                    <a:lnTo>
                      <a:pt x="115" y="20"/>
                    </a:lnTo>
                    <a:lnTo>
                      <a:pt x="117" y="20"/>
                    </a:lnTo>
                    <a:lnTo>
                      <a:pt x="120" y="19"/>
                    </a:lnTo>
                    <a:lnTo>
                      <a:pt x="120" y="15"/>
                    </a:lnTo>
                    <a:lnTo>
                      <a:pt x="115" y="15"/>
                    </a:lnTo>
                    <a:lnTo>
                      <a:pt x="119" y="14"/>
                    </a:lnTo>
                    <a:lnTo>
                      <a:pt x="124" y="14"/>
                    </a:lnTo>
                    <a:lnTo>
                      <a:pt x="127" y="14"/>
                    </a:lnTo>
                    <a:lnTo>
                      <a:pt x="129" y="15"/>
                    </a:lnTo>
                    <a:lnTo>
                      <a:pt x="132" y="15"/>
                    </a:lnTo>
                    <a:lnTo>
                      <a:pt x="136" y="17"/>
                    </a:lnTo>
                    <a:lnTo>
                      <a:pt x="139" y="17"/>
                    </a:lnTo>
                    <a:lnTo>
                      <a:pt x="136" y="19"/>
                    </a:lnTo>
                    <a:lnTo>
                      <a:pt x="132" y="19"/>
                    </a:lnTo>
                    <a:lnTo>
                      <a:pt x="130" y="19"/>
                    </a:lnTo>
                    <a:lnTo>
                      <a:pt x="136" y="20"/>
                    </a:lnTo>
                    <a:lnTo>
                      <a:pt x="134" y="20"/>
                    </a:lnTo>
                    <a:lnTo>
                      <a:pt x="136" y="19"/>
                    </a:lnTo>
                    <a:lnTo>
                      <a:pt x="136" y="20"/>
                    </a:lnTo>
                    <a:lnTo>
                      <a:pt x="136" y="22"/>
                    </a:lnTo>
                    <a:lnTo>
                      <a:pt x="136" y="20"/>
                    </a:lnTo>
                    <a:lnTo>
                      <a:pt x="134" y="22"/>
                    </a:lnTo>
                    <a:lnTo>
                      <a:pt x="134" y="25"/>
                    </a:lnTo>
                    <a:lnTo>
                      <a:pt x="136" y="29"/>
                    </a:lnTo>
                    <a:lnTo>
                      <a:pt x="141" y="31"/>
                    </a:lnTo>
                    <a:lnTo>
                      <a:pt x="141" y="32"/>
                    </a:lnTo>
                    <a:lnTo>
                      <a:pt x="142" y="32"/>
                    </a:lnTo>
                    <a:lnTo>
                      <a:pt x="139" y="37"/>
                    </a:lnTo>
                    <a:lnTo>
                      <a:pt x="141" y="39"/>
                    </a:lnTo>
                    <a:lnTo>
                      <a:pt x="144" y="41"/>
                    </a:lnTo>
                    <a:lnTo>
                      <a:pt x="146" y="41"/>
                    </a:lnTo>
                    <a:lnTo>
                      <a:pt x="151" y="39"/>
                    </a:lnTo>
                    <a:lnTo>
                      <a:pt x="154" y="34"/>
                    </a:lnTo>
                    <a:lnTo>
                      <a:pt x="154" y="32"/>
                    </a:lnTo>
                    <a:lnTo>
                      <a:pt x="159" y="32"/>
                    </a:lnTo>
                    <a:lnTo>
                      <a:pt x="163" y="32"/>
                    </a:lnTo>
                    <a:lnTo>
                      <a:pt x="170" y="27"/>
                    </a:lnTo>
                    <a:lnTo>
                      <a:pt x="170" y="24"/>
                    </a:lnTo>
                    <a:lnTo>
                      <a:pt x="173" y="24"/>
                    </a:lnTo>
                    <a:lnTo>
                      <a:pt x="176" y="22"/>
                    </a:lnTo>
                    <a:lnTo>
                      <a:pt x="178" y="24"/>
                    </a:lnTo>
                    <a:lnTo>
                      <a:pt x="178" y="25"/>
                    </a:lnTo>
                    <a:lnTo>
                      <a:pt x="180" y="29"/>
                    </a:lnTo>
                    <a:lnTo>
                      <a:pt x="180" y="32"/>
                    </a:lnTo>
                    <a:lnTo>
                      <a:pt x="181" y="32"/>
                    </a:lnTo>
                    <a:lnTo>
                      <a:pt x="181" y="36"/>
                    </a:lnTo>
                    <a:lnTo>
                      <a:pt x="178" y="36"/>
                    </a:lnTo>
                    <a:lnTo>
                      <a:pt x="173" y="41"/>
                    </a:lnTo>
                    <a:lnTo>
                      <a:pt x="164" y="54"/>
                    </a:lnTo>
                    <a:lnTo>
                      <a:pt x="159" y="56"/>
                    </a:lnTo>
                    <a:lnTo>
                      <a:pt x="156" y="58"/>
                    </a:lnTo>
                    <a:lnTo>
                      <a:pt x="154" y="58"/>
                    </a:lnTo>
                    <a:lnTo>
                      <a:pt x="153" y="58"/>
                    </a:lnTo>
                    <a:lnTo>
                      <a:pt x="149" y="65"/>
                    </a:lnTo>
                    <a:lnTo>
                      <a:pt x="147" y="71"/>
                    </a:lnTo>
                    <a:lnTo>
                      <a:pt x="149" y="75"/>
                    </a:lnTo>
                    <a:lnTo>
                      <a:pt x="151" y="76"/>
                    </a:lnTo>
                    <a:lnTo>
                      <a:pt x="151" y="78"/>
                    </a:lnTo>
                    <a:lnTo>
                      <a:pt x="158" y="87"/>
                    </a:lnTo>
                    <a:lnTo>
                      <a:pt x="161" y="88"/>
                    </a:lnTo>
                    <a:lnTo>
                      <a:pt x="166" y="88"/>
                    </a:lnTo>
                    <a:lnTo>
                      <a:pt x="166" y="90"/>
                    </a:lnTo>
                    <a:lnTo>
                      <a:pt x="166" y="92"/>
                    </a:lnTo>
                    <a:lnTo>
                      <a:pt x="178" y="97"/>
                    </a:lnTo>
                    <a:lnTo>
                      <a:pt x="176" y="100"/>
                    </a:lnTo>
                    <a:lnTo>
                      <a:pt x="178" y="102"/>
                    </a:lnTo>
                    <a:lnTo>
                      <a:pt x="180" y="102"/>
                    </a:lnTo>
                    <a:lnTo>
                      <a:pt x="178" y="104"/>
                    </a:lnTo>
                    <a:lnTo>
                      <a:pt x="176" y="105"/>
                    </a:lnTo>
                    <a:lnTo>
                      <a:pt x="176" y="110"/>
                    </a:lnTo>
                    <a:lnTo>
                      <a:pt x="180" y="114"/>
                    </a:lnTo>
                    <a:lnTo>
                      <a:pt x="183" y="116"/>
                    </a:lnTo>
                    <a:lnTo>
                      <a:pt x="181" y="117"/>
                    </a:lnTo>
                    <a:lnTo>
                      <a:pt x="180" y="119"/>
                    </a:lnTo>
                    <a:lnTo>
                      <a:pt x="178" y="121"/>
                    </a:lnTo>
                    <a:lnTo>
                      <a:pt x="176" y="122"/>
                    </a:lnTo>
                    <a:lnTo>
                      <a:pt x="176" y="126"/>
                    </a:lnTo>
                    <a:lnTo>
                      <a:pt x="175" y="127"/>
                    </a:lnTo>
                    <a:lnTo>
                      <a:pt x="171" y="129"/>
                    </a:lnTo>
                    <a:lnTo>
                      <a:pt x="171" y="134"/>
                    </a:lnTo>
                    <a:lnTo>
                      <a:pt x="168" y="136"/>
                    </a:lnTo>
                    <a:lnTo>
                      <a:pt x="168" y="138"/>
                    </a:lnTo>
                    <a:lnTo>
                      <a:pt x="163" y="141"/>
                    </a:lnTo>
                    <a:lnTo>
                      <a:pt x="164" y="143"/>
                    </a:lnTo>
                    <a:lnTo>
                      <a:pt x="163" y="141"/>
                    </a:lnTo>
                    <a:lnTo>
                      <a:pt x="163" y="143"/>
                    </a:lnTo>
                    <a:lnTo>
                      <a:pt x="161" y="146"/>
                    </a:lnTo>
                    <a:lnTo>
                      <a:pt x="159" y="146"/>
                    </a:lnTo>
                    <a:lnTo>
                      <a:pt x="158" y="146"/>
                    </a:lnTo>
                    <a:lnTo>
                      <a:pt x="154" y="150"/>
                    </a:lnTo>
                    <a:lnTo>
                      <a:pt x="154" y="151"/>
                    </a:lnTo>
                    <a:lnTo>
                      <a:pt x="147" y="153"/>
                    </a:lnTo>
                    <a:lnTo>
                      <a:pt x="142" y="158"/>
                    </a:lnTo>
                    <a:lnTo>
                      <a:pt x="142" y="156"/>
                    </a:lnTo>
                    <a:lnTo>
                      <a:pt x="141" y="158"/>
                    </a:lnTo>
                    <a:lnTo>
                      <a:pt x="142" y="158"/>
                    </a:lnTo>
                    <a:lnTo>
                      <a:pt x="141" y="158"/>
                    </a:lnTo>
                    <a:lnTo>
                      <a:pt x="139" y="158"/>
                    </a:lnTo>
                    <a:lnTo>
                      <a:pt x="137" y="160"/>
                    </a:lnTo>
                    <a:lnTo>
                      <a:pt x="136" y="162"/>
                    </a:lnTo>
                    <a:lnTo>
                      <a:pt x="134" y="160"/>
                    </a:lnTo>
                    <a:lnTo>
                      <a:pt x="132" y="162"/>
                    </a:lnTo>
                    <a:lnTo>
                      <a:pt x="130" y="163"/>
                    </a:lnTo>
                    <a:lnTo>
                      <a:pt x="125" y="170"/>
                    </a:lnTo>
                    <a:lnTo>
                      <a:pt x="125" y="175"/>
                    </a:lnTo>
                    <a:lnTo>
                      <a:pt x="127" y="180"/>
                    </a:lnTo>
                    <a:lnTo>
                      <a:pt x="130" y="185"/>
                    </a:lnTo>
                    <a:lnTo>
                      <a:pt x="141" y="194"/>
                    </a:lnTo>
                    <a:lnTo>
                      <a:pt x="147" y="196"/>
                    </a:lnTo>
                    <a:lnTo>
                      <a:pt x="146" y="197"/>
                    </a:lnTo>
                    <a:lnTo>
                      <a:pt x="147" y="197"/>
                    </a:lnTo>
                    <a:lnTo>
                      <a:pt x="161" y="194"/>
                    </a:lnTo>
                    <a:lnTo>
                      <a:pt x="163" y="196"/>
                    </a:lnTo>
                    <a:lnTo>
                      <a:pt x="161" y="199"/>
                    </a:lnTo>
                    <a:lnTo>
                      <a:pt x="159" y="202"/>
                    </a:lnTo>
                    <a:lnTo>
                      <a:pt x="159" y="204"/>
                    </a:lnTo>
                    <a:lnTo>
                      <a:pt x="163" y="206"/>
                    </a:lnTo>
                    <a:lnTo>
                      <a:pt x="171" y="202"/>
                    </a:lnTo>
                    <a:lnTo>
                      <a:pt x="173" y="201"/>
                    </a:lnTo>
                    <a:lnTo>
                      <a:pt x="171" y="199"/>
                    </a:lnTo>
                    <a:lnTo>
                      <a:pt x="173" y="197"/>
                    </a:lnTo>
                    <a:lnTo>
                      <a:pt x="175" y="197"/>
                    </a:lnTo>
                    <a:lnTo>
                      <a:pt x="175" y="196"/>
                    </a:lnTo>
                    <a:lnTo>
                      <a:pt x="178" y="197"/>
                    </a:lnTo>
                    <a:lnTo>
                      <a:pt x="180" y="201"/>
                    </a:lnTo>
                    <a:lnTo>
                      <a:pt x="181" y="206"/>
                    </a:lnTo>
                    <a:lnTo>
                      <a:pt x="180" y="207"/>
                    </a:lnTo>
                    <a:lnTo>
                      <a:pt x="181" y="211"/>
                    </a:lnTo>
                    <a:lnTo>
                      <a:pt x="185" y="213"/>
                    </a:lnTo>
                    <a:lnTo>
                      <a:pt x="190" y="216"/>
                    </a:lnTo>
                    <a:lnTo>
                      <a:pt x="183" y="213"/>
                    </a:lnTo>
                    <a:lnTo>
                      <a:pt x="181" y="213"/>
                    </a:lnTo>
                    <a:lnTo>
                      <a:pt x="181" y="214"/>
                    </a:lnTo>
                    <a:lnTo>
                      <a:pt x="183" y="216"/>
                    </a:lnTo>
                    <a:lnTo>
                      <a:pt x="183" y="219"/>
                    </a:lnTo>
                    <a:lnTo>
                      <a:pt x="197" y="221"/>
                    </a:lnTo>
                    <a:lnTo>
                      <a:pt x="197" y="219"/>
                    </a:lnTo>
                    <a:lnTo>
                      <a:pt x="192" y="216"/>
                    </a:lnTo>
                    <a:lnTo>
                      <a:pt x="200" y="219"/>
                    </a:lnTo>
                    <a:lnTo>
                      <a:pt x="204" y="221"/>
                    </a:lnTo>
                    <a:close/>
                    <a:moveTo>
                      <a:pt x="176" y="187"/>
                    </a:moveTo>
                    <a:lnTo>
                      <a:pt x="178" y="187"/>
                    </a:lnTo>
                    <a:lnTo>
                      <a:pt x="178" y="190"/>
                    </a:lnTo>
                    <a:lnTo>
                      <a:pt x="175" y="190"/>
                    </a:lnTo>
                    <a:lnTo>
                      <a:pt x="173" y="196"/>
                    </a:lnTo>
                    <a:lnTo>
                      <a:pt x="173" y="192"/>
                    </a:lnTo>
                    <a:lnTo>
                      <a:pt x="171" y="194"/>
                    </a:lnTo>
                    <a:lnTo>
                      <a:pt x="170" y="196"/>
                    </a:lnTo>
                    <a:lnTo>
                      <a:pt x="170" y="197"/>
                    </a:lnTo>
                    <a:lnTo>
                      <a:pt x="168" y="196"/>
                    </a:lnTo>
                    <a:lnTo>
                      <a:pt x="168" y="194"/>
                    </a:lnTo>
                    <a:lnTo>
                      <a:pt x="166" y="192"/>
                    </a:lnTo>
                    <a:lnTo>
                      <a:pt x="164" y="192"/>
                    </a:lnTo>
                    <a:lnTo>
                      <a:pt x="164" y="194"/>
                    </a:lnTo>
                    <a:lnTo>
                      <a:pt x="163" y="194"/>
                    </a:lnTo>
                    <a:lnTo>
                      <a:pt x="161" y="192"/>
                    </a:lnTo>
                    <a:lnTo>
                      <a:pt x="161" y="190"/>
                    </a:lnTo>
                    <a:lnTo>
                      <a:pt x="163" y="189"/>
                    </a:lnTo>
                    <a:lnTo>
                      <a:pt x="161" y="184"/>
                    </a:lnTo>
                    <a:lnTo>
                      <a:pt x="164" y="184"/>
                    </a:lnTo>
                    <a:lnTo>
                      <a:pt x="173" y="185"/>
                    </a:lnTo>
                    <a:lnTo>
                      <a:pt x="170" y="184"/>
                    </a:lnTo>
                    <a:lnTo>
                      <a:pt x="176" y="187"/>
                    </a:lnTo>
                    <a:close/>
                    <a:moveTo>
                      <a:pt x="188" y="138"/>
                    </a:moveTo>
                    <a:lnTo>
                      <a:pt x="190" y="138"/>
                    </a:lnTo>
                    <a:lnTo>
                      <a:pt x="190" y="139"/>
                    </a:lnTo>
                    <a:lnTo>
                      <a:pt x="188" y="139"/>
                    </a:lnTo>
                    <a:lnTo>
                      <a:pt x="190" y="141"/>
                    </a:lnTo>
                    <a:lnTo>
                      <a:pt x="188" y="143"/>
                    </a:lnTo>
                    <a:lnTo>
                      <a:pt x="187" y="143"/>
                    </a:lnTo>
                    <a:lnTo>
                      <a:pt x="181" y="144"/>
                    </a:lnTo>
                    <a:lnTo>
                      <a:pt x="181" y="143"/>
                    </a:lnTo>
                    <a:lnTo>
                      <a:pt x="183" y="141"/>
                    </a:lnTo>
                    <a:lnTo>
                      <a:pt x="183" y="139"/>
                    </a:lnTo>
                    <a:lnTo>
                      <a:pt x="185" y="141"/>
                    </a:lnTo>
                    <a:lnTo>
                      <a:pt x="187" y="141"/>
                    </a:lnTo>
                    <a:lnTo>
                      <a:pt x="187" y="139"/>
                    </a:lnTo>
                    <a:lnTo>
                      <a:pt x="188" y="139"/>
                    </a:lnTo>
                    <a:lnTo>
                      <a:pt x="187" y="136"/>
                    </a:lnTo>
                    <a:lnTo>
                      <a:pt x="188" y="138"/>
                    </a:lnTo>
                    <a:close/>
                    <a:moveTo>
                      <a:pt x="181" y="144"/>
                    </a:moveTo>
                    <a:lnTo>
                      <a:pt x="178" y="148"/>
                    </a:lnTo>
                    <a:lnTo>
                      <a:pt x="173" y="146"/>
                    </a:lnTo>
                    <a:lnTo>
                      <a:pt x="175" y="144"/>
                    </a:lnTo>
                    <a:lnTo>
                      <a:pt x="180" y="144"/>
                    </a:lnTo>
                    <a:lnTo>
                      <a:pt x="181" y="144"/>
                    </a:lnTo>
                    <a:close/>
                    <a:moveTo>
                      <a:pt x="69" y="0"/>
                    </a:moveTo>
                    <a:lnTo>
                      <a:pt x="71" y="0"/>
                    </a:lnTo>
                    <a:lnTo>
                      <a:pt x="69" y="0"/>
                    </a:lnTo>
                    <a:close/>
                    <a:moveTo>
                      <a:pt x="164" y="19"/>
                    </a:moveTo>
                    <a:lnTo>
                      <a:pt x="166" y="19"/>
                    </a:lnTo>
                    <a:lnTo>
                      <a:pt x="166" y="20"/>
                    </a:lnTo>
                    <a:lnTo>
                      <a:pt x="164" y="20"/>
                    </a:lnTo>
                    <a:lnTo>
                      <a:pt x="164" y="19"/>
                    </a:lnTo>
                    <a:close/>
                    <a:moveTo>
                      <a:pt x="113" y="15"/>
                    </a:moveTo>
                    <a:lnTo>
                      <a:pt x="115" y="15"/>
                    </a:lnTo>
                    <a:lnTo>
                      <a:pt x="113" y="15"/>
                    </a:lnTo>
                    <a:close/>
                    <a:moveTo>
                      <a:pt x="176" y="87"/>
                    </a:moveTo>
                    <a:lnTo>
                      <a:pt x="176" y="88"/>
                    </a:lnTo>
                    <a:lnTo>
                      <a:pt x="176" y="87"/>
                    </a:lnTo>
                    <a:close/>
                    <a:moveTo>
                      <a:pt x="139" y="160"/>
                    </a:moveTo>
                    <a:lnTo>
                      <a:pt x="141" y="160"/>
                    </a:lnTo>
                    <a:lnTo>
                      <a:pt x="139" y="160"/>
                    </a:lnTo>
                    <a:close/>
                    <a:moveTo>
                      <a:pt x="180" y="209"/>
                    </a:moveTo>
                    <a:lnTo>
                      <a:pt x="181" y="209"/>
                    </a:lnTo>
                    <a:lnTo>
                      <a:pt x="181" y="211"/>
                    </a:lnTo>
                    <a:lnTo>
                      <a:pt x="180" y="211"/>
                    </a:lnTo>
                    <a:lnTo>
                      <a:pt x="180" y="209"/>
                    </a:lnTo>
                    <a:close/>
                    <a:moveTo>
                      <a:pt x="190" y="139"/>
                    </a:moveTo>
                    <a:lnTo>
                      <a:pt x="192" y="139"/>
                    </a:lnTo>
                    <a:lnTo>
                      <a:pt x="192" y="141"/>
                    </a:lnTo>
                    <a:lnTo>
                      <a:pt x="190" y="141"/>
                    </a:lnTo>
                    <a:lnTo>
                      <a:pt x="190" y="139"/>
                    </a:lnTo>
                    <a:close/>
                    <a:moveTo>
                      <a:pt x="159" y="192"/>
                    </a:moveTo>
                    <a:lnTo>
                      <a:pt x="161" y="192"/>
                    </a:lnTo>
                    <a:lnTo>
                      <a:pt x="159" y="192"/>
                    </a:lnTo>
                    <a:close/>
                    <a:moveTo>
                      <a:pt x="190" y="136"/>
                    </a:moveTo>
                    <a:lnTo>
                      <a:pt x="192" y="136"/>
                    </a:lnTo>
                    <a:lnTo>
                      <a:pt x="192" y="138"/>
                    </a:lnTo>
                    <a:lnTo>
                      <a:pt x="190" y="138"/>
                    </a:lnTo>
                    <a:lnTo>
                      <a:pt x="190" y="136"/>
                    </a:lnTo>
                    <a:close/>
                    <a:moveTo>
                      <a:pt x="175" y="194"/>
                    </a:moveTo>
                    <a:lnTo>
                      <a:pt x="175" y="196"/>
                    </a:lnTo>
                    <a:lnTo>
                      <a:pt x="175" y="194"/>
                    </a:lnTo>
                    <a:close/>
                    <a:moveTo>
                      <a:pt x="166" y="90"/>
                    </a:moveTo>
                    <a:lnTo>
                      <a:pt x="166" y="92"/>
                    </a:lnTo>
                    <a:lnTo>
                      <a:pt x="166" y="90"/>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78" name="Freeform 60">
                <a:extLst>
                  <a:ext uri="{FF2B5EF4-FFF2-40B4-BE49-F238E27FC236}">
                    <a16:creationId xmlns:a16="http://schemas.microsoft.com/office/drawing/2014/main" id="{623F86DA-FD22-48F4-9001-2DFFBCD832E2}"/>
                  </a:ext>
                </a:extLst>
              </p:cNvPr>
              <p:cNvSpPr>
                <a:spLocks/>
              </p:cNvSpPr>
              <p:nvPr/>
            </p:nvSpPr>
            <p:spPr bwMode="gray">
              <a:xfrm>
                <a:off x="6953250" y="3113087"/>
                <a:ext cx="439737" cy="460375"/>
              </a:xfrm>
              <a:custGeom>
                <a:avLst/>
                <a:gdLst>
                  <a:gd name="T0" fmla="*/ 168 w 277"/>
                  <a:gd name="T1" fmla="*/ 266 h 290"/>
                  <a:gd name="T2" fmla="*/ 86 w 277"/>
                  <a:gd name="T3" fmla="*/ 266 h 290"/>
                  <a:gd name="T4" fmla="*/ 54 w 277"/>
                  <a:gd name="T5" fmla="*/ 269 h 290"/>
                  <a:gd name="T6" fmla="*/ 44 w 277"/>
                  <a:gd name="T7" fmla="*/ 267 h 290"/>
                  <a:gd name="T8" fmla="*/ 37 w 277"/>
                  <a:gd name="T9" fmla="*/ 273 h 290"/>
                  <a:gd name="T10" fmla="*/ 30 w 277"/>
                  <a:gd name="T11" fmla="*/ 283 h 290"/>
                  <a:gd name="T12" fmla="*/ 24 w 277"/>
                  <a:gd name="T13" fmla="*/ 286 h 290"/>
                  <a:gd name="T14" fmla="*/ 15 w 277"/>
                  <a:gd name="T15" fmla="*/ 284 h 290"/>
                  <a:gd name="T16" fmla="*/ 12 w 277"/>
                  <a:gd name="T17" fmla="*/ 284 h 290"/>
                  <a:gd name="T18" fmla="*/ 0 w 277"/>
                  <a:gd name="T19" fmla="*/ 279 h 290"/>
                  <a:gd name="T20" fmla="*/ 0 w 277"/>
                  <a:gd name="T21" fmla="*/ 269 h 290"/>
                  <a:gd name="T22" fmla="*/ 1 w 277"/>
                  <a:gd name="T23" fmla="*/ 261 h 290"/>
                  <a:gd name="T24" fmla="*/ 3 w 277"/>
                  <a:gd name="T25" fmla="*/ 250 h 290"/>
                  <a:gd name="T26" fmla="*/ 1 w 277"/>
                  <a:gd name="T27" fmla="*/ 230 h 290"/>
                  <a:gd name="T28" fmla="*/ 8 w 277"/>
                  <a:gd name="T29" fmla="*/ 218 h 290"/>
                  <a:gd name="T30" fmla="*/ 10 w 277"/>
                  <a:gd name="T31" fmla="*/ 208 h 290"/>
                  <a:gd name="T32" fmla="*/ 15 w 277"/>
                  <a:gd name="T33" fmla="*/ 198 h 290"/>
                  <a:gd name="T34" fmla="*/ 18 w 277"/>
                  <a:gd name="T35" fmla="*/ 184 h 290"/>
                  <a:gd name="T36" fmla="*/ 20 w 277"/>
                  <a:gd name="T37" fmla="*/ 174 h 290"/>
                  <a:gd name="T38" fmla="*/ 27 w 277"/>
                  <a:gd name="T39" fmla="*/ 169 h 290"/>
                  <a:gd name="T40" fmla="*/ 32 w 277"/>
                  <a:gd name="T41" fmla="*/ 165 h 290"/>
                  <a:gd name="T42" fmla="*/ 34 w 277"/>
                  <a:gd name="T43" fmla="*/ 162 h 290"/>
                  <a:gd name="T44" fmla="*/ 37 w 277"/>
                  <a:gd name="T45" fmla="*/ 157 h 290"/>
                  <a:gd name="T46" fmla="*/ 47 w 277"/>
                  <a:gd name="T47" fmla="*/ 148 h 290"/>
                  <a:gd name="T48" fmla="*/ 85 w 277"/>
                  <a:gd name="T49" fmla="*/ 116 h 290"/>
                  <a:gd name="T50" fmla="*/ 78 w 277"/>
                  <a:gd name="T51" fmla="*/ 97 h 290"/>
                  <a:gd name="T52" fmla="*/ 69 w 277"/>
                  <a:gd name="T53" fmla="*/ 94 h 290"/>
                  <a:gd name="T54" fmla="*/ 64 w 277"/>
                  <a:gd name="T55" fmla="*/ 91 h 290"/>
                  <a:gd name="T56" fmla="*/ 61 w 277"/>
                  <a:gd name="T57" fmla="*/ 84 h 290"/>
                  <a:gd name="T58" fmla="*/ 68 w 277"/>
                  <a:gd name="T59" fmla="*/ 67 h 290"/>
                  <a:gd name="T60" fmla="*/ 63 w 277"/>
                  <a:gd name="T61" fmla="*/ 50 h 290"/>
                  <a:gd name="T62" fmla="*/ 69 w 277"/>
                  <a:gd name="T63" fmla="*/ 41 h 290"/>
                  <a:gd name="T64" fmla="*/ 66 w 277"/>
                  <a:gd name="T65" fmla="*/ 34 h 290"/>
                  <a:gd name="T66" fmla="*/ 76 w 277"/>
                  <a:gd name="T67" fmla="*/ 26 h 290"/>
                  <a:gd name="T68" fmla="*/ 98 w 277"/>
                  <a:gd name="T69" fmla="*/ 29 h 290"/>
                  <a:gd name="T70" fmla="*/ 114 w 277"/>
                  <a:gd name="T71" fmla="*/ 22 h 290"/>
                  <a:gd name="T72" fmla="*/ 120 w 277"/>
                  <a:gd name="T73" fmla="*/ 33 h 290"/>
                  <a:gd name="T74" fmla="*/ 134 w 277"/>
                  <a:gd name="T75" fmla="*/ 34 h 290"/>
                  <a:gd name="T76" fmla="*/ 170 w 277"/>
                  <a:gd name="T77" fmla="*/ 21 h 290"/>
                  <a:gd name="T78" fmla="*/ 216 w 277"/>
                  <a:gd name="T79" fmla="*/ 9 h 290"/>
                  <a:gd name="T80" fmla="*/ 226 w 277"/>
                  <a:gd name="T81" fmla="*/ 5 h 290"/>
                  <a:gd name="T82" fmla="*/ 231 w 277"/>
                  <a:gd name="T83" fmla="*/ 14 h 290"/>
                  <a:gd name="T84" fmla="*/ 236 w 277"/>
                  <a:gd name="T85" fmla="*/ 21 h 290"/>
                  <a:gd name="T86" fmla="*/ 233 w 277"/>
                  <a:gd name="T87" fmla="*/ 22 h 290"/>
                  <a:gd name="T88" fmla="*/ 239 w 277"/>
                  <a:gd name="T89" fmla="*/ 28 h 290"/>
                  <a:gd name="T90" fmla="*/ 248 w 277"/>
                  <a:gd name="T91" fmla="*/ 29 h 290"/>
                  <a:gd name="T92" fmla="*/ 245 w 277"/>
                  <a:gd name="T93" fmla="*/ 39 h 290"/>
                  <a:gd name="T94" fmla="*/ 250 w 277"/>
                  <a:gd name="T95" fmla="*/ 55 h 290"/>
                  <a:gd name="T96" fmla="*/ 256 w 277"/>
                  <a:gd name="T97" fmla="*/ 67 h 290"/>
                  <a:gd name="T98" fmla="*/ 263 w 277"/>
                  <a:gd name="T99" fmla="*/ 75 h 290"/>
                  <a:gd name="T100" fmla="*/ 270 w 277"/>
                  <a:gd name="T101" fmla="*/ 87 h 290"/>
                  <a:gd name="T102" fmla="*/ 273 w 277"/>
                  <a:gd name="T103" fmla="*/ 114 h 290"/>
                  <a:gd name="T104" fmla="*/ 273 w 277"/>
                  <a:gd name="T105" fmla="*/ 131 h 290"/>
                  <a:gd name="T106" fmla="*/ 268 w 277"/>
                  <a:gd name="T107" fmla="*/ 142 h 290"/>
                  <a:gd name="T108" fmla="*/ 267 w 277"/>
                  <a:gd name="T109" fmla="*/ 150 h 290"/>
                  <a:gd name="T110" fmla="*/ 258 w 277"/>
                  <a:gd name="T111" fmla="*/ 155 h 290"/>
                  <a:gd name="T112" fmla="*/ 250 w 277"/>
                  <a:gd name="T113" fmla="*/ 160 h 290"/>
                  <a:gd name="T114" fmla="*/ 245 w 277"/>
                  <a:gd name="T115" fmla="*/ 172 h 290"/>
                  <a:gd name="T116" fmla="*/ 239 w 277"/>
                  <a:gd name="T117" fmla="*/ 181 h 290"/>
                  <a:gd name="T118" fmla="*/ 231 w 277"/>
                  <a:gd name="T119" fmla="*/ 186 h 290"/>
                  <a:gd name="T120" fmla="*/ 229 w 277"/>
                  <a:gd name="T121" fmla="*/ 196 h 290"/>
                  <a:gd name="T122" fmla="*/ 221 w 277"/>
                  <a:gd name="T123" fmla="*/ 210 h 290"/>
                  <a:gd name="T124" fmla="*/ 221 w 277"/>
                  <a:gd name="T12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 h="290">
                    <a:moveTo>
                      <a:pt x="221" y="266"/>
                    </a:moveTo>
                    <a:lnTo>
                      <a:pt x="207" y="266"/>
                    </a:lnTo>
                    <a:lnTo>
                      <a:pt x="200" y="266"/>
                    </a:lnTo>
                    <a:lnTo>
                      <a:pt x="168" y="266"/>
                    </a:lnTo>
                    <a:lnTo>
                      <a:pt x="161" y="266"/>
                    </a:lnTo>
                    <a:lnTo>
                      <a:pt x="124" y="266"/>
                    </a:lnTo>
                    <a:lnTo>
                      <a:pt x="107" y="266"/>
                    </a:lnTo>
                    <a:lnTo>
                      <a:pt x="86" y="266"/>
                    </a:lnTo>
                    <a:lnTo>
                      <a:pt x="63" y="266"/>
                    </a:lnTo>
                    <a:lnTo>
                      <a:pt x="61" y="264"/>
                    </a:lnTo>
                    <a:lnTo>
                      <a:pt x="58" y="266"/>
                    </a:lnTo>
                    <a:lnTo>
                      <a:pt x="54" y="269"/>
                    </a:lnTo>
                    <a:lnTo>
                      <a:pt x="52" y="269"/>
                    </a:lnTo>
                    <a:lnTo>
                      <a:pt x="49" y="269"/>
                    </a:lnTo>
                    <a:lnTo>
                      <a:pt x="46" y="267"/>
                    </a:lnTo>
                    <a:lnTo>
                      <a:pt x="44" y="267"/>
                    </a:lnTo>
                    <a:lnTo>
                      <a:pt x="44" y="269"/>
                    </a:lnTo>
                    <a:lnTo>
                      <a:pt x="41" y="269"/>
                    </a:lnTo>
                    <a:lnTo>
                      <a:pt x="39" y="271"/>
                    </a:lnTo>
                    <a:lnTo>
                      <a:pt x="37" y="273"/>
                    </a:lnTo>
                    <a:lnTo>
                      <a:pt x="35" y="276"/>
                    </a:lnTo>
                    <a:lnTo>
                      <a:pt x="32" y="279"/>
                    </a:lnTo>
                    <a:lnTo>
                      <a:pt x="30" y="279"/>
                    </a:lnTo>
                    <a:lnTo>
                      <a:pt x="30" y="283"/>
                    </a:lnTo>
                    <a:lnTo>
                      <a:pt x="29" y="284"/>
                    </a:lnTo>
                    <a:lnTo>
                      <a:pt x="25" y="284"/>
                    </a:lnTo>
                    <a:lnTo>
                      <a:pt x="25" y="288"/>
                    </a:lnTo>
                    <a:lnTo>
                      <a:pt x="24" y="286"/>
                    </a:lnTo>
                    <a:lnTo>
                      <a:pt x="22" y="288"/>
                    </a:lnTo>
                    <a:lnTo>
                      <a:pt x="18" y="290"/>
                    </a:lnTo>
                    <a:lnTo>
                      <a:pt x="17" y="288"/>
                    </a:lnTo>
                    <a:lnTo>
                      <a:pt x="15" y="284"/>
                    </a:lnTo>
                    <a:lnTo>
                      <a:pt x="15" y="283"/>
                    </a:lnTo>
                    <a:lnTo>
                      <a:pt x="13" y="281"/>
                    </a:lnTo>
                    <a:lnTo>
                      <a:pt x="13" y="283"/>
                    </a:lnTo>
                    <a:lnTo>
                      <a:pt x="12" y="284"/>
                    </a:lnTo>
                    <a:lnTo>
                      <a:pt x="8" y="283"/>
                    </a:lnTo>
                    <a:lnTo>
                      <a:pt x="5" y="284"/>
                    </a:lnTo>
                    <a:lnTo>
                      <a:pt x="1" y="284"/>
                    </a:lnTo>
                    <a:lnTo>
                      <a:pt x="0" y="279"/>
                    </a:lnTo>
                    <a:lnTo>
                      <a:pt x="1" y="278"/>
                    </a:lnTo>
                    <a:lnTo>
                      <a:pt x="0" y="274"/>
                    </a:lnTo>
                    <a:lnTo>
                      <a:pt x="0" y="271"/>
                    </a:lnTo>
                    <a:lnTo>
                      <a:pt x="0" y="269"/>
                    </a:lnTo>
                    <a:lnTo>
                      <a:pt x="0" y="266"/>
                    </a:lnTo>
                    <a:lnTo>
                      <a:pt x="1" y="264"/>
                    </a:lnTo>
                    <a:lnTo>
                      <a:pt x="0" y="261"/>
                    </a:lnTo>
                    <a:lnTo>
                      <a:pt x="1" y="261"/>
                    </a:lnTo>
                    <a:lnTo>
                      <a:pt x="3" y="261"/>
                    </a:lnTo>
                    <a:lnTo>
                      <a:pt x="3" y="259"/>
                    </a:lnTo>
                    <a:lnTo>
                      <a:pt x="3" y="257"/>
                    </a:lnTo>
                    <a:lnTo>
                      <a:pt x="3" y="250"/>
                    </a:lnTo>
                    <a:lnTo>
                      <a:pt x="5" y="247"/>
                    </a:lnTo>
                    <a:lnTo>
                      <a:pt x="5" y="242"/>
                    </a:lnTo>
                    <a:lnTo>
                      <a:pt x="7" y="237"/>
                    </a:lnTo>
                    <a:lnTo>
                      <a:pt x="1" y="230"/>
                    </a:lnTo>
                    <a:lnTo>
                      <a:pt x="7" y="225"/>
                    </a:lnTo>
                    <a:lnTo>
                      <a:pt x="8" y="223"/>
                    </a:lnTo>
                    <a:lnTo>
                      <a:pt x="8" y="222"/>
                    </a:lnTo>
                    <a:lnTo>
                      <a:pt x="8" y="218"/>
                    </a:lnTo>
                    <a:lnTo>
                      <a:pt x="8" y="216"/>
                    </a:lnTo>
                    <a:lnTo>
                      <a:pt x="8" y="215"/>
                    </a:lnTo>
                    <a:lnTo>
                      <a:pt x="8" y="211"/>
                    </a:lnTo>
                    <a:lnTo>
                      <a:pt x="10" y="208"/>
                    </a:lnTo>
                    <a:lnTo>
                      <a:pt x="13" y="206"/>
                    </a:lnTo>
                    <a:lnTo>
                      <a:pt x="13" y="203"/>
                    </a:lnTo>
                    <a:lnTo>
                      <a:pt x="15" y="199"/>
                    </a:lnTo>
                    <a:lnTo>
                      <a:pt x="15" y="198"/>
                    </a:lnTo>
                    <a:lnTo>
                      <a:pt x="18" y="196"/>
                    </a:lnTo>
                    <a:lnTo>
                      <a:pt x="20" y="193"/>
                    </a:lnTo>
                    <a:lnTo>
                      <a:pt x="18" y="189"/>
                    </a:lnTo>
                    <a:lnTo>
                      <a:pt x="18" y="184"/>
                    </a:lnTo>
                    <a:lnTo>
                      <a:pt x="17" y="182"/>
                    </a:lnTo>
                    <a:lnTo>
                      <a:pt x="18" y="179"/>
                    </a:lnTo>
                    <a:lnTo>
                      <a:pt x="18" y="177"/>
                    </a:lnTo>
                    <a:lnTo>
                      <a:pt x="20" y="174"/>
                    </a:lnTo>
                    <a:lnTo>
                      <a:pt x="18" y="174"/>
                    </a:lnTo>
                    <a:lnTo>
                      <a:pt x="20" y="174"/>
                    </a:lnTo>
                    <a:lnTo>
                      <a:pt x="20" y="172"/>
                    </a:lnTo>
                    <a:lnTo>
                      <a:pt x="27" y="169"/>
                    </a:lnTo>
                    <a:lnTo>
                      <a:pt x="30" y="170"/>
                    </a:lnTo>
                    <a:lnTo>
                      <a:pt x="30" y="169"/>
                    </a:lnTo>
                    <a:lnTo>
                      <a:pt x="30" y="167"/>
                    </a:lnTo>
                    <a:lnTo>
                      <a:pt x="32" y="165"/>
                    </a:lnTo>
                    <a:lnTo>
                      <a:pt x="34" y="165"/>
                    </a:lnTo>
                    <a:lnTo>
                      <a:pt x="32" y="165"/>
                    </a:lnTo>
                    <a:lnTo>
                      <a:pt x="34" y="164"/>
                    </a:lnTo>
                    <a:lnTo>
                      <a:pt x="34" y="162"/>
                    </a:lnTo>
                    <a:lnTo>
                      <a:pt x="34" y="159"/>
                    </a:lnTo>
                    <a:lnTo>
                      <a:pt x="34" y="157"/>
                    </a:lnTo>
                    <a:lnTo>
                      <a:pt x="37" y="155"/>
                    </a:lnTo>
                    <a:lnTo>
                      <a:pt x="37" y="157"/>
                    </a:lnTo>
                    <a:lnTo>
                      <a:pt x="39" y="157"/>
                    </a:lnTo>
                    <a:lnTo>
                      <a:pt x="41" y="153"/>
                    </a:lnTo>
                    <a:lnTo>
                      <a:pt x="44" y="152"/>
                    </a:lnTo>
                    <a:lnTo>
                      <a:pt x="47" y="148"/>
                    </a:lnTo>
                    <a:lnTo>
                      <a:pt x="52" y="147"/>
                    </a:lnTo>
                    <a:lnTo>
                      <a:pt x="59" y="138"/>
                    </a:lnTo>
                    <a:lnTo>
                      <a:pt x="75" y="125"/>
                    </a:lnTo>
                    <a:lnTo>
                      <a:pt x="85" y="116"/>
                    </a:lnTo>
                    <a:lnTo>
                      <a:pt x="90" y="106"/>
                    </a:lnTo>
                    <a:lnTo>
                      <a:pt x="86" y="102"/>
                    </a:lnTo>
                    <a:lnTo>
                      <a:pt x="85" y="99"/>
                    </a:lnTo>
                    <a:lnTo>
                      <a:pt x="78" y="97"/>
                    </a:lnTo>
                    <a:lnTo>
                      <a:pt x="76" y="96"/>
                    </a:lnTo>
                    <a:lnTo>
                      <a:pt x="75" y="92"/>
                    </a:lnTo>
                    <a:lnTo>
                      <a:pt x="71" y="92"/>
                    </a:lnTo>
                    <a:lnTo>
                      <a:pt x="69" y="94"/>
                    </a:lnTo>
                    <a:lnTo>
                      <a:pt x="68" y="96"/>
                    </a:lnTo>
                    <a:lnTo>
                      <a:pt x="66" y="94"/>
                    </a:lnTo>
                    <a:lnTo>
                      <a:pt x="66" y="92"/>
                    </a:lnTo>
                    <a:lnTo>
                      <a:pt x="64" y="91"/>
                    </a:lnTo>
                    <a:lnTo>
                      <a:pt x="59" y="91"/>
                    </a:lnTo>
                    <a:lnTo>
                      <a:pt x="59" y="89"/>
                    </a:lnTo>
                    <a:lnTo>
                      <a:pt x="61" y="87"/>
                    </a:lnTo>
                    <a:lnTo>
                      <a:pt x="61" y="84"/>
                    </a:lnTo>
                    <a:lnTo>
                      <a:pt x="63" y="80"/>
                    </a:lnTo>
                    <a:lnTo>
                      <a:pt x="63" y="79"/>
                    </a:lnTo>
                    <a:lnTo>
                      <a:pt x="68" y="70"/>
                    </a:lnTo>
                    <a:lnTo>
                      <a:pt x="68" y="67"/>
                    </a:lnTo>
                    <a:lnTo>
                      <a:pt x="66" y="65"/>
                    </a:lnTo>
                    <a:lnTo>
                      <a:pt x="61" y="60"/>
                    </a:lnTo>
                    <a:lnTo>
                      <a:pt x="64" y="51"/>
                    </a:lnTo>
                    <a:lnTo>
                      <a:pt x="63" y="50"/>
                    </a:lnTo>
                    <a:lnTo>
                      <a:pt x="64" y="48"/>
                    </a:lnTo>
                    <a:lnTo>
                      <a:pt x="66" y="48"/>
                    </a:lnTo>
                    <a:lnTo>
                      <a:pt x="68" y="45"/>
                    </a:lnTo>
                    <a:lnTo>
                      <a:pt x="69" y="41"/>
                    </a:lnTo>
                    <a:lnTo>
                      <a:pt x="69" y="38"/>
                    </a:lnTo>
                    <a:lnTo>
                      <a:pt x="68" y="36"/>
                    </a:lnTo>
                    <a:lnTo>
                      <a:pt x="66" y="38"/>
                    </a:lnTo>
                    <a:lnTo>
                      <a:pt x="66" y="34"/>
                    </a:lnTo>
                    <a:lnTo>
                      <a:pt x="71" y="28"/>
                    </a:lnTo>
                    <a:lnTo>
                      <a:pt x="73" y="26"/>
                    </a:lnTo>
                    <a:lnTo>
                      <a:pt x="75" y="28"/>
                    </a:lnTo>
                    <a:lnTo>
                      <a:pt x="76" y="26"/>
                    </a:lnTo>
                    <a:lnTo>
                      <a:pt x="78" y="26"/>
                    </a:lnTo>
                    <a:lnTo>
                      <a:pt x="81" y="22"/>
                    </a:lnTo>
                    <a:lnTo>
                      <a:pt x="88" y="22"/>
                    </a:lnTo>
                    <a:lnTo>
                      <a:pt x="98" y="29"/>
                    </a:lnTo>
                    <a:lnTo>
                      <a:pt x="98" y="31"/>
                    </a:lnTo>
                    <a:lnTo>
                      <a:pt x="102" y="28"/>
                    </a:lnTo>
                    <a:lnTo>
                      <a:pt x="109" y="26"/>
                    </a:lnTo>
                    <a:lnTo>
                      <a:pt x="114" y="22"/>
                    </a:lnTo>
                    <a:lnTo>
                      <a:pt x="114" y="21"/>
                    </a:lnTo>
                    <a:lnTo>
                      <a:pt x="117" y="22"/>
                    </a:lnTo>
                    <a:lnTo>
                      <a:pt x="120" y="29"/>
                    </a:lnTo>
                    <a:lnTo>
                      <a:pt x="120" y="33"/>
                    </a:lnTo>
                    <a:lnTo>
                      <a:pt x="126" y="33"/>
                    </a:lnTo>
                    <a:lnTo>
                      <a:pt x="127" y="36"/>
                    </a:lnTo>
                    <a:lnTo>
                      <a:pt x="134" y="38"/>
                    </a:lnTo>
                    <a:lnTo>
                      <a:pt x="134" y="34"/>
                    </a:lnTo>
                    <a:lnTo>
                      <a:pt x="134" y="33"/>
                    </a:lnTo>
                    <a:lnTo>
                      <a:pt x="144" y="26"/>
                    </a:lnTo>
                    <a:lnTo>
                      <a:pt x="160" y="24"/>
                    </a:lnTo>
                    <a:lnTo>
                      <a:pt x="170" y="21"/>
                    </a:lnTo>
                    <a:lnTo>
                      <a:pt x="175" y="17"/>
                    </a:lnTo>
                    <a:lnTo>
                      <a:pt x="183" y="22"/>
                    </a:lnTo>
                    <a:lnTo>
                      <a:pt x="200" y="24"/>
                    </a:lnTo>
                    <a:lnTo>
                      <a:pt x="216" y="9"/>
                    </a:lnTo>
                    <a:lnTo>
                      <a:pt x="224" y="0"/>
                    </a:lnTo>
                    <a:lnTo>
                      <a:pt x="226" y="2"/>
                    </a:lnTo>
                    <a:lnTo>
                      <a:pt x="228" y="5"/>
                    </a:lnTo>
                    <a:lnTo>
                      <a:pt x="226" y="5"/>
                    </a:lnTo>
                    <a:lnTo>
                      <a:pt x="229" y="9"/>
                    </a:lnTo>
                    <a:lnTo>
                      <a:pt x="229" y="11"/>
                    </a:lnTo>
                    <a:lnTo>
                      <a:pt x="228" y="11"/>
                    </a:lnTo>
                    <a:lnTo>
                      <a:pt x="231" y="14"/>
                    </a:lnTo>
                    <a:lnTo>
                      <a:pt x="229" y="17"/>
                    </a:lnTo>
                    <a:lnTo>
                      <a:pt x="229" y="19"/>
                    </a:lnTo>
                    <a:lnTo>
                      <a:pt x="234" y="17"/>
                    </a:lnTo>
                    <a:lnTo>
                      <a:pt x="236" y="21"/>
                    </a:lnTo>
                    <a:lnTo>
                      <a:pt x="233" y="21"/>
                    </a:lnTo>
                    <a:lnTo>
                      <a:pt x="233" y="22"/>
                    </a:lnTo>
                    <a:lnTo>
                      <a:pt x="234" y="22"/>
                    </a:lnTo>
                    <a:lnTo>
                      <a:pt x="233" y="22"/>
                    </a:lnTo>
                    <a:lnTo>
                      <a:pt x="233" y="24"/>
                    </a:lnTo>
                    <a:lnTo>
                      <a:pt x="236" y="22"/>
                    </a:lnTo>
                    <a:lnTo>
                      <a:pt x="239" y="26"/>
                    </a:lnTo>
                    <a:lnTo>
                      <a:pt x="239" y="28"/>
                    </a:lnTo>
                    <a:lnTo>
                      <a:pt x="241" y="26"/>
                    </a:lnTo>
                    <a:lnTo>
                      <a:pt x="243" y="26"/>
                    </a:lnTo>
                    <a:lnTo>
                      <a:pt x="245" y="28"/>
                    </a:lnTo>
                    <a:lnTo>
                      <a:pt x="248" y="29"/>
                    </a:lnTo>
                    <a:lnTo>
                      <a:pt x="246" y="36"/>
                    </a:lnTo>
                    <a:lnTo>
                      <a:pt x="246" y="38"/>
                    </a:lnTo>
                    <a:lnTo>
                      <a:pt x="245" y="38"/>
                    </a:lnTo>
                    <a:lnTo>
                      <a:pt x="245" y="39"/>
                    </a:lnTo>
                    <a:lnTo>
                      <a:pt x="245" y="43"/>
                    </a:lnTo>
                    <a:lnTo>
                      <a:pt x="246" y="48"/>
                    </a:lnTo>
                    <a:lnTo>
                      <a:pt x="248" y="53"/>
                    </a:lnTo>
                    <a:lnTo>
                      <a:pt x="250" y="55"/>
                    </a:lnTo>
                    <a:lnTo>
                      <a:pt x="251" y="55"/>
                    </a:lnTo>
                    <a:lnTo>
                      <a:pt x="253" y="58"/>
                    </a:lnTo>
                    <a:lnTo>
                      <a:pt x="255" y="67"/>
                    </a:lnTo>
                    <a:lnTo>
                      <a:pt x="256" y="67"/>
                    </a:lnTo>
                    <a:lnTo>
                      <a:pt x="258" y="70"/>
                    </a:lnTo>
                    <a:lnTo>
                      <a:pt x="260" y="68"/>
                    </a:lnTo>
                    <a:lnTo>
                      <a:pt x="263" y="72"/>
                    </a:lnTo>
                    <a:lnTo>
                      <a:pt x="263" y="75"/>
                    </a:lnTo>
                    <a:lnTo>
                      <a:pt x="263" y="79"/>
                    </a:lnTo>
                    <a:lnTo>
                      <a:pt x="268" y="84"/>
                    </a:lnTo>
                    <a:lnTo>
                      <a:pt x="270" y="84"/>
                    </a:lnTo>
                    <a:lnTo>
                      <a:pt x="270" y="87"/>
                    </a:lnTo>
                    <a:lnTo>
                      <a:pt x="272" y="87"/>
                    </a:lnTo>
                    <a:lnTo>
                      <a:pt x="273" y="91"/>
                    </a:lnTo>
                    <a:lnTo>
                      <a:pt x="270" y="92"/>
                    </a:lnTo>
                    <a:lnTo>
                      <a:pt x="273" y="114"/>
                    </a:lnTo>
                    <a:lnTo>
                      <a:pt x="277" y="118"/>
                    </a:lnTo>
                    <a:lnTo>
                      <a:pt x="275" y="123"/>
                    </a:lnTo>
                    <a:lnTo>
                      <a:pt x="275" y="131"/>
                    </a:lnTo>
                    <a:lnTo>
                      <a:pt x="273" y="131"/>
                    </a:lnTo>
                    <a:lnTo>
                      <a:pt x="272" y="135"/>
                    </a:lnTo>
                    <a:lnTo>
                      <a:pt x="270" y="136"/>
                    </a:lnTo>
                    <a:lnTo>
                      <a:pt x="268" y="138"/>
                    </a:lnTo>
                    <a:lnTo>
                      <a:pt x="268" y="142"/>
                    </a:lnTo>
                    <a:lnTo>
                      <a:pt x="265" y="143"/>
                    </a:lnTo>
                    <a:lnTo>
                      <a:pt x="265" y="145"/>
                    </a:lnTo>
                    <a:lnTo>
                      <a:pt x="267" y="148"/>
                    </a:lnTo>
                    <a:lnTo>
                      <a:pt x="267" y="150"/>
                    </a:lnTo>
                    <a:lnTo>
                      <a:pt x="265" y="152"/>
                    </a:lnTo>
                    <a:lnTo>
                      <a:pt x="265" y="153"/>
                    </a:lnTo>
                    <a:lnTo>
                      <a:pt x="258" y="153"/>
                    </a:lnTo>
                    <a:lnTo>
                      <a:pt x="258" y="155"/>
                    </a:lnTo>
                    <a:lnTo>
                      <a:pt x="255" y="157"/>
                    </a:lnTo>
                    <a:lnTo>
                      <a:pt x="253" y="159"/>
                    </a:lnTo>
                    <a:lnTo>
                      <a:pt x="251" y="159"/>
                    </a:lnTo>
                    <a:lnTo>
                      <a:pt x="250" y="160"/>
                    </a:lnTo>
                    <a:lnTo>
                      <a:pt x="250" y="167"/>
                    </a:lnTo>
                    <a:lnTo>
                      <a:pt x="248" y="169"/>
                    </a:lnTo>
                    <a:lnTo>
                      <a:pt x="246" y="170"/>
                    </a:lnTo>
                    <a:lnTo>
                      <a:pt x="245" y="172"/>
                    </a:lnTo>
                    <a:lnTo>
                      <a:pt x="246" y="174"/>
                    </a:lnTo>
                    <a:lnTo>
                      <a:pt x="241" y="176"/>
                    </a:lnTo>
                    <a:lnTo>
                      <a:pt x="241" y="179"/>
                    </a:lnTo>
                    <a:lnTo>
                      <a:pt x="239" y="181"/>
                    </a:lnTo>
                    <a:lnTo>
                      <a:pt x="239" y="182"/>
                    </a:lnTo>
                    <a:lnTo>
                      <a:pt x="234" y="182"/>
                    </a:lnTo>
                    <a:lnTo>
                      <a:pt x="234" y="184"/>
                    </a:lnTo>
                    <a:lnTo>
                      <a:pt x="231" y="186"/>
                    </a:lnTo>
                    <a:lnTo>
                      <a:pt x="231" y="187"/>
                    </a:lnTo>
                    <a:lnTo>
                      <a:pt x="231" y="191"/>
                    </a:lnTo>
                    <a:lnTo>
                      <a:pt x="229" y="191"/>
                    </a:lnTo>
                    <a:lnTo>
                      <a:pt x="229" y="196"/>
                    </a:lnTo>
                    <a:lnTo>
                      <a:pt x="229" y="198"/>
                    </a:lnTo>
                    <a:lnTo>
                      <a:pt x="228" y="198"/>
                    </a:lnTo>
                    <a:lnTo>
                      <a:pt x="226" y="201"/>
                    </a:lnTo>
                    <a:lnTo>
                      <a:pt x="221" y="210"/>
                    </a:lnTo>
                    <a:lnTo>
                      <a:pt x="224" y="222"/>
                    </a:lnTo>
                    <a:lnTo>
                      <a:pt x="224" y="225"/>
                    </a:lnTo>
                    <a:lnTo>
                      <a:pt x="221" y="239"/>
                    </a:lnTo>
                    <a:lnTo>
                      <a:pt x="221" y="240"/>
                    </a:lnTo>
                    <a:lnTo>
                      <a:pt x="221" y="261"/>
                    </a:lnTo>
                    <a:lnTo>
                      <a:pt x="221" y="266"/>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79" name="Freeform 61">
                <a:extLst>
                  <a:ext uri="{FF2B5EF4-FFF2-40B4-BE49-F238E27FC236}">
                    <a16:creationId xmlns:a16="http://schemas.microsoft.com/office/drawing/2014/main" id="{7993966D-906F-41D2-B22C-5BDFFE757C1E}"/>
                  </a:ext>
                </a:extLst>
              </p:cNvPr>
              <p:cNvSpPr>
                <a:spLocks/>
              </p:cNvSpPr>
              <p:nvPr/>
            </p:nvSpPr>
            <p:spPr bwMode="gray">
              <a:xfrm>
                <a:off x="3201988" y="1225550"/>
                <a:ext cx="677862" cy="557213"/>
              </a:xfrm>
              <a:custGeom>
                <a:avLst/>
                <a:gdLst>
                  <a:gd name="T0" fmla="*/ 0 w 427"/>
                  <a:gd name="T1" fmla="*/ 347 h 351"/>
                  <a:gd name="T2" fmla="*/ 0 w 427"/>
                  <a:gd name="T3" fmla="*/ 344 h 351"/>
                  <a:gd name="T4" fmla="*/ 3 w 427"/>
                  <a:gd name="T5" fmla="*/ 322 h 351"/>
                  <a:gd name="T6" fmla="*/ 7 w 427"/>
                  <a:gd name="T7" fmla="*/ 303 h 351"/>
                  <a:gd name="T8" fmla="*/ 7 w 427"/>
                  <a:gd name="T9" fmla="*/ 300 h 351"/>
                  <a:gd name="T10" fmla="*/ 10 w 427"/>
                  <a:gd name="T11" fmla="*/ 295 h 351"/>
                  <a:gd name="T12" fmla="*/ 15 w 427"/>
                  <a:gd name="T13" fmla="*/ 281 h 351"/>
                  <a:gd name="T14" fmla="*/ 22 w 427"/>
                  <a:gd name="T15" fmla="*/ 274 h 351"/>
                  <a:gd name="T16" fmla="*/ 30 w 427"/>
                  <a:gd name="T17" fmla="*/ 272 h 351"/>
                  <a:gd name="T18" fmla="*/ 34 w 427"/>
                  <a:gd name="T19" fmla="*/ 264 h 351"/>
                  <a:gd name="T20" fmla="*/ 39 w 427"/>
                  <a:gd name="T21" fmla="*/ 250 h 351"/>
                  <a:gd name="T22" fmla="*/ 41 w 427"/>
                  <a:gd name="T23" fmla="*/ 245 h 351"/>
                  <a:gd name="T24" fmla="*/ 42 w 427"/>
                  <a:gd name="T25" fmla="*/ 244 h 351"/>
                  <a:gd name="T26" fmla="*/ 47 w 427"/>
                  <a:gd name="T27" fmla="*/ 240 h 351"/>
                  <a:gd name="T28" fmla="*/ 47 w 427"/>
                  <a:gd name="T29" fmla="*/ 235 h 351"/>
                  <a:gd name="T30" fmla="*/ 49 w 427"/>
                  <a:gd name="T31" fmla="*/ 228 h 351"/>
                  <a:gd name="T32" fmla="*/ 53 w 427"/>
                  <a:gd name="T33" fmla="*/ 223 h 351"/>
                  <a:gd name="T34" fmla="*/ 56 w 427"/>
                  <a:gd name="T35" fmla="*/ 218 h 351"/>
                  <a:gd name="T36" fmla="*/ 58 w 427"/>
                  <a:gd name="T37" fmla="*/ 213 h 351"/>
                  <a:gd name="T38" fmla="*/ 61 w 427"/>
                  <a:gd name="T39" fmla="*/ 206 h 351"/>
                  <a:gd name="T40" fmla="*/ 66 w 427"/>
                  <a:gd name="T41" fmla="*/ 201 h 351"/>
                  <a:gd name="T42" fmla="*/ 68 w 427"/>
                  <a:gd name="T43" fmla="*/ 198 h 351"/>
                  <a:gd name="T44" fmla="*/ 68 w 427"/>
                  <a:gd name="T45" fmla="*/ 193 h 351"/>
                  <a:gd name="T46" fmla="*/ 66 w 427"/>
                  <a:gd name="T47" fmla="*/ 194 h 351"/>
                  <a:gd name="T48" fmla="*/ 61 w 427"/>
                  <a:gd name="T49" fmla="*/ 196 h 351"/>
                  <a:gd name="T50" fmla="*/ 58 w 427"/>
                  <a:gd name="T51" fmla="*/ 204 h 351"/>
                  <a:gd name="T52" fmla="*/ 56 w 427"/>
                  <a:gd name="T53" fmla="*/ 204 h 351"/>
                  <a:gd name="T54" fmla="*/ 61 w 427"/>
                  <a:gd name="T55" fmla="*/ 196 h 351"/>
                  <a:gd name="T56" fmla="*/ 76 w 427"/>
                  <a:gd name="T57" fmla="*/ 186 h 351"/>
                  <a:gd name="T58" fmla="*/ 90 w 427"/>
                  <a:gd name="T59" fmla="*/ 172 h 351"/>
                  <a:gd name="T60" fmla="*/ 98 w 427"/>
                  <a:gd name="T61" fmla="*/ 162 h 351"/>
                  <a:gd name="T62" fmla="*/ 107 w 427"/>
                  <a:gd name="T63" fmla="*/ 155 h 351"/>
                  <a:gd name="T64" fmla="*/ 112 w 427"/>
                  <a:gd name="T65" fmla="*/ 147 h 351"/>
                  <a:gd name="T66" fmla="*/ 115 w 427"/>
                  <a:gd name="T67" fmla="*/ 135 h 351"/>
                  <a:gd name="T68" fmla="*/ 114 w 427"/>
                  <a:gd name="T69" fmla="*/ 130 h 351"/>
                  <a:gd name="T70" fmla="*/ 117 w 427"/>
                  <a:gd name="T71" fmla="*/ 116 h 351"/>
                  <a:gd name="T72" fmla="*/ 124 w 427"/>
                  <a:gd name="T73" fmla="*/ 97 h 351"/>
                  <a:gd name="T74" fmla="*/ 132 w 427"/>
                  <a:gd name="T75" fmla="*/ 87 h 351"/>
                  <a:gd name="T76" fmla="*/ 131 w 427"/>
                  <a:gd name="T77" fmla="*/ 80 h 351"/>
                  <a:gd name="T78" fmla="*/ 136 w 427"/>
                  <a:gd name="T79" fmla="*/ 73 h 351"/>
                  <a:gd name="T80" fmla="*/ 144 w 427"/>
                  <a:gd name="T81" fmla="*/ 70 h 351"/>
                  <a:gd name="T82" fmla="*/ 155 w 427"/>
                  <a:gd name="T83" fmla="*/ 63 h 351"/>
                  <a:gd name="T84" fmla="*/ 173 w 427"/>
                  <a:gd name="T85" fmla="*/ 53 h 351"/>
                  <a:gd name="T86" fmla="*/ 180 w 427"/>
                  <a:gd name="T87" fmla="*/ 46 h 351"/>
                  <a:gd name="T88" fmla="*/ 187 w 427"/>
                  <a:gd name="T89" fmla="*/ 28 h 351"/>
                  <a:gd name="T90" fmla="*/ 199 w 427"/>
                  <a:gd name="T91" fmla="*/ 0 h 351"/>
                  <a:gd name="T92" fmla="*/ 228 w 427"/>
                  <a:gd name="T93" fmla="*/ 0 h 351"/>
                  <a:gd name="T94" fmla="*/ 267 w 427"/>
                  <a:gd name="T95" fmla="*/ 0 h 351"/>
                  <a:gd name="T96" fmla="*/ 308 w 427"/>
                  <a:gd name="T97" fmla="*/ 0 h 351"/>
                  <a:gd name="T98" fmla="*/ 352 w 427"/>
                  <a:gd name="T99" fmla="*/ 2 h 351"/>
                  <a:gd name="T100" fmla="*/ 427 w 427"/>
                  <a:gd name="T101" fmla="*/ 2 h 351"/>
                  <a:gd name="T102" fmla="*/ 427 w 427"/>
                  <a:gd name="T103" fmla="*/ 41 h 351"/>
                  <a:gd name="T104" fmla="*/ 427 w 427"/>
                  <a:gd name="T105" fmla="*/ 85 h 351"/>
                  <a:gd name="T106" fmla="*/ 258 w 427"/>
                  <a:gd name="T107" fmla="*/ 87 h 351"/>
                  <a:gd name="T108" fmla="*/ 258 w 427"/>
                  <a:gd name="T109" fmla="*/ 164 h 351"/>
                  <a:gd name="T110" fmla="*/ 251 w 427"/>
                  <a:gd name="T111" fmla="*/ 216 h 351"/>
                  <a:gd name="T112" fmla="*/ 229 w 427"/>
                  <a:gd name="T113" fmla="*/ 223 h 351"/>
                  <a:gd name="T114" fmla="*/ 207 w 427"/>
                  <a:gd name="T115" fmla="*/ 238 h 351"/>
                  <a:gd name="T116" fmla="*/ 200 w 427"/>
                  <a:gd name="T117" fmla="*/ 252 h 351"/>
                  <a:gd name="T118" fmla="*/ 206 w 427"/>
                  <a:gd name="T119" fmla="*/ 307 h 351"/>
                  <a:gd name="T120" fmla="*/ 146 w 427"/>
                  <a:gd name="T121" fmla="*/ 322 h 351"/>
                  <a:gd name="T122" fmla="*/ 68 w 427"/>
                  <a:gd name="T123" fmla="*/ 322 h 351"/>
                  <a:gd name="T124" fmla="*/ 2 w 427"/>
                  <a:gd name="T125" fmla="*/ 34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351">
                    <a:moveTo>
                      <a:pt x="3" y="351"/>
                    </a:moveTo>
                    <a:lnTo>
                      <a:pt x="0" y="347"/>
                    </a:lnTo>
                    <a:lnTo>
                      <a:pt x="2" y="346"/>
                    </a:lnTo>
                    <a:lnTo>
                      <a:pt x="0" y="344"/>
                    </a:lnTo>
                    <a:lnTo>
                      <a:pt x="2" y="339"/>
                    </a:lnTo>
                    <a:lnTo>
                      <a:pt x="3" y="322"/>
                    </a:lnTo>
                    <a:lnTo>
                      <a:pt x="7" y="312"/>
                    </a:lnTo>
                    <a:lnTo>
                      <a:pt x="7" y="303"/>
                    </a:lnTo>
                    <a:lnTo>
                      <a:pt x="8" y="301"/>
                    </a:lnTo>
                    <a:lnTo>
                      <a:pt x="7" y="300"/>
                    </a:lnTo>
                    <a:lnTo>
                      <a:pt x="7" y="298"/>
                    </a:lnTo>
                    <a:lnTo>
                      <a:pt x="10" y="295"/>
                    </a:lnTo>
                    <a:lnTo>
                      <a:pt x="10" y="291"/>
                    </a:lnTo>
                    <a:lnTo>
                      <a:pt x="15" y="281"/>
                    </a:lnTo>
                    <a:lnTo>
                      <a:pt x="17" y="279"/>
                    </a:lnTo>
                    <a:lnTo>
                      <a:pt x="22" y="274"/>
                    </a:lnTo>
                    <a:lnTo>
                      <a:pt x="24" y="276"/>
                    </a:lnTo>
                    <a:lnTo>
                      <a:pt x="30" y="272"/>
                    </a:lnTo>
                    <a:lnTo>
                      <a:pt x="32" y="269"/>
                    </a:lnTo>
                    <a:lnTo>
                      <a:pt x="34" y="264"/>
                    </a:lnTo>
                    <a:lnTo>
                      <a:pt x="37" y="261"/>
                    </a:lnTo>
                    <a:lnTo>
                      <a:pt x="39" y="250"/>
                    </a:lnTo>
                    <a:lnTo>
                      <a:pt x="41" y="247"/>
                    </a:lnTo>
                    <a:lnTo>
                      <a:pt x="41" y="245"/>
                    </a:lnTo>
                    <a:lnTo>
                      <a:pt x="41" y="244"/>
                    </a:lnTo>
                    <a:lnTo>
                      <a:pt x="42" y="244"/>
                    </a:lnTo>
                    <a:lnTo>
                      <a:pt x="46" y="242"/>
                    </a:lnTo>
                    <a:lnTo>
                      <a:pt x="47" y="240"/>
                    </a:lnTo>
                    <a:lnTo>
                      <a:pt x="49" y="238"/>
                    </a:lnTo>
                    <a:lnTo>
                      <a:pt x="47" y="235"/>
                    </a:lnTo>
                    <a:lnTo>
                      <a:pt x="46" y="233"/>
                    </a:lnTo>
                    <a:lnTo>
                      <a:pt x="49" y="228"/>
                    </a:lnTo>
                    <a:lnTo>
                      <a:pt x="49" y="227"/>
                    </a:lnTo>
                    <a:lnTo>
                      <a:pt x="53" y="223"/>
                    </a:lnTo>
                    <a:lnTo>
                      <a:pt x="53" y="221"/>
                    </a:lnTo>
                    <a:lnTo>
                      <a:pt x="56" y="218"/>
                    </a:lnTo>
                    <a:lnTo>
                      <a:pt x="58" y="215"/>
                    </a:lnTo>
                    <a:lnTo>
                      <a:pt x="58" y="213"/>
                    </a:lnTo>
                    <a:lnTo>
                      <a:pt x="61" y="210"/>
                    </a:lnTo>
                    <a:lnTo>
                      <a:pt x="61" y="206"/>
                    </a:lnTo>
                    <a:lnTo>
                      <a:pt x="63" y="206"/>
                    </a:lnTo>
                    <a:lnTo>
                      <a:pt x="66" y="201"/>
                    </a:lnTo>
                    <a:lnTo>
                      <a:pt x="70" y="196"/>
                    </a:lnTo>
                    <a:lnTo>
                      <a:pt x="68" y="198"/>
                    </a:lnTo>
                    <a:lnTo>
                      <a:pt x="70" y="194"/>
                    </a:lnTo>
                    <a:lnTo>
                      <a:pt x="68" y="193"/>
                    </a:lnTo>
                    <a:lnTo>
                      <a:pt x="68" y="191"/>
                    </a:lnTo>
                    <a:lnTo>
                      <a:pt x="66" y="194"/>
                    </a:lnTo>
                    <a:lnTo>
                      <a:pt x="64" y="194"/>
                    </a:lnTo>
                    <a:lnTo>
                      <a:pt x="61" y="196"/>
                    </a:lnTo>
                    <a:lnTo>
                      <a:pt x="59" y="203"/>
                    </a:lnTo>
                    <a:lnTo>
                      <a:pt x="58" y="204"/>
                    </a:lnTo>
                    <a:lnTo>
                      <a:pt x="56" y="206"/>
                    </a:lnTo>
                    <a:lnTo>
                      <a:pt x="56" y="204"/>
                    </a:lnTo>
                    <a:lnTo>
                      <a:pt x="59" y="201"/>
                    </a:lnTo>
                    <a:lnTo>
                      <a:pt x="61" y="196"/>
                    </a:lnTo>
                    <a:lnTo>
                      <a:pt x="66" y="191"/>
                    </a:lnTo>
                    <a:lnTo>
                      <a:pt x="76" y="186"/>
                    </a:lnTo>
                    <a:lnTo>
                      <a:pt x="76" y="182"/>
                    </a:lnTo>
                    <a:lnTo>
                      <a:pt x="90" y="172"/>
                    </a:lnTo>
                    <a:lnTo>
                      <a:pt x="95" y="165"/>
                    </a:lnTo>
                    <a:lnTo>
                      <a:pt x="98" y="162"/>
                    </a:lnTo>
                    <a:lnTo>
                      <a:pt x="105" y="159"/>
                    </a:lnTo>
                    <a:lnTo>
                      <a:pt x="107" y="155"/>
                    </a:lnTo>
                    <a:lnTo>
                      <a:pt x="112" y="152"/>
                    </a:lnTo>
                    <a:lnTo>
                      <a:pt x="112" y="147"/>
                    </a:lnTo>
                    <a:lnTo>
                      <a:pt x="115" y="142"/>
                    </a:lnTo>
                    <a:lnTo>
                      <a:pt x="115" y="135"/>
                    </a:lnTo>
                    <a:lnTo>
                      <a:pt x="114" y="133"/>
                    </a:lnTo>
                    <a:lnTo>
                      <a:pt x="114" y="130"/>
                    </a:lnTo>
                    <a:lnTo>
                      <a:pt x="115" y="121"/>
                    </a:lnTo>
                    <a:lnTo>
                      <a:pt x="117" y="116"/>
                    </a:lnTo>
                    <a:lnTo>
                      <a:pt x="122" y="109"/>
                    </a:lnTo>
                    <a:lnTo>
                      <a:pt x="124" y="97"/>
                    </a:lnTo>
                    <a:lnTo>
                      <a:pt x="127" y="94"/>
                    </a:lnTo>
                    <a:lnTo>
                      <a:pt x="132" y="87"/>
                    </a:lnTo>
                    <a:lnTo>
                      <a:pt x="132" y="82"/>
                    </a:lnTo>
                    <a:lnTo>
                      <a:pt x="131" y="80"/>
                    </a:lnTo>
                    <a:lnTo>
                      <a:pt x="132" y="77"/>
                    </a:lnTo>
                    <a:lnTo>
                      <a:pt x="136" y="73"/>
                    </a:lnTo>
                    <a:lnTo>
                      <a:pt x="141" y="72"/>
                    </a:lnTo>
                    <a:lnTo>
                      <a:pt x="144" y="70"/>
                    </a:lnTo>
                    <a:lnTo>
                      <a:pt x="148" y="65"/>
                    </a:lnTo>
                    <a:lnTo>
                      <a:pt x="155" y="63"/>
                    </a:lnTo>
                    <a:lnTo>
                      <a:pt x="158" y="62"/>
                    </a:lnTo>
                    <a:lnTo>
                      <a:pt x="173" y="53"/>
                    </a:lnTo>
                    <a:lnTo>
                      <a:pt x="178" y="50"/>
                    </a:lnTo>
                    <a:lnTo>
                      <a:pt x="180" y="46"/>
                    </a:lnTo>
                    <a:lnTo>
                      <a:pt x="187" y="31"/>
                    </a:lnTo>
                    <a:lnTo>
                      <a:pt x="187" y="28"/>
                    </a:lnTo>
                    <a:lnTo>
                      <a:pt x="194" y="16"/>
                    </a:lnTo>
                    <a:lnTo>
                      <a:pt x="199" y="0"/>
                    </a:lnTo>
                    <a:lnTo>
                      <a:pt x="209" y="0"/>
                    </a:lnTo>
                    <a:lnTo>
                      <a:pt x="228" y="0"/>
                    </a:lnTo>
                    <a:lnTo>
                      <a:pt x="258" y="0"/>
                    </a:lnTo>
                    <a:lnTo>
                      <a:pt x="267" y="0"/>
                    </a:lnTo>
                    <a:lnTo>
                      <a:pt x="279" y="0"/>
                    </a:lnTo>
                    <a:lnTo>
                      <a:pt x="308" y="0"/>
                    </a:lnTo>
                    <a:lnTo>
                      <a:pt x="325" y="0"/>
                    </a:lnTo>
                    <a:lnTo>
                      <a:pt x="352" y="2"/>
                    </a:lnTo>
                    <a:lnTo>
                      <a:pt x="396" y="2"/>
                    </a:lnTo>
                    <a:lnTo>
                      <a:pt x="427" y="2"/>
                    </a:lnTo>
                    <a:lnTo>
                      <a:pt x="427" y="19"/>
                    </a:lnTo>
                    <a:lnTo>
                      <a:pt x="427" y="41"/>
                    </a:lnTo>
                    <a:lnTo>
                      <a:pt x="427" y="56"/>
                    </a:lnTo>
                    <a:lnTo>
                      <a:pt x="427" y="85"/>
                    </a:lnTo>
                    <a:lnTo>
                      <a:pt x="316" y="85"/>
                    </a:lnTo>
                    <a:lnTo>
                      <a:pt x="258" y="87"/>
                    </a:lnTo>
                    <a:lnTo>
                      <a:pt x="258" y="136"/>
                    </a:lnTo>
                    <a:lnTo>
                      <a:pt x="258" y="164"/>
                    </a:lnTo>
                    <a:lnTo>
                      <a:pt x="258" y="215"/>
                    </a:lnTo>
                    <a:lnTo>
                      <a:pt x="251" y="216"/>
                    </a:lnTo>
                    <a:lnTo>
                      <a:pt x="241" y="221"/>
                    </a:lnTo>
                    <a:lnTo>
                      <a:pt x="229" y="223"/>
                    </a:lnTo>
                    <a:lnTo>
                      <a:pt x="209" y="235"/>
                    </a:lnTo>
                    <a:lnTo>
                      <a:pt x="207" y="238"/>
                    </a:lnTo>
                    <a:lnTo>
                      <a:pt x="202" y="244"/>
                    </a:lnTo>
                    <a:lnTo>
                      <a:pt x="200" y="252"/>
                    </a:lnTo>
                    <a:lnTo>
                      <a:pt x="200" y="257"/>
                    </a:lnTo>
                    <a:lnTo>
                      <a:pt x="206" y="307"/>
                    </a:lnTo>
                    <a:lnTo>
                      <a:pt x="207" y="324"/>
                    </a:lnTo>
                    <a:lnTo>
                      <a:pt x="146" y="322"/>
                    </a:lnTo>
                    <a:lnTo>
                      <a:pt x="117" y="322"/>
                    </a:lnTo>
                    <a:lnTo>
                      <a:pt x="68" y="322"/>
                    </a:lnTo>
                    <a:lnTo>
                      <a:pt x="8" y="322"/>
                    </a:lnTo>
                    <a:lnTo>
                      <a:pt x="2" y="344"/>
                    </a:lnTo>
                    <a:lnTo>
                      <a:pt x="3" y="351"/>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84" name="Freeform 62">
                <a:extLst>
                  <a:ext uri="{FF2B5EF4-FFF2-40B4-BE49-F238E27FC236}">
                    <a16:creationId xmlns:a16="http://schemas.microsoft.com/office/drawing/2014/main" id="{EE590440-DCAF-4E21-A7B6-E282601E9846}"/>
                  </a:ext>
                </a:extLst>
              </p:cNvPr>
              <p:cNvSpPr>
                <a:spLocks/>
              </p:cNvSpPr>
              <p:nvPr/>
            </p:nvSpPr>
            <p:spPr bwMode="gray">
              <a:xfrm>
                <a:off x="6345238" y="4114800"/>
                <a:ext cx="939800" cy="792163"/>
              </a:xfrm>
              <a:custGeom>
                <a:avLst/>
                <a:gdLst>
                  <a:gd name="T0" fmla="*/ 563 w 592"/>
                  <a:gd name="T1" fmla="*/ 70 h 499"/>
                  <a:gd name="T2" fmla="*/ 578 w 592"/>
                  <a:gd name="T3" fmla="*/ 97 h 499"/>
                  <a:gd name="T4" fmla="*/ 588 w 592"/>
                  <a:gd name="T5" fmla="*/ 123 h 499"/>
                  <a:gd name="T6" fmla="*/ 571 w 592"/>
                  <a:gd name="T7" fmla="*/ 135 h 499"/>
                  <a:gd name="T8" fmla="*/ 571 w 592"/>
                  <a:gd name="T9" fmla="*/ 160 h 499"/>
                  <a:gd name="T10" fmla="*/ 573 w 592"/>
                  <a:gd name="T11" fmla="*/ 177 h 499"/>
                  <a:gd name="T12" fmla="*/ 575 w 592"/>
                  <a:gd name="T13" fmla="*/ 206 h 499"/>
                  <a:gd name="T14" fmla="*/ 577 w 592"/>
                  <a:gd name="T15" fmla="*/ 220 h 499"/>
                  <a:gd name="T16" fmla="*/ 554 w 592"/>
                  <a:gd name="T17" fmla="*/ 230 h 499"/>
                  <a:gd name="T18" fmla="*/ 549 w 592"/>
                  <a:gd name="T19" fmla="*/ 266 h 499"/>
                  <a:gd name="T20" fmla="*/ 549 w 592"/>
                  <a:gd name="T21" fmla="*/ 278 h 499"/>
                  <a:gd name="T22" fmla="*/ 558 w 592"/>
                  <a:gd name="T23" fmla="*/ 296 h 499"/>
                  <a:gd name="T24" fmla="*/ 529 w 592"/>
                  <a:gd name="T25" fmla="*/ 307 h 499"/>
                  <a:gd name="T26" fmla="*/ 417 w 592"/>
                  <a:gd name="T27" fmla="*/ 344 h 499"/>
                  <a:gd name="T28" fmla="*/ 418 w 592"/>
                  <a:gd name="T29" fmla="*/ 376 h 499"/>
                  <a:gd name="T30" fmla="*/ 373 w 592"/>
                  <a:gd name="T31" fmla="*/ 380 h 499"/>
                  <a:gd name="T32" fmla="*/ 347 w 592"/>
                  <a:gd name="T33" fmla="*/ 407 h 499"/>
                  <a:gd name="T34" fmla="*/ 294 w 592"/>
                  <a:gd name="T35" fmla="*/ 444 h 499"/>
                  <a:gd name="T36" fmla="*/ 254 w 592"/>
                  <a:gd name="T37" fmla="*/ 494 h 499"/>
                  <a:gd name="T38" fmla="*/ 223 w 592"/>
                  <a:gd name="T39" fmla="*/ 492 h 499"/>
                  <a:gd name="T40" fmla="*/ 196 w 592"/>
                  <a:gd name="T41" fmla="*/ 494 h 499"/>
                  <a:gd name="T42" fmla="*/ 170 w 592"/>
                  <a:gd name="T43" fmla="*/ 487 h 499"/>
                  <a:gd name="T44" fmla="*/ 157 w 592"/>
                  <a:gd name="T45" fmla="*/ 478 h 499"/>
                  <a:gd name="T46" fmla="*/ 141 w 592"/>
                  <a:gd name="T47" fmla="*/ 472 h 499"/>
                  <a:gd name="T48" fmla="*/ 114 w 592"/>
                  <a:gd name="T49" fmla="*/ 470 h 499"/>
                  <a:gd name="T50" fmla="*/ 56 w 592"/>
                  <a:gd name="T51" fmla="*/ 467 h 499"/>
                  <a:gd name="T52" fmla="*/ 27 w 592"/>
                  <a:gd name="T53" fmla="*/ 439 h 499"/>
                  <a:gd name="T54" fmla="*/ 5 w 592"/>
                  <a:gd name="T55" fmla="*/ 419 h 499"/>
                  <a:gd name="T56" fmla="*/ 0 w 592"/>
                  <a:gd name="T57" fmla="*/ 278 h 499"/>
                  <a:gd name="T58" fmla="*/ 97 w 592"/>
                  <a:gd name="T59" fmla="*/ 227 h 499"/>
                  <a:gd name="T60" fmla="*/ 101 w 592"/>
                  <a:gd name="T61" fmla="*/ 199 h 499"/>
                  <a:gd name="T62" fmla="*/ 102 w 592"/>
                  <a:gd name="T63" fmla="*/ 148 h 499"/>
                  <a:gd name="T64" fmla="*/ 114 w 592"/>
                  <a:gd name="T65" fmla="*/ 143 h 499"/>
                  <a:gd name="T66" fmla="*/ 135 w 592"/>
                  <a:gd name="T67" fmla="*/ 160 h 499"/>
                  <a:gd name="T68" fmla="*/ 169 w 592"/>
                  <a:gd name="T69" fmla="*/ 154 h 499"/>
                  <a:gd name="T70" fmla="*/ 172 w 592"/>
                  <a:gd name="T71" fmla="*/ 174 h 499"/>
                  <a:gd name="T72" fmla="*/ 197 w 592"/>
                  <a:gd name="T73" fmla="*/ 186 h 499"/>
                  <a:gd name="T74" fmla="*/ 233 w 592"/>
                  <a:gd name="T75" fmla="*/ 191 h 499"/>
                  <a:gd name="T76" fmla="*/ 259 w 592"/>
                  <a:gd name="T77" fmla="*/ 171 h 499"/>
                  <a:gd name="T78" fmla="*/ 279 w 592"/>
                  <a:gd name="T79" fmla="*/ 198 h 499"/>
                  <a:gd name="T80" fmla="*/ 301 w 592"/>
                  <a:gd name="T81" fmla="*/ 208 h 499"/>
                  <a:gd name="T82" fmla="*/ 320 w 592"/>
                  <a:gd name="T83" fmla="*/ 213 h 499"/>
                  <a:gd name="T84" fmla="*/ 333 w 592"/>
                  <a:gd name="T85" fmla="*/ 237 h 499"/>
                  <a:gd name="T86" fmla="*/ 347 w 592"/>
                  <a:gd name="T87" fmla="*/ 247 h 499"/>
                  <a:gd name="T88" fmla="*/ 366 w 592"/>
                  <a:gd name="T89" fmla="*/ 264 h 499"/>
                  <a:gd name="T90" fmla="*/ 388 w 592"/>
                  <a:gd name="T91" fmla="*/ 257 h 499"/>
                  <a:gd name="T92" fmla="*/ 396 w 592"/>
                  <a:gd name="T93" fmla="*/ 199 h 499"/>
                  <a:gd name="T94" fmla="*/ 381 w 592"/>
                  <a:gd name="T95" fmla="*/ 211 h 499"/>
                  <a:gd name="T96" fmla="*/ 361 w 592"/>
                  <a:gd name="T97" fmla="*/ 211 h 499"/>
                  <a:gd name="T98" fmla="*/ 339 w 592"/>
                  <a:gd name="T99" fmla="*/ 191 h 499"/>
                  <a:gd name="T100" fmla="*/ 327 w 592"/>
                  <a:gd name="T101" fmla="*/ 177 h 499"/>
                  <a:gd name="T102" fmla="*/ 328 w 592"/>
                  <a:gd name="T103" fmla="*/ 155 h 499"/>
                  <a:gd name="T104" fmla="*/ 335 w 592"/>
                  <a:gd name="T105" fmla="*/ 128 h 499"/>
                  <a:gd name="T106" fmla="*/ 337 w 592"/>
                  <a:gd name="T107" fmla="*/ 116 h 499"/>
                  <a:gd name="T108" fmla="*/ 339 w 592"/>
                  <a:gd name="T109" fmla="*/ 84 h 499"/>
                  <a:gd name="T110" fmla="*/ 352 w 592"/>
                  <a:gd name="T111" fmla="*/ 12 h 499"/>
                  <a:gd name="T112" fmla="*/ 459 w 592"/>
                  <a:gd name="T113" fmla="*/ 19 h 499"/>
                  <a:gd name="T114" fmla="*/ 481 w 592"/>
                  <a:gd name="T115" fmla="*/ 24 h 499"/>
                  <a:gd name="T116" fmla="*/ 497 w 592"/>
                  <a:gd name="T117" fmla="*/ 34 h 499"/>
                  <a:gd name="T118" fmla="*/ 520 w 592"/>
                  <a:gd name="T119" fmla="*/ 46 h 499"/>
                  <a:gd name="T120" fmla="*/ 551 w 592"/>
                  <a:gd name="T121" fmla="*/ 5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2" h="499">
                    <a:moveTo>
                      <a:pt x="554" y="60"/>
                    </a:moveTo>
                    <a:lnTo>
                      <a:pt x="554" y="62"/>
                    </a:lnTo>
                    <a:lnTo>
                      <a:pt x="554" y="63"/>
                    </a:lnTo>
                    <a:lnTo>
                      <a:pt x="556" y="63"/>
                    </a:lnTo>
                    <a:lnTo>
                      <a:pt x="558" y="65"/>
                    </a:lnTo>
                    <a:lnTo>
                      <a:pt x="558" y="72"/>
                    </a:lnTo>
                    <a:lnTo>
                      <a:pt x="560" y="72"/>
                    </a:lnTo>
                    <a:lnTo>
                      <a:pt x="563" y="74"/>
                    </a:lnTo>
                    <a:lnTo>
                      <a:pt x="563" y="72"/>
                    </a:lnTo>
                    <a:lnTo>
                      <a:pt x="563" y="70"/>
                    </a:lnTo>
                    <a:lnTo>
                      <a:pt x="566" y="70"/>
                    </a:lnTo>
                    <a:lnTo>
                      <a:pt x="568" y="74"/>
                    </a:lnTo>
                    <a:lnTo>
                      <a:pt x="568" y="77"/>
                    </a:lnTo>
                    <a:lnTo>
                      <a:pt x="571" y="79"/>
                    </a:lnTo>
                    <a:lnTo>
                      <a:pt x="571" y="80"/>
                    </a:lnTo>
                    <a:lnTo>
                      <a:pt x="575" y="82"/>
                    </a:lnTo>
                    <a:lnTo>
                      <a:pt x="577" y="86"/>
                    </a:lnTo>
                    <a:lnTo>
                      <a:pt x="575" y="87"/>
                    </a:lnTo>
                    <a:lnTo>
                      <a:pt x="573" y="94"/>
                    </a:lnTo>
                    <a:lnTo>
                      <a:pt x="578" y="97"/>
                    </a:lnTo>
                    <a:lnTo>
                      <a:pt x="580" y="99"/>
                    </a:lnTo>
                    <a:lnTo>
                      <a:pt x="585" y="103"/>
                    </a:lnTo>
                    <a:lnTo>
                      <a:pt x="583" y="106"/>
                    </a:lnTo>
                    <a:lnTo>
                      <a:pt x="585" y="109"/>
                    </a:lnTo>
                    <a:lnTo>
                      <a:pt x="587" y="113"/>
                    </a:lnTo>
                    <a:lnTo>
                      <a:pt x="588" y="114"/>
                    </a:lnTo>
                    <a:lnTo>
                      <a:pt x="588" y="116"/>
                    </a:lnTo>
                    <a:lnTo>
                      <a:pt x="590" y="118"/>
                    </a:lnTo>
                    <a:lnTo>
                      <a:pt x="592" y="120"/>
                    </a:lnTo>
                    <a:lnTo>
                      <a:pt x="588" y="123"/>
                    </a:lnTo>
                    <a:lnTo>
                      <a:pt x="587" y="123"/>
                    </a:lnTo>
                    <a:lnTo>
                      <a:pt x="585" y="128"/>
                    </a:lnTo>
                    <a:lnTo>
                      <a:pt x="583" y="128"/>
                    </a:lnTo>
                    <a:lnTo>
                      <a:pt x="583" y="130"/>
                    </a:lnTo>
                    <a:lnTo>
                      <a:pt x="580" y="131"/>
                    </a:lnTo>
                    <a:lnTo>
                      <a:pt x="578" y="131"/>
                    </a:lnTo>
                    <a:lnTo>
                      <a:pt x="575" y="133"/>
                    </a:lnTo>
                    <a:lnTo>
                      <a:pt x="573" y="133"/>
                    </a:lnTo>
                    <a:lnTo>
                      <a:pt x="573" y="135"/>
                    </a:lnTo>
                    <a:lnTo>
                      <a:pt x="571" y="135"/>
                    </a:lnTo>
                    <a:lnTo>
                      <a:pt x="570" y="135"/>
                    </a:lnTo>
                    <a:lnTo>
                      <a:pt x="570" y="137"/>
                    </a:lnTo>
                    <a:lnTo>
                      <a:pt x="571" y="137"/>
                    </a:lnTo>
                    <a:lnTo>
                      <a:pt x="573" y="145"/>
                    </a:lnTo>
                    <a:lnTo>
                      <a:pt x="578" y="148"/>
                    </a:lnTo>
                    <a:lnTo>
                      <a:pt x="577" y="154"/>
                    </a:lnTo>
                    <a:lnTo>
                      <a:pt x="575" y="154"/>
                    </a:lnTo>
                    <a:lnTo>
                      <a:pt x="573" y="159"/>
                    </a:lnTo>
                    <a:lnTo>
                      <a:pt x="573" y="160"/>
                    </a:lnTo>
                    <a:lnTo>
                      <a:pt x="571" y="160"/>
                    </a:lnTo>
                    <a:lnTo>
                      <a:pt x="571" y="164"/>
                    </a:lnTo>
                    <a:lnTo>
                      <a:pt x="570" y="162"/>
                    </a:lnTo>
                    <a:lnTo>
                      <a:pt x="568" y="162"/>
                    </a:lnTo>
                    <a:lnTo>
                      <a:pt x="570" y="164"/>
                    </a:lnTo>
                    <a:lnTo>
                      <a:pt x="570" y="167"/>
                    </a:lnTo>
                    <a:lnTo>
                      <a:pt x="568" y="169"/>
                    </a:lnTo>
                    <a:lnTo>
                      <a:pt x="568" y="171"/>
                    </a:lnTo>
                    <a:lnTo>
                      <a:pt x="571" y="171"/>
                    </a:lnTo>
                    <a:lnTo>
                      <a:pt x="573" y="171"/>
                    </a:lnTo>
                    <a:lnTo>
                      <a:pt x="573" y="177"/>
                    </a:lnTo>
                    <a:lnTo>
                      <a:pt x="573" y="181"/>
                    </a:lnTo>
                    <a:lnTo>
                      <a:pt x="573" y="184"/>
                    </a:lnTo>
                    <a:lnTo>
                      <a:pt x="573" y="188"/>
                    </a:lnTo>
                    <a:lnTo>
                      <a:pt x="573" y="191"/>
                    </a:lnTo>
                    <a:lnTo>
                      <a:pt x="571" y="194"/>
                    </a:lnTo>
                    <a:lnTo>
                      <a:pt x="570" y="198"/>
                    </a:lnTo>
                    <a:lnTo>
                      <a:pt x="571" y="199"/>
                    </a:lnTo>
                    <a:lnTo>
                      <a:pt x="573" y="199"/>
                    </a:lnTo>
                    <a:lnTo>
                      <a:pt x="573" y="205"/>
                    </a:lnTo>
                    <a:lnTo>
                      <a:pt x="575" y="206"/>
                    </a:lnTo>
                    <a:lnTo>
                      <a:pt x="575" y="208"/>
                    </a:lnTo>
                    <a:lnTo>
                      <a:pt x="577" y="210"/>
                    </a:lnTo>
                    <a:lnTo>
                      <a:pt x="582" y="208"/>
                    </a:lnTo>
                    <a:lnTo>
                      <a:pt x="583" y="210"/>
                    </a:lnTo>
                    <a:lnTo>
                      <a:pt x="583" y="208"/>
                    </a:lnTo>
                    <a:lnTo>
                      <a:pt x="585" y="210"/>
                    </a:lnTo>
                    <a:lnTo>
                      <a:pt x="582" y="213"/>
                    </a:lnTo>
                    <a:lnTo>
                      <a:pt x="582" y="215"/>
                    </a:lnTo>
                    <a:lnTo>
                      <a:pt x="578" y="217"/>
                    </a:lnTo>
                    <a:lnTo>
                      <a:pt x="577" y="220"/>
                    </a:lnTo>
                    <a:lnTo>
                      <a:pt x="575" y="220"/>
                    </a:lnTo>
                    <a:lnTo>
                      <a:pt x="573" y="218"/>
                    </a:lnTo>
                    <a:lnTo>
                      <a:pt x="571" y="218"/>
                    </a:lnTo>
                    <a:lnTo>
                      <a:pt x="566" y="223"/>
                    </a:lnTo>
                    <a:lnTo>
                      <a:pt x="565" y="222"/>
                    </a:lnTo>
                    <a:lnTo>
                      <a:pt x="563" y="223"/>
                    </a:lnTo>
                    <a:lnTo>
                      <a:pt x="561" y="222"/>
                    </a:lnTo>
                    <a:lnTo>
                      <a:pt x="560" y="223"/>
                    </a:lnTo>
                    <a:lnTo>
                      <a:pt x="556" y="228"/>
                    </a:lnTo>
                    <a:lnTo>
                      <a:pt x="554" y="230"/>
                    </a:lnTo>
                    <a:lnTo>
                      <a:pt x="554" y="235"/>
                    </a:lnTo>
                    <a:lnTo>
                      <a:pt x="558" y="237"/>
                    </a:lnTo>
                    <a:lnTo>
                      <a:pt x="556" y="249"/>
                    </a:lnTo>
                    <a:lnTo>
                      <a:pt x="556" y="251"/>
                    </a:lnTo>
                    <a:lnTo>
                      <a:pt x="558" y="254"/>
                    </a:lnTo>
                    <a:lnTo>
                      <a:pt x="554" y="256"/>
                    </a:lnTo>
                    <a:lnTo>
                      <a:pt x="553" y="261"/>
                    </a:lnTo>
                    <a:lnTo>
                      <a:pt x="553" y="262"/>
                    </a:lnTo>
                    <a:lnTo>
                      <a:pt x="551" y="266"/>
                    </a:lnTo>
                    <a:lnTo>
                      <a:pt x="549" y="266"/>
                    </a:lnTo>
                    <a:lnTo>
                      <a:pt x="549" y="268"/>
                    </a:lnTo>
                    <a:lnTo>
                      <a:pt x="546" y="271"/>
                    </a:lnTo>
                    <a:lnTo>
                      <a:pt x="544" y="273"/>
                    </a:lnTo>
                    <a:lnTo>
                      <a:pt x="541" y="271"/>
                    </a:lnTo>
                    <a:lnTo>
                      <a:pt x="541" y="273"/>
                    </a:lnTo>
                    <a:lnTo>
                      <a:pt x="543" y="274"/>
                    </a:lnTo>
                    <a:lnTo>
                      <a:pt x="546" y="274"/>
                    </a:lnTo>
                    <a:lnTo>
                      <a:pt x="548" y="276"/>
                    </a:lnTo>
                    <a:lnTo>
                      <a:pt x="546" y="276"/>
                    </a:lnTo>
                    <a:lnTo>
                      <a:pt x="549" y="278"/>
                    </a:lnTo>
                    <a:lnTo>
                      <a:pt x="546" y="279"/>
                    </a:lnTo>
                    <a:lnTo>
                      <a:pt x="546" y="281"/>
                    </a:lnTo>
                    <a:lnTo>
                      <a:pt x="548" y="283"/>
                    </a:lnTo>
                    <a:lnTo>
                      <a:pt x="549" y="283"/>
                    </a:lnTo>
                    <a:lnTo>
                      <a:pt x="551" y="285"/>
                    </a:lnTo>
                    <a:lnTo>
                      <a:pt x="554" y="288"/>
                    </a:lnTo>
                    <a:lnTo>
                      <a:pt x="554" y="290"/>
                    </a:lnTo>
                    <a:lnTo>
                      <a:pt x="556" y="291"/>
                    </a:lnTo>
                    <a:lnTo>
                      <a:pt x="556" y="293"/>
                    </a:lnTo>
                    <a:lnTo>
                      <a:pt x="558" y="296"/>
                    </a:lnTo>
                    <a:lnTo>
                      <a:pt x="560" y="295"/>
                    </a:lnTo>
                    <a:lnTo>
                      <a:pt x="560" y="293"/>
                    </a:lnTo>
                    <a:lnTo>
                      <a:pt x="563" y="291"/>
                    </a:lnTo>
                    <a:lnTo>
                      <a:pt x="565" y="290"/>
                    </a:lnTo>
                    <a:lnTo>
                      <a:pt x="566" y="290"/>
                    </a:lnTo>
                    <a:lnTo>
                      <a:pt x="566" y="291"/>
                    </a:lnTo>
                    <a:lnTo>
                      <a:pt x="568" y="293"/>
                    </a:lnTo>
                    <a:lnTo>
                      <a:pt x="558" y="296"/>
                    </a:lnTo>
                    <a:lnTo>
                      <a:pt x="539" y="303"/>
                    </a:lnTo>
                    <a:lnTo>
                      <a:pt x="529" y="307"/>
                    </a:lnTo>
                    <a:lnTo>
                      <a:pt x="520" y="308"/>
                    </a:lnTo>
                    <a:lnTo>
                      <a:pt x="503" y="313"/>
                    </a:lnTo>
                    <a:lnTo>
                      <a:pt x="497" y="317"/>
                    </a:lnTo>
                    <a:lnTo>
                      <a:pt x="490" y="319"/>
                    </a:lnTo>
                    <a:lnTo>
                      <a:pt x="481" y="324"/>
                    </a:lnTo>
                    <a:lnTo>
                      <a:pt x="469" y="327"/>
                    </a:lnTo>
                    <a:lnTo>
                      <a:pt x="459" y="330"/>
                    </a:lnTo>
                    <a:lnTo>
                      <a:pt x="444" y="332"/>
                    </a:lnTo>
                    <a:lnTo>
                      <a:pt x="425" y="341"/>
                    </a:lnTo>
                    <a:lnTo>
                      <a:pt x="417" y="344"/>
                    </a:lnTo>
                    <a:lnTo>
                      <a:pt x="417" y="346"/>
                    </a:lnTo>
                    <a:lnTo>
                      <a:pt x="417" y="347"/>
                    </a:lnTo>
                    <a:lnTo>
                      <a:pt x="418" y="354"/>
                    </a:lnTo>
                    <a:lnTo>
                      <a:pt x="424" y="361"/>
                    </a:lnTo>
                    <a:lnTo>
                      <a:pt x="424" y="366"/>
                    </a:lnTo>
                    <a:lnTo>
                      <a:pt x="425" y="368"/>
                    </a:lnTo>
                    <a:lnTo>
                      <a:pt x="424" y="371"/>
                    </a:lnTo>
                    <a:lnTo>
                      <a:pt x="427" y="375"/>
                    </a:lnTo>
                    <a:lnTo>
                      <a:pt x="424" y="376"/>
                    </a:lnTo>
                    <a:lnTo>
                      <a:pt x="418" y="376"/>
                    </a:lnTo>
                    <a:lnTo>
                      <a:pt x="418" y="375"/>
                    </a:lnTo>
                    <a:lnTo>
                      <a:pt x="415" y="378"/>
                    </a:lnTo>
                    <a:lnTo>
                      <a:pt x="413" y="375"/>
                    </a:lnTo>
                    <a:lnTo>
                      <a:pt x="403" y="376"/>
                    </a:lnTo>
                    <a:lnTo>
                      <a:pt x="396" y="375"/>
                    </a:lnTo>
                    <a:lnTo>
                      <a:pt x="386" y="378"/>
                    </a:lnTo>
                    <a:lnTo>
                      <a:pt x="384" y="376"/>
                    </a:lnTo>
                    <a:lnTo>
                      <a:pt x="381" y="378"/>
                    </a:lnTo>
                    <a:lnTo>
                      <a:pt x="376" y="378"/>
                    </a:lnTo>
                    <a:lnTo>
                      <a:pt x="373" y="380"/>
                    </a:lnTo>
                    <a:lnTo>
                      <a:pt x="369" y="382"/>
                    </a:lnTo>
                    <a:lnTo>
                      <a:pt x="366" y="383"/>
                    </a:lnTo>
                    <a:lnTo>
                      <a:pt x="357" y="390"/>
                    </a:lnTo>
                    <a:lnTo>
                      <a:pt x="356" y="392"/>
                    </a:lnTo>
                    <a:lnTo>
                      <a:pt x="350" y="392"/>
                    </a:lnTo>
                    <a:lnTo>
                      <a:pt x="347" y="397"/>
                    </a:lnTo>
                    <a:lnTo>
                      <a:pt x="347" y="400"/>
                    </a:lnTo>
                    <a:lnTo>
                      <a:pt x="345" y="404"/>
                    </a:lnTo>
                    <a:lnTo>
                      <a:pt x="347" y="405"/>
                    </a:lnTo>
                    <a:lnTo>
                      <a:pt x="347" y="407"/>
                    </a:lnTo>
                    <a:lnTo>
                      <a:pt x="345" y="410"/>
                    </a:lnTo>
                    <a:lnTo>
                      <a:pt x="347" y="410"/>
                    </a:lnTo>
                    <a:lnTo>
                      <a:pt x="347" y="414"/>
                    </a:lnTo>
                    <a:lnTo>
                      <a:pt x="345" y="417"/>
                    </a:lnTo>
                    <a:lnTo>
                      <a:pt x="345" y="419"/>
                    </a:lnTo>
                    <a:lnTo>
                      <a:pt x="342" y="422"/>
                    </a:lnTo>
                    <a:lnTo>
                      <a:pt x="337" y="422"/>
                    </a:lnTo>
                    <a:lnTo>
                      <a:pt x="316" y="431"/>
                    </a:lnTo>
                    <a:lnTo>
                      <a:pt x="311" y="436"/>
                    </a:lnTo>
                    <a:lnTo>
                      <a:pt x="294" y="444"/>
                    </a:lnTo>
                    <a:lnTo>
                      <a:pt x="286" y="455"/>
                    </a:lnTo>
                    <a:lnTo>
                      <a:pt x="284" y="463"/>
                    </a:lnTo>
                    <a:lnTo>
                      <a:pt x="281" y="467"/>
                    </a:lnTo>
                    <a:lnTo>
                      <a:pt x="274" y="470"/>
                    </a:lnTo>
                    <a:lnTo>
                      <a:pt x="265" y="478"/>
                    </a:lnTo>
                    <a:lnTo>
                      <a:pt x="260" y="485"/>
                    </a:lnTo>
                    <a:lnTo>
                      <a:pt x="260" y="489"/>
                    </a:lnTo>
                    <a:lnTo>
                      <a:pt x="257" y="490"/>
                    </a:lnTo>
                    <a:lnTo>
                      <a:pt x="255" y="494"/>
                    </a:lnTo>
                    <a:lnTo>
                      <a:pt x="254" y="494"/>
                    </a:lnTo>
                    <a:lnTo>
                      <a:pt x="248" y="495"/>
                    </a:lnTo>
                    <a:lnTo>
                      <a:pt x="245" y="495"/>
                    </a:lnTo>
                    <a:lnTo>
                      <a:pt x="243" y="497"/>
                    </a:lnTo>
                    <a:lnTo>
                      <a:pt x="240" y="497"/>
                    </a:lnTo>
                    <a:lnTo>
                      <a:pt x="238" y="499"/>
                    </a:lnTo>
                    <a:lnTo>
                      <a:pt x="235" y="499"/>
                    </a:lnTo>
                    <a:lnTo>
                      <a:pt x="233" y="499"/>
                    </a:lnTo>
                    <a:lnTo>
                      <a:pt x="231" y="495"/>
                    </a:lnTo>
                    <a:lnTo>
                      <a:pt x="228" y="495"/>
                    </a:lnTo>
                    <a:lnTo>
                      <a:pt x="223" y="492"/>
                    </a:lnTo>
                    <a:lnTo>
                      <a:pt x="218" y="492"/>
                    </a:lnTo>
                    <a:lnTo>
                      <a:pt x="216" y="492"/>
                    </a:lnTo>
                    <a:lnTo>
                      <a:pt x="214" y="492"/>
                    </a:lnTo>
                    <a:lnTo>
                      <a:pt x="213" y="490"/>
                    </a:lnTo>
                    <a:lnTo>
                      <a:pt x="208" y="492"/>
                    </a:lnTo>
                    <a:lnTo>
                      <a:pt x="208" y="494"/>
                    </a:lnTo>
                    <a:lnTo>
                      <a:pt x="208" y="495"/>
                    </a:lnTo>
                    <a:lnTo>
                      <a:pt x="203" y="494"/>
                    </a:lnTo>
                    <a:lnTo>
                      <a:pt x="201" y="495"/>
                    </a:lnTo>
                    <a:lnTo>
                      <a:pt x="196" y="494"/>
                    </a:lnTo>
                    <a:lnTo>
                      <a:pt x="194" y="490"/>
                    </a:lnTo>
                    <a:lnTo>
                      <a:pt x="192" y="490"/>
                    </a:lnTo>
                    <a:lnTo>
                      <a:pt x="191" y="489"/>
                    </a:lnTo>
                    <a:lnTo>
                      <a:pt x="187" y="487"/>
                    </a:lnTo>
                    <a:lnTo>
                      <a:pt x="184" y="487"/>
                    </a:lnTo>
                    <a:lnTo>
                      <a:pt x="180" y="487"/>
                    </a:lnTo>
                    <a:lnTo>
                      <a:pt x="179" y="489"/>
                    </a:lnTo>
                    <a:lnTo>
                      <a:pt x="175" y="487"/>
                    </a:lnTo>
                    <a:lnTo>
                      <a:pt x="172" y="489"/>
                    </a:lnTo>
                    <a:lnTo>
                      <a:pt x="170" y="487"/>
                    </a:lnTo>
                    <a:lnTo>
                      <a:pt x="169" y="487"/>
                    </a:lnTo>
                    <a:lnTo>
                      <a:pt x="165" y="485"/>
                    </a:lnTo>
                    <a:lnTo>
                      <a:pt x="163" y="484"/>
                    </a:lnTo>
                    <a:lnTo>
                      <a:pt x="162" y="484"/>
                    </a:lnTo>
                    <a:lnTo>
                      <a:pt x="160" y="482"/>
                    </a:lnTo>
                    <a:lnTo>
                      <a:pt x="160" y="480"/>
                    </a:lnTo>
                    <a:lnTo>
                      <a:pt x="158" y="482"/>
                    </a:lnTo>
                    <a:lnTo>
                      <a:pt x="158" y="480"/>
                    </a:lnTo>
                    <a:lnTo>
                      <a:pt x="157" y="480"/>
                    </a:lnTo>
                    <a:lnTo>
                      <a:pt x="157" y="478"/>
                    </a:lnTo>
                    <a:lnTo>
                      <a:pt x="155" y="477"/>
                    </a:lnTo>
                    <a:lnTo>
                      <a:pt x="153" y="477"/>
                    </a:lnTo>
                    <a:lnTo>
                      <a:pt x="155" y="475"/>
                    </a:lnTo>
                    <a:lnTo>
                      <a:pt x="152" y="475"/>
                    </a:lnTo>
                    <a:lnTo>
                      <a:pt x="152" y="473"/>
                    </a:lnTo>
                    <a:lnTo>
                      <a:pt x="148" y="473"/>
                    </a:lnTo>
                    <a:lnTo>
                      <a:pt x="146" y="473"/>
                    </a:lnTo>
                    <a:lnTo>
                      <a:pt x="146" y="472"/>
                    </a:lnTo>
                    <a:lnTo>
                      <a:pt x="143" y="472"/>
                    </a:lnTo>
                    <a:lnTo>
                      <a:pt x="141" y="472"/>
                    </a:lnTo>
                    <a:lnTo>
                      <a:pt x="141" y="470"/>
                    </a:lnTo>
                    <a:lnTo>
                      <a:pt x="140" y="472"/>
                    </a:lnTo>
                    <a:lnTo>
                      <a:pt x="136" y="470"/>
                    </a:lnTo>
                    <a:lnTo>
                      <a:pt x="129" y="472"/>
                    </a:lnTo>
                    <a:lnTo>
                      <a:pt x="129" y="470"/>
                    </a:lnTo>
                    <a:lnTo>
                      <a:pt x="128" y="472"/>
                    </a:lnTo>
                    <a:lnTo>
                      <a:pt x="124" y="470"/>
                    </a:lnTo>
                    <a:lnTo>
                      <a:pt x="121" y="468"/>
                    </a:lnTo>
                    <a:lnTo>
                      <a:pt x="118" y="470"/>
                    </a:lnTo>
                    <a:lnTo>
                      <a:pt x="114" y="470"/>
                    </a:lnTo>
                    <a:lnTo>
                      <a:pt x="114" y="468"/>
                    </a:lnTo>
                    <a:lnTo>
                      <a:pt x="94" y="473"/>
                    </a:lnTo>
                    <a:lnTo>
                      <a:pt x="73" y="477"/>
                    </a:lnTo>
                    <a:lnTo>
                      <a:pt x="72" y="475"/>
                    </a:lnTo>
                    <a:lnTo>
                      <a:pt x="70" y="475"/>
                    </a:lnTo>
                    <a:lnTo>
                      <a:pt x="65" y="472"/>
                    </a:lnTo>
                    <a:lnTo>
                      <a:pt x="63" y="473"/>
                    </a:lnTo>
                    <a:lnTo>
                      <a:pt x="60" y="470"/>
                    </a:lnTo>
                    <a:lnTo>
                      <a:pt x="58" y="468"/>
                    </a:lnTo>
                    <a:lnTo>
                      <a:pt x="56" y="467"/>
                    </a:lnTo>
                    <a:lnTo>
                      <a:pt x="55" y="465"/>
                    </a:lnTo>
                    <a:lnTo>
                      <a:pt x="53" y="461"/>
                    </a:lnTo>
                    <a:lnTo>
                      <a:pt x="53" y="463"/>
                    </a:lnTo>
                    <a:lnTo>
                      <a:pt x="50" y="458"/>
                    </a:lnTo>
                    <a:lnTo>
                      <a:pt x="44" y="455"/>
                    </a:lnTo>
                    <a:lnTo>
                      <a:pt x="41" y="453"/>
                    </a:lnTo>
                    <a:lnTo>
                      <a:pt x="39" y="451"/>
                    </a:lnTo>
                    <a:lnTo>
                      <a:pt x="38" y="450"/>
                    </a:lnTo>
                    <a:lnTo>
                      <a:pt x="36" y="448"/>
                    </a:lnTo>
                    <a:lnTo>
                      <a:pt x="27" y="439"/>
                    </a:lnTo>
                    <a:lnTo>
                      <a:pt x="24" y="436"/>
                    </a:lnTo>
                    <a:lnTo>
                      <a:pt x="19" y="429"/>
                    </a:lnTo>
                    <a:lnTo>
                      <a:pt x="17" y="429"/>
                    </a:lnTo>
                    <a:lnTo>
                      <a:pt x="16" y="427"/>
                    </a:lnTo>
                    <a:lnTo>
                      <a:pt x="14" y="426"/>
                    </a:lnTo>
                    <a:lnTo>
                      <a:pt x="12" y="424"/>
                    </a:lnTo>
                    <a:lnTo>
                      <a:pt x="10" y="424"/>
                    </a:lnTo>
                    <a:lnTo>
                      <a:pt x="9" y="421"/>
                    </a:lnTo>
                    <a:lnTo>
                      <a:pt x="7" y="419"/>
                    </a:lnTo>
                    <a:lnTo>
                      <a:pt x="5" y="419"/>
                    </a:lnTo>
                    <a:lnTo>
                      <a:pt x="7" y="419"/>
                    </a:lnTo>
                    <a:lnTo>
                      <a:pt x="7" y="417"/>
                    </a:lnTo>
                    <a:lnTo>
                      <a:pt x="7" y="416"/>
                    </a:lnTo>
                    <a:lnTo>
                      <a:pt x="5" y="412"/>
                    </a:lnTo>
                    <a:lnTo>
                      <a:pt x="4" y="409"/>
                    </a:lnTo>
                    <a:lnTo>
                      <a:pt x="4" y="407"/>
                    </a:lnTo>
                    <a:lnTo>
                      <a:pt x="0" y="405"/>
                    </a:lnTo>
                    <a:lnTo>
                      <a:pt x="0" y="404"/>
                    </a:lnTo>
                    <a:lnTo>
                      <a:pt x="0" y="363"/>
                    </a:lnTo>
                    <a:lnTo>
                      <a:pt x="0" y="278"/>
                    </a:lnTo>
                    <a:lnTo>
                      <a:pt x="0" y="264"/>
                    </a:lnTo>
                    <a:lnTo>
                      <a:pt x="0" y="242"/>
                    </a:lnTo>
                    <a:lnTo>
                      <a:pt x="36" y="242"/>
                    </a:lnTo>
                    <a:lnTo>
                      <a:pt x="104" y="242"/>
                    </a:lnTo>
                    <a:lnTo>
                      <a:pt x="102" y="239"/>
                    </a:lnTo>
                    <a:lnTo>
                      <a:pt x="101" y="237"/>
                    </a:lnTo>
                    <a:lnTo>
                      <a:pt x="97" y="237"/>
                    </a:lnTo>
                    <a:lnTo>
                      <a:pt x="95" y="234"/>
                    </a:lnTo>
                    <a:lnTo>
                      <a:pt x="95" y="230"/>
                    </a:lnTo>
                    <a:lnTo>
                      <a:pt x="97" y="227"/>
                    </a:lnTo>
                    <a:lnTo>
                      <a:pt x="97" y="225"/>
                    </a:lnTo>
                    <a:lnTo>
                      <a:pt x="99" y="222"/>
                    </a:lnTo>
                    <a:lnTo>
                      <a:pt x="99" y="218"/>
                    </a:lnTo>
                    <a:lnTo>
                      <a:pt x="102" y="215"/>
                    </a:lnTo>
                    <a:lnTo>
                      <a:pt x="104" y="213"/>
                    </a:lnTo>
                    <a:lnTo>
                      <a:pt x="106" y="210"/>
                    </a:lnTo>
                    <a:lnTo>
                      <a:pt x="104" y="208"/>
                    </a:lnTo>
                    <a:lnTo>
                      <a:pt x="104" y="205"/>
                    </a:lnTo>
                    <a:lnTo>
                      <a:pt x="101" y="203"/>
                    </a:lnTo>
                    <a:lnTo>
                      <a:pt x="101" y="199"/>
                    </a:lnTo>
                    <a:lnTo>
                      <a:pt x="101" y="184"/>
                    </a:lnTo>
                    <a:lnTo>
                      <a:pt x="102" y="182"/>
                    </a:lnTo>
                    <a:lnTo>
                      <a:pt x="101" y="176"/>
                    </a:lnTo>
                    <a:lnTo>
                      <a:pt x="99" y="174"/>
                    </a:lnTo>
                    <a:lnTo>
                      <a:pt x="101" y="174"/>
                    </a:lnTo>
                    <a:lnTo>
                      <a:pt x="102" y="167"/>
                    </a:lnTo>
                    <a:lnTo>
                      <a:pt x="102" y="164"/>
                    </a:lnTo>
                    <a:lnTo>
                      <a:pt x="106" y="162"/>
                    </a:lnTo>
                    <a:lnTo>
                      <a:pt x="102" y="155"/>
                    </a:lnTo>
                    <a:lnTo>
                      <a:pt x="102" y="148"/>
                    </a:lnTo>
                    <a:lnTo>
                      <a:pt x="102" y="147"/>
                    </a:lnTo>
                    <a:lnTo>
                      <a:pt x="102" y="142"/>
                    </a:lnTo>
                    <a:lnTo>
                      <a:pt x="102" y="140"/>
                    </a:lnTo>
                    <a:lnTo>
                      <a:pt x="101" y="137"/>
                    </a:lnTo>
                    <a:lnTo>
                      <a:pt x="101" y="135"/>
                    </a:lnTo>
                    <a:lnTo>
                      <a:pt x="104" y="135"/>
                    </a:lnTo>
                    <a:lnTo>
                      <a:pt x="107" y="137"/>
                    </a:lnTo>
                    <a:lnTo>
                      <a:pt x="109" y="143"/>
                    </a:lnTo>
                    <a:lnTo>
                      <a:pt x="111" y="142"/>
                    </a:lnTo>
                    <a:lnTo>
                      <a:pt x="114" y="143"/>
                    </a:lnTo>
                    <a:lnTo>
                      <a:pt x="118" y="143"/>
                    </a:lnTo>
                    <a:lnTo>
                      <a:pt x="121" y="145"/>
                    </a:lnTo>
                    <a:lnTo>
                      <a:pt x="121" y="154"/>
                    </a:lnTo>
                    <a:lnTo>
                      <a:pt x="119" y="159"/>
                    </a:lnTo>
                    <a:lnTo>
                      <a:pt x="116" y="160"/>
                    </a:lnTo>
                    <a:lnTo>
                      <a:pt x="121" y="162"/>
                    </a:lnTo>
                    <a:lnTo>
                      <a:pt x="123" y="164"/>
                    </a:lnTo>
                    <a:lnTo>
                      <a:pt x="131" y="164"/>
                    </a:lnTo>
                    <a:lnTo>
                      <a:pt x="131" y="162"/>
                    </a:lnTo>
                    <a:lnTo>
                      <a:pt x="135" y="160"/>
                    </a:lnTo>
                    <a:lnTo>
                      <a:pt x="136" y="159"/>
                    </a:lnTo>
                    <a:lnTo>
                      <a:pt x="138" y="157"/>
                    </a:lnTo>
                    <a:lnTo>
                      <a:pt x="140" y="157"/>
                    </a:lnTo>
                    <a:lnTo>
                      <a:pt x="145" y="155"/>
                    </a:lnTo>
                    <a:lnTo>
                      <a:pt x="145" y="154"/>
                    </a:lnTo>
                    <a:lnTo>
                      <a:pt x="157" y="154"/>
                    </a:lnTo>
                    <a:lnTo>
                      <a:pt x="163" y="152"/>
                    </a:lnTo>
                    <a:lnTo>
                      <a:pt x="167" y="150"/>
                    </a:lnTo>
                    <a:lnTo>
                      <a:pt x="170" y="150"/>
                    </a:lnTo>
                    <a:lnTo>
                      <a:pt x="169" y="154"/>
                    </a:lnTo>
                    <a:lnTo>
                      <a:pt x="169" y="155"/>
                    </a:lnTo>
                    <a:lnTo>
                      <a:pt x="167" y="157"/>
                    </a:lnTo>
                    <a:lnTo>
                      <a:pt x="167" y="159"/>
                    </a:lnTo>
                    <a:lnTo>
                      <a:pt x="165" y="160"/>
                    </a:lnTo>
                    <a:lnTo>
                      <a:pt x="169" y="165"/>
                    </a:lnTo>
                    <a:lnTo>
                      <a:pt x="167" y="167"/>
                    </a:lnTo>
                    <a:lnTo>
                      <a:pt x="167" y="169"/>
                    </a:lnTo>
                    <a:lnTo>
                      <a:pt x="169" y="172"/>
                    </a:lnTo>
                    <a:lnTo>
                      <a:pt x="170" y="174"/>
                    </a:lnTo>
                    <a:lnTo>
                      <a:pt x="172" y="174"/>
                    </a:lnTo>
                    <a:lnTo>
                      <a:pt x="174" y="176"/>
                    </a:lnTo>
                    <a:lnTo>
                      <a:pt x="177" y="176"/>
                    </a:lnTo>
                    <a:lnTo>
                      <a:pt x="177" y="177"/>
                    </a:lnTo>
                    <a:lnTo>
                      <a:pt x="177" y="181"/>
                    </a:lnTo>
                    <a:lnTo>
                      <a:pt x="186" y="177"/>
                    </a:lnTo>
                    <a:lnTo>
                      <a:pt x="186" y="181"/>
                    </a:lnTo>
                    <a:lnTo>
                      <a:pt x="189" y="182"/>
                    </a:lnTo>
                    <a:lnTo>
                      <a:pt x="192" y="182"/>
                    </a:lnTo>
                    <a:lnTo>
                      <a:pt x="196" y="182"/>
                    </a:lnTo>
                    <a:lnTo>
                      <a:pt x="197" y="186"/>
                    </a:lnTo>
                    <a:lnTo>
                      <a:pt x="201" y="186"/>
                    </a:lnTo>
                    <a:lnTo>
                      <a:pt x="203" y="189"/>
                    </a:lnTo>
                    <a:lnTo>
                      <a:pt x="213" y="188"/>
                    </a:lnTo>
                    <a:lnTo>
                      <a:pt x="218" y="189"/>
                    </a:lnTo>
                    <a:lnTo>
                      <a:pt x="220" y="189"/>
                    </a:lnTo>
                    <a:lnTo>
                      <a:pt x="223" y="188"/>
                    </a:lnTo>
                    <a:lnTo>
                      <a:pt x="226" y="188"/>
                    </a:lnTo>
                    <a:lnTo>
                      <a:pt x="228" y="189"/>
                    </a:lnTo>
                    <a:lnTo>
                      <a:pt x="230" y="191"/>
                    </a:lnTo>
                    <a:lnTo>
                      <a:pt x="233" y="191"/>
                    </a:lnTo>
                    <a:lnTo>
                      <a:pt x="238" y="191"/>
                    </a:lnTo>
                    <a:lnTo>
                      <a:pt x="242" y="189"/>
                    </a:lnTo>
                    <a:lnTo>
                      <a:pt x="243" y="191"/>
                    </a:lnTo>
                    <a:lnTo>
                      <a:pt x="247" y="191"/>
                    </a:lnTo>
                    <a:lnTo>
                      <a:pt x="250" y="188"/>
                    </a:lnTo>
                    <a:lnTo>
                      <a:pt x="254" y="184"/>
                    </a:lnTo>
                    <a:lnTo>
                      <a:pt x="254" y="181"/>
                    </a:lnTo>
                    <a:lnTo>
                      <a:pt x="255" y="177"/>
                    </a:lnTo>
                    <a:lnTo>
                      <a:pt x="254" y="172"/>
                    </a:lnTo>
                    <a:lnTo>
                      <a:pt x="259" y="171"/>
                    </a:lnTo>
                    <a:lnTo>
                      <a:pt x="260" y="172"/>
                    </a:lnTo>
                    <a:lnTo>
                      <a:pt x="264" y="171"/>
                    </a:lnTo>
                    <a:lnTo>
                      <a:pt x="265" y="174"/>
                    </a:lnTo>
                    <a:lnTo>
                      <a:pt x="264" y="181"/>
                    </a:lnTo>
                    <a:lnTo>
                      <a:pt x="267" y="182"/>
                    </a:lnTo>
                    <a:lnTo>
                      <a:pt x="271" y="184"/>
                    </a:lnTo>
                    <a:lnTo>
                      <a:pt x="277" y="189"/>
                    </a:lnTo>
                    <a:lnTo>
                      <a:pt x="277" y="193"/>
                    </a:lnTo>
                    <a:lnTo>
                      <a:pt x="279" y="196"/>
                    </a:lnTo>
                    <a:lnTo>
                      <a:pt x="279" y="198"/>
                    </a:lnTo>
                    <a:lnTo>
                      <a:pt x="281" y="201"/>
                    </a:lnTo>
                    <a:lnTo>
                      <a:pt x="284" y="203"/>
                    </a:lnTo>
                    <a:lnTo>
                      <a:pt x="286" y="205"/>
                    </a:lnTo>
                    <a:lnTo>
                      <a:pt x="291" y="206"/>
                    </a:lnTo>
                    <a:lnTo>
                      <a:pt x="293" y="205"/>
                    </a:lnTo>
                    <a:lnTo>
                      <a:pt x="294" y="205"/>
                    </a:lnTo>
                    <a:lnTo>
                      <a:pt x="294" y="203"/>
                    </a:lnTo>
                    <a:lnTo>
                      <a:pt x="299" y="205"/>
                    </a:lnTo>
                    <a:lnTo>
                      <a:pt x="299" y="206"/>
                    </a:lnTo>
                    <a:lnTo>
                      <a:pt x="301" y="208"/>
                    </a:lnTo>
                    <a:lnTo>
                      <a:pt x="301" y="210"/>
                    </a:lnTo>
                    <a:lnTo>
                      <a:pt x="303" y="208"/>
                    </a:lnTo>
                    <a:lnTo>
                      <a:pt x="305" y="210"/>
                    </a:lnTo>
                    <a:lnTo>
                      <a:pt x="308" y="210"/>
                    </a:lnTo>
                    <a:lnTo>
                      <a:pt x="310" y="213"/>
                    </a:lnTo>
                    <a:lnTo>
                      <a:pt x="313" y="211"/>
                    </a:lnTo>
                    <a:lnTo>
                      <a:pt x="315" y="213"/>
                    </a:lnTo>
                    <a:lnTo>
                      <a:pt x="316" y="213"/>
                    </a:lnTo>
                    <a:lnTo>
                      <a:pt x="318" y="213"/>
                    </a:lnTo>
                    <a:lnTo>
                      <a:pt x="320" y="213"/>
                    </a:lnTo>
                    <a:lnTo>
                      <a:pt x="325" y="217"/>
                    </a:lnTo>
                    <a:lnTo>
                      <a:pt x="327" y="218"/>
                    </a:lnTo>
                    <a:lnTo>
                      <a:pt x="327" y="220"/>
                    </a:lnTo>
                    <a:lnTo>
                      <a:pt x="330" y="223"/>
                    </a:lnTo>
                    <a:lnTo>
                      <a:pt x="330" y="227"/>
                    </a:lnTo>
                    <a:lnTo>
                      <a:pt x="328" y="227"/>
                    </a:lnTo>
                    <a:lnTo>
                      <a:pt x="327" y="228"/>
                    </a:lnTo>
                    <a:lnTo>
                      <a:pt x="332" y="234"/>
                    </a:lnTo>
                    <a:lnTo>
                      <a:pt x="332" y="237"/>
                    </a:lnTo>
                    <a:lnTo>
                      <a:pt x="333" y="237"/>
                    </a:lnTo>
                    <a:lnTo>
                      <a:pt x="335" y="234"/>
                    </a:lnTo>
                    <a:lnTo>
                      <a:pt x="337" y="234"/>
                    </a:lnTo>
                    <a:lnTo>
                      <a:pt x="340" y="237"/>
                    </a:lnTo>
                    <a:lnTo>
                      <a:pt x="342" y="239"/>
                    </a:lnTo>
                    <a:lnTo>
                      <a:pt x="344" y="239"/>
                    </a:lnTo>
                    <a:lnTo>
                      <a:pt x="344" y="240"/>
                    </a:lnTo>
                    <a:lnTo>
                      <a:pt x="345" y="242"/>
                    </a:lnTo>
                    <a:lnTo>
                      <a:pt x="347" y="245"/>
                    </a:lnTo>
                    <a:lnTo>
                      <a:pt x="345" y="247"/>
                    </a:lnTo>
                    <a:lnTo>
                      <a:pt x="347" y="247"/>
                    </a:lnTo>
                    <a:lnTo>
                      <a:pt x="347" y="251"/>
                    </a:lnTo>
                    <a:lnTo>
                      <a:pt x="350" y="251"/>
                    </a:lnTo>
                    <a:lnTo>
                      <a:pt x="352" y="261"/>
                    </a:lnTo>
                    <a:lnTo>
                      <a:pt x="354" y="261"/>
                    </a:lnTo>
                    <a:lnTo>
                      <a:pt x="354" y="264"/>
                    </a:lnTo>
                    <a:lnTo>
                      <a:pt x="356" y="264"/>
                    </a:lnTo>
                    <a:lnTo>
                      <a:pt x="361" y="261"/>
                    </a:lnTo>
                    <a:lnTo>
                      <a:pt x="362" y="262"/>
                    </a:lnTo>
                    <a:lnTo>
                      <a:pt x="364" y="264"/>
                    </a:lnTo>
                    <a:lnTo>
                      <a:pt x="366" y="264"/>
                    </a:lnTo>
                    <a:lnTo>
                      <a:pt x="369" y="261"/>
                    </a:lnTo>
                    <a:lnTo>
                      <a:pt x="371" y="259"/>
                    </a:lnTo>
                    <a:lnTo>
                      <a:pt x="373" y="261"/>
                    </a:lnTo>
                    <a:lnTo>
                      <a:pt x="373" y="259"/>
                    </a:lnTo>
                    <a:lnTo>
                      <a:pt x="376" y="259"/>
                    </a:lnTo>
                    <a:lnTo>
                      <a:pt x="381" y="254"/>
                    </a:lnTo>
                    <a:lnTo>
                      <a:pt x="384" y="254"/>
                    </a:lnTo>
                    <a:lnTo>
                      <a:pt x="388" y="254"/>
                    </a:lnTo>
                    <a:lnTo>
                      <a:pt x="390" y="256"/>
                    </a:lnTo>
                    <a:lnTo>
                      <a:pt x="388" y="257"/>
                    </a:lnTo>
                    <a:lnTo>
                      <a:pt x="388" y="259"/>
                    </a:lnTo>
                    <a:lnTo>
                      <a:pt x="384" y="261"/>
                    </a:lnTo>
                    <a:lnTo>
                      <a:pt x="386" y="262"/>
                    </a:lnTo>
                    <a:lnTo>
                      <a:pt x="388" y="264"/>
                    </a:lnTo>
                    <a:lnTo>
                      <a:pt x="391" y="266"/>
                    </a:lnTo>
                    <a:lnTo>
                      <a:pt x="395" y="264"/>
                    </a:lnTo>
                    <a:lnTo>
                      <a:pt x="396" y="266"/>
                    </a:lnTo>
                    <a:lnTo>
                      <a:pt x="396" y="249"/>
                    </a:lnTo>
                    <a:lnTo>
                      <a:pt x="396" y="208"/>
                    </a:lnTo>
                    <a:lnTo>
                      <a:pt x="396" y="199"/>
                    </a:lnTo>
                    <a:lnTo>
                      <a:pt x="393" y="199"/>
                    </a:lnTo>
                    <a:lnTo>
                      <a:pt x="391" y="201"/>
                    </a:lnTo>
                    <a:lnTo>
                      <a:pt x="390" y="203"/>
                    </a:lnTo>
                    <a:lnTo>
                      <a:pt x="388" y="203"/>
                    </a:lnTo>
                    <a:lnTo>
                      <a:pt x="383" y="201"/>
                    </a:lnTo>
                    <a:lnTo>
                      <a:pt x="381" y="203"/>
                    </a:lnTo>
                    <a:lnTo>
                      <a:pt x="379" y="205"/>
                    </a:lnTo>
                    <a:lnTo>
                      <a:pt x="378" y="208"/>
                    </a:lnTo>
                    <a:lnTo>
                      <a:pt x="379" y="211"/>
                    </a:lnTo>
                    <a:lnTo>
                      <a:pt x="381" y="211"/>
                    </a:lnTo>
                    <a:lnTo>
                      <a:pt x="381" y="213"/>
                    </a:lnTo>
                    <a:lnTo>
                      <a:pt x="379" y="215"/>
                    </a:lnTo>
                    <a:lnTo>
                      <a:pt x="374" y="213"/>
                    </a:lnTo>
                    <a:lnTo>
                      <a:pt x="371" y="213"/>
                    </a:lnTo>
                    <a:lnTo>
                      <a:pt x="369" y="213"/>
                    </a:lnTo>
                    <a:lnTo>
                      <a:pt x="369" y="211"/>
                    </a:lnTo>
                    <a:lnTo>
                      <a:pt x="367" y="210"/>
                    </a:lnTo>
                    <a:lnTo>
                      <a:pt x="367" y="211"/>
                    </a:lnTo>
                    <a:lnTo>
                      <a:pt x="364" y="210"/>
                    </a:lnTo>
                    <a:lnTo>
                      <a:pt x="361" y="211"/>
                    </a:lnTo>
                    <a:lnTo>
                      <a:pt x="359" y="211"/>
                    </a:lnTo>
                    <a:lnTo>
                      <a:pt x="357" y="211"/>
                    </a:lnTo>
                    <a:lnTo>
                      <a:pt x="356" y="206"/>
                    </a:lnTo>
                    <a:lnTo>
                      <a:pt x="350" y="201"/>
                    </a:lnTo>
                    <a:lnTo>
                      <a:pt x="347" y="199"/>
                    </a:lnTo>
                    <a:lnTo>
                      <a:pt x="345" y="196"/>
                    </a:lnTo>
                    <a:lnTo>
                      <a:pt x="344" y="194"/>
                    </a:lnTo>
                    <a:lnTo>
                      <a:pt x="342" y="191"/>
                    </a:lnTo>
                    <a:lnTo>
                      <a:pt x="340" y="191"/>
                    </a:lnTo>
                    <a:lnTo>
                      <a:pt x="339" y="191"/>
                    </a:lnTo>
                    <a:lnTo>
                      <a:pt x="335" y="189"/>
                    </a:lnTo>
                    <a:lnTo>
                      <a:pt x="335" y="188"/>
                    </a:lnTo>
                    <a:lnTo>
                      <a:pt x="333" y="188"/>
                    </a:lnTo>
                    <a:lnTo>
                      <a:pt x="328" y="186"/>
                    </a:lnTo>
                    <a:lnTo>
                      <a:pt x="328" y="182"/>
                    </a:lnTo>
                    <a:lnTo>
                      <a:pt x="327" y="184"/>
                    </a:lnTo>
                    <a:lnTo>
                      <a:pt x="327" y="182"/>
                    </a:lnTo>
                    <a:lnTo>
                      <a:pt x="327" y="181"/>
                    </a:lnTo>
                    <a:lnTo>
                      <a:pt x="325" y="177"/>
                    </a:lnTo>
                    <a:lnTo>
                      <a:pt x="327" y="177"/>
                    </a:lnTo>
                    <a:lnTo>
                      <a:pt x="325" y="176"/>
                    </a:lnTo>
                    <a:lnTo>
                      <a:pt x="325" y="174"/>
                    </a:lnTo>
                    <a:lnTo>
                      <a:pt x="323" y="171"/>
                    </a:lnTo>
                    <a:lnTo>
                      <a:pt x="323" y="169"/>
                    </a:lnTo>
                    <a:lnTo>
                      <a:pt x="323" y="165"/>
                    </a:lnTo>
                    <a:lnTo>
                      <a:pt x="325" y="162"/>
                    </a:lnTo>
                    <a:lnTo>
                      <a:pt x="325" y="160"/>
                    </a:lnTo>
                    <a:lnTo>
                      <a:pt x="327" y="160"/>
                    </a:lnTo>
                    <a:lnTo>
                      <a:pt x="327" y="155"/>
                    </a:lnTo>
                    <a:lnTo>
                      <a:pt x="328" y="155"/>
                    </a:lnTo>
                    <a:lnTo>
                      <a:pt x="328" y="154"/>
                    </a:lnTo>
                    <a:lnTo>
                      <a:pt x="328" y="152"/>
                    </a:lnTo>
                    <a:lnTo>
                      <a:pt x="328" y="148"/>
                    </a:lnTo>
                    <a:lnTo>
                      <a:pt x="328" y="147"/>
                    </a:lnTo>
                    <a:lnTo>
                      <a:pt x="330" y="142"/>
                    </a:lnTo>
                    <a:lnTo>
                      <a:pt x="330" y="140"/>
                    </a:lnTo>
                    <a:lnTo>
                      <a:pt x="332" y="138"/>
                    </a:lnTo>
                    <a:lnTo>
                      <a:pt x="332" y="133"/>
                    </a:lnTo>
                    <a:lnTo>
                      <a:pt x="335" y="130"/>
                    </a:lnTo>
                    <a:lnTo>
                      <a:pt x="335" y="128"/>
                    </a:lnTo>
                    <a:lnTo>
                      <a:pt x="335" y="126"/>
                    </a:lnTo>
                    <a:lnTo>
                      <a:pt x="337" y="126"/>
                    </a:lnTo>
                    <a:lnTo>
                      <a:pt x="337" y="125"/>
                    </a:lnTo>
                    <a:lnTo>
                      <a:pt x="339" y="125"/>
                    </a:lnTo>
                    <a:lnTo>
                      <a:pt x="339" y="123"/>
                    </a:lnTo>
                    <a:lnTo>
                      <a:pt x="337" y="121"/>
                    </a:lnTo>
                    <a:lnTo>
                      <a:pt x="339" y="120"/>
                    </a:lnTo>
                    <a:lnTo>
                      <a:pt x="337" y="118"/>
                    </a:lnTo>
                    <a:lnTo>
                      <a:pt x="335" y="116"/>
                    </a:lnTo>
                    <a:lnTo>
                      <a:pt x="337" y="116"/>
                    </a:lnTo>
                    <a:lnTo>
                      <a:pt x="335" y="114"/>
                    </a:lnTo>
                    <a:lnTo>
                      <a:pt x="337" y="113"/>
                    </a:lnTo>
                    <a:lnTo>
                      <a:pt x="335" y="109"/>
                    </a:lnTo>
                    <a:lnTo>
                      <a:pt x="335" y="106"/>
                    </a:lnTo>
                    <a:lnTo>
                      <a:pt x="333" y="103"/>
                    </a:lnTo>
                    <a:lnTo>
                      <a:pt x="335" y="99"/>
                    </a:lnTo>
                    <a:lnTo>
                      <a:pt x="335" y="94"/>
                    </a:lnTo>
                    <a:lnTo>
                      <a:pt x="337" y="92"/>
                    </a:lnTo>
                    <a:lnTo>
                      <a:pt x="335" y="91"/>
                    </a:lnTo>
                    <a:lnTo>
                      <a:pt x="339" y="84"/>
                    </a:lnTo>
                    <a:lnTo>
                      <a:pt x="340" y="80"/>
                    </a:lnTo>
                    <a:lnTo>
                      <a:pt x="339" y="74"/>
                    </a:lnTo>
                    <a:lnTo>
                      <a:pt x="339" y="69"/>
                    </a:lnTo>
                    <a:lnTo>
                      <a:pt x="335" y="63"/>
                    </a:lnTo>
                    <a:lnTo>
                      <a:pt x="335" y="62"/>
                    </a:lnTo>
                    <a:lnTo>
                      <a:pt x="330" y="57"/>
                    </a:lnTo>
                    <a:lnTo>
                      <a:pt x="332" y="53"/>
                    </a:lnTo>
                    <a:lnTo>
                      <a:pt x="349" y="28"/>
                    </a:lnTo>
                    <a:lnTo>
                      <a:pt x="350" y="14"/>
                    </a:lnTo>
                    <a:lnTo>
                      <a:pt x="352" y="12"/>
                    </a:lnTo>
                    <a:lnTo>
                      <a:pt x="354" y="12"/>
                    </a:lnTo>
                    <a:lnTo>
                      <a:pt x="371" y="11"/>
                    </a:lnTo>
                    <a:lnTo>
                      <a:pt x="388" y="7"/>
                    </a:lnTo>
                    <a:lnTo>
                      <a:pt x="398" y="6"/>
                    </a:lnTo>
                    <a:lnTo>
                      <a:pt x="405" y="6"/>
                    </a:lnTo>
                    <a:lnTo>
                      <a:pt x="420" y="4"/>
                    </a:lnTo>
                    <a:lnTo>
                      <a:pt x="434" y="2"/>
                    </a:lnTo>
                    <a:lnTo>
                      <a:pt x="446" y="0"/>
                    </a:lnTo>
                    <a:lnTo>
                      <a:pt x="452" y="12"/>
                    </a:lnTo>
                    <a:lnTo>
                      <a:pt x="459" y="19"/>
                    </a:lnTo>
                    <a:lnTo>
                      <a:pt x="463" y="21"/>
                    </a:lnTo>
                    <a:lnTo>
                      <a:pt x="466" y="19"/>
                    </a:lnTo>
                    <a:lnTo>
                      <a:pt x="468" y="19"/>
                    </a:lnTo>
                    <a:lnTo>
                      <a:pt x="469" y="21"/>
                    </a:lnTo>
                    <a:lnTo>
                      <a:pt x="471" y="19"/>
                    </a:lnTo>
                    <a:lnTo>
                      <a:pt x="473" y="21"/>
                    </a:lnTo>
                    <a:lnTo>
                      <a:pt x="475" y="19"/>
                    </a:lnTo>
                    <a:lnTo>
                      <a:pt x="476" y="21"/>
                    </a:lnTo>
                    <a:lnTo>
                      <a:pt x="480" y="21"/>
                    </a:lnTo>
                    <a:lnTo>
                      <a:pt x="481" y="24"/>
                    </a:lnTo>
                    <a:lnTo>
                      <a:pt x="483" y="24"/>
                    </a:lnTo>
                    <a:lnTo>
                      <a:pt x="485" y="24"/>
                    </a:lnTo>
                    <a:lnTo>
                      <a:pt x="485" y="28"/>
                    </a:lnTo>
                    <a:lnTo>
                      <a:pt x="485" y="29"/>
                    </a:lnTo>
                    <a:lnTo>
                      <a:pt x="485" y="31"/>
                    </a:lnTo>
                    <a:lnTo>
                      <a:pt x="488" y="33"/>
                    </a:lnTo>
                    <a:lnTo>
                      <a:pt x="490" y="36"/>
                    </a:lnTo>
                    <a:lnTo>
                      <a:pt x="493" y="36"/>
                    </a:lnTo>
                    <a:lnTo>
                      <a:pt x="495" y="34"/>
                    </a:lnTo>
                    <a:lnTo>
                      <a:pt x="497" y="34"/>
                    </a:lnTo>
                    <a:lnTo>
                      <a:pt x="502" y="34"/>
                    </a:lnTo>
                    <a:lnTo>
                      <a:pt x="503" y="36"/>
                    </a:lnTo>
                    <a:lnTo>
                      <a:pt x="503" y="38"/>
                    </a:lnTo>
                    <a:lnTo>
                      <a:pt x="503" y="41"/>
                    </a:lnTo>
                    <a:lnTo>
                      <a:pt x="505" y="43"/>
                    </a:lnTo>
                    <a:lnTo>
                      <a:pt x="507" y="43"/>
                    </a:lnTo>
                    <a:lnTo>
                      <a:pt x="510" y="41"/>
                    </a:lnTo>
                    <a:lnTo>
                      <a:pt x="514" y="43"/>
                    </a:lnTo>
                    <a:lnTo>
                      <a:pt x="517" y="45"/>
                    </a:lnTo>
                    <a:lnTo>
                      <a:pt x="520" y="46"/>
                    </a:lnTo>
                    <a:lnTo>
                      <a:pt x="529" y="46"/>
                    </a:lnTo>
                    <a:lnTo>
                      <a:pt x="531" y="46"/>
                    </a:lnTo>
                    <a:lnTo>
                      <a:pt x="531" y="48"/>
                    </a:lnTo>
                    <a:lnTo>
                      <a:pt x="534" y="53"/>
                    </a:lnTo>
                    <a:lnTo>
                      <a:pt x="536" y="53"/>
                    </a:lnTo>
                    <a:lnTo>
                      <a:pt x="537" y="53"/>
                    </a:lnTo>
                    <a:lnTo>
                      <a:pt x="543" y="53"/>
                    </a:lnTo>
                    <a:lnTo>
                      <a:pt x="544" y="55"/>
                    </a:lnTo>
                    <a:lnTo>
                      <a:pt x="549" y="58"/>
                    </a:lnTo>
                    <a:lnTo>
                      <a:pt x="551" y="58"/>
                    </a:lnTo>
                    <a:lnTo>
                      <a:pt x="551" y="60"/>
                    </a:lnTo>
                    <a:lnTo>
                      <a:pt x="553" y="58"/>
                    </a:lnTo>
                    <a:lnTo>
                      <a:pt x="553" y="60"/>
                    </a:lnTo>
                    <a:lnTo>
                      <a:pt x="554" y="60"/>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86" name="Freeform 63">
                <a:extLst>
                  <a:ext uri="{FF2B5EF4-FFF2-40B4-BE49-F238E27FC236}">
                    <a16:creationId xmlns:a16="http://schemas.microsoft.com/office/drawing/2014/main" id="{91CFED69-2269-4C5D-95EF-EFA4224C5350}"/>
                  </a:ext>
                </a:extLst>
              </p:cNvPr>
              <p:cNvSpPr>
                <a:spLocks/>
              </p:cNvSpPr>
              <p:nvPr/>
            </p:nvSpPr>
            <p:spPr bwMode="gray">
              <a:xfrm>
                <a:off x="6576184" y="4674493"/>
                <a:ext cx="658055" cy="583309"/>
              </a:xfrm>
              <a:custGeom>
                <a:avLst/>
                <a:gdLst>
                  <a:gd name="T0" fmla="*/ 295 w 397"/>
                  <a:gd name="T1" fmla="*/ 20 h 345"/>
                  <a:gd name="T2" fmla="*/ 310 w 397"/>
                  <a:gd name="T3" fmla="*/ 22 h 345"/>
                  <a:gd name="T4" fmla="*/ 318 w 397"/>
                  <a:gd name="T5" fmla="*/ 29 h 345"/>
                  <a:gd name="T6" fmla="*/ 335 w 397"/>
                  <a:gd name="T7" fmla="*/ 35 h 345"/>
                  <a:gd name="T8" fmla="*/ 380 w 397"/>
                  <a:gd name="T9" fmla="*/ 51 h 345"/>
                  <a:gd name="T10" fmla="*/ 393 w 397"/>
                  <a:gd name="T11" fmla="*/ 56 h 345"/>
                  <a:gd name="T12" fmla="*/ 397 w 397"/>
                  <a:gd name="T13" fmla="*/ 88 h 345"/>
                  <a:gd name="T14" fmla="*/ 397 w 397"/>
                  <a:gd name="T15" fmla="*/ 100 h 345"/>
                  <a:gd name="T16" fmla="*/ 391 w 397"/>
                  <a:gd name="T17" fmla="*/ 112 h 345"/>
                  <a:gd name="T18" fmla="*/ 391 w 397"/>
                  <a:gd name="T19" fmla="*/ 122 h 345"/>
                  <a:gd name="T20" fmla="*/ 395 w 397"/>
                  <a:gd name="T21" fmla="*/ 144 h 345"/>
                  <a:gd name="T22" fmla="*/ 390 w 397"/>
                  <a:gd name="T23" fmla="*/ 160 h 345"/>
                  <a:gd name="T24" fmla="*/ 381 w 397"/>
                  <a:gd name="T25" fmla="*/ 173 h 345"/>
                  <a:gd name="T26" fmla="*/ 383 w 397"/>
                  <a:gd name="T27" fmla="*/ 195 h 345"/>
                  <a:gd name="T28" fmla="*/ 388 w 397"/>
                  <a:gd name="T29" fmla="*/ 206 h 345"/>
                  <a:gd name="T30" fmla="*/ 397 w 397"/>
                  <a:gd name="T31" fmla="*/ 212 h 345"/>
                  <a:gd name="T32" fmla="*/ 388 w 397"/>
                  <a:gd name="T33" fmla="*/ 228 h 345"/>
                  <a:gd name="T34" fmla="*/ 385 w 397"/>
                  <a:gd name="T35" fmla="*/ 240 h 345"/>
                  <a:gd name="T36" fmla="*/ 369 w 397"/>
                  <a:gd name="T37" fmla="*/ 268 h 345"/>
                  <a:gd name="T38" fmla="*/ 364 w 397"/>
                  <a:gd name="T39" fmla="*/ 289 h 345"/>
                  <a:gd name="T40" fmla="*/ 308 w 397"/>
                  <a:gd name="T41" fmla="*/ 345 h 345"/>
                  <a:gd name="T42" fmla="*/ 291 w 397"/>
                  <a:gd name="T43" fmla="*/ 340 h 345"/>
                  <a:gd name="T44" fmla="*/ 272 w 397"/>
                  <a:gd name="T45" fmla="*/ 340 h 345"/>
                  <a:gd name="T46" fmla="*/ 249 w 397"/>
                  <a:gd name="T47" fmla="*/ 340 h 345"/>
                  <a:gd name="T48" fmla="*/ 237 w 397"/>
                  <a:gd name="T49" fmla="*/ 333 h 345"/>
                  <a:gd name="T50" fmla="*/ 218 w 397"/>
                  <a:gd name="T51" fmla="*/ 333 h 345"/>
                  <a:gd name="T52" fmla="*/ 199 w 397"/>
                  <a:gd name="T53" fmla="*/ 326 h 345"/>
                  <a:gd name="T54" fmla="*/ 194 w 397"/>
                  <a:gd name="T55" fmla="*/ 314 h 345"/>
                  <a:gd name="T56" fmla="*/ 167 w 397"/>
                  <a:gd name="T57" fmla="*/ 306 h 345"/>
                  <a:gd name="T58" fmla="*/ 142 w 397"/>
                  <a:gd name="T59" fmla="*/ 299 h 345"/>
                  <a:gd name="T60" fmla="*/ 136 w 397"/>
                  <a:gd name="T61" fmla="*/ 291 h 345"/>
                  <a:gd name="T62" fmla="*/ 126 w 397"/>
                  <a:gd name="T63" fmla="*/ 275 h 345"/>
                  <a:gd name="T64" fmla="*/ 126 w 397"/>
                  <a:gd name="T65" fmla="*/ 265 h 345"/>
                  <a:gd name="T66" fmla="*/ 126 w 397"/>
                  <a:gd name="T67" fmla="*/ 248 h 345"/>
                  <a:gd name="T68" fmla="*/ 113 w 397"/>
                  <a:gd name="T69" fmla="*/ 246 h 345"/>
                  <a:gd name="T70" fmla="*/ 96 w 397"/>
                  <a:gd name="T71" fmla="*/ 226 h 345"/>
                  <a:gd name="T72" fmla="*/ 79 w 397"/>
                  <a:gd name="T73" fmla="*/ 219 h 345"/>
                  <a:gd name="T74" fmla="*/ 60 w 397"/>
                  <a:gd name="T75" fmla="*/ 206 h 345"/>
                  <a:gd name="T76" fmla="*/ 46 w 397"/>
                  <a:gd name="T77" fmla="*/ 194 h 345"/>
                  <a:gd name="T78" fmla="*/ 36 w 397"/>
                  <a:gd name="T79" fmla="*/ 166 h 345"/>
                  <a:gd name="T80" fmla="*/ 24 w 397"/>
                  <a:gd name="T81" fmla="*/ 149 h 345"/>
                  <a:gd name="T82" fmla="*/ 6 w 397"/>
                  <a:gd name="T83" fmla="*/ 124 h 345"/>
                  <a:gd name="T84" fmla="*/ 7 w 397"/>
                  <a:gd name="T85" fmla="*/ 112 h 345"/>
                  <a:gd name="T86" fmla="*/ 24 w 397"/>
                  <a:gd name="T87" fmla="*/ 112 h 345"/>
                  <a:gd name="T88" fmla="*/ 40 w 397"/>
                  <a:gd name="T89" fmla="*/ 119 h 345"/>
                  <a:gd name="T90" fmla="*/ 53 w 397"/>
                  <a:gd name="T91" fmla="*/ 117 h 345"/>
                  <a:gd name="T92" fmla="*/ 72 w 397"/>
                  <a:gd name="T93" fmla="*/ 124 h 345"/>
                  <a:gd name="T94" fmla="*/ 91 w 397"/>
                  <a:gd name="T95" fmla="*/ 119 h 345"/>
                  <a:gd name="T96" fmla="*/ 111 w 397"/>
                  <a:gd name="T97" fmla="*/ 95 h 345"/>
                  <a:gd name="T98" fmla="*/ 153 w 397"/>
                  <a:gd name="T99" fmla="*/ 56 h 345"/>
                  <a:gd name="T100" fmla="*/ 184 w 397"/>
                  <a:gd name="T101" fmla="*/ 35 h 345"/>
                  <a:gd name="T102" fmla="*/ 184 w 397"/>
                  <a:gd name="T103" fmla="*/ 22 h 345"/>
                  <a:gd name="T104" fmla="*/ 210 w 397"/>
                  <a:gd name="T105" fmla="*/ 5 h 345"/>
                  <a:gd name="T106" fmla="*/ 240 w 397"/>
                  <a:gd name="T107" fmla="*/ 1 h 345"/>
                  <a:gd name="T108" fmla="*/ 264 w 39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7" h="345">
                    <a:moveTo>
                      <a:pt x="264" y="0"/>
                    </a:moveTo>
                    <a:lnTo>
                      <a:pt x="264" y="20"/>
                    </a:lnTo>
                    <a:lnTo>
                      <a:pt x="269" y="20"/>
                    </a:lnTo>
                    <a:lnTo>
                      <a:pt x="288" y="20"/>
                    </a:lnTo>
                    <a:lnTo>
                      <a:pt x="293" y="22"/>
                    </a:lnTo>
                    <a:lnTo>
                      <a:pt x="295" y="20"/>
                    </a:lnTo>
                    <a:lnTo>
                      <a:pt x="300" y="18"/>
                    </a:lnTo>
                    <a:lnTo>
                      <a:pt x="301" y="18"/>
                    </a:lnTo>
                    <a:lnTo>
                      <a:pt x="301" y="20"/>
                    </a:lnTo>
                    <a:lnTo>
                      <a:pt x="306" y="20"/>
                    </a:lnTo>
                    <a:lnTo>
                      <a:pt x="308" y="20"/>
                    </a:lnTo>
                    <a:lnTo>
                      <a:pt x="310" y="22"/>
                    </a:lnTo>
                    <a:lnTo>
                      <a:pt x="310" y="24"/>
                    </a:lnTo>
                    <a:lnTo>
                      <a:pt x="313" y="25"/>
                    </a:lnTo>
                    <a:lnTo>
                      <a:pt x="313" y="27"/>
                    </a:lnTo>
                    <a:lnTo>
                      <a:pt x="315" y="27"/>
                    </a:lnTo>
                    <a:lnTo>
                      <a:pt x="318" y="27"/>
                    </a:lnTo>
                    <a:lnTo>
                      <a:pt x="318" y="29"/>
                    </a:lnTo>
                    <a:lnTo>
                      <a:pt x="318" y="27"/>
                    </a:lnTo>
                    <a:lnTo>
                      <a:pt x="322" y="29"/>
                    </a:lnTo>
                    <a:lnTo>
                      <a:pt x="325" y="29"/>
                    </a:lnTo>
                    <a:lnTo>
                      <a:pt x="330" y="30"/>
                    </a:lnTo>
                    <a:lnTo>
                      <a:pt x="334" y="34"/>
                    </a:lnTo>
                    <a:lnTo>
                      <a:pt x="335" y="35"/>
                    </a:lnTo>
                    <a:lnTo>
                      <a:pt x="339" y="37"/>
                    </a:lnTo>
                    <a:lnTo>
                      <a:pt x="339" y="41"/>
                    </a:lnTo>
                    <a:lnTo>
                      <a:pt x="346" y="42"/>
                    </a:lnTo>
                    <a:lnTo>
                      <a:pt x="359" y="42"/>
                    </a:lnTo>
                    <a:lnTo>
                      <a:pt x="373" y="47"/>
                    </a:lnTo>
                    <a:lnTo>
                      <a:pt x="380" y="51"/>
                    </a:lnTo>
                    <a:lnTo>
                      <a:pt x="378" y="54"/>
                    </a:lnTo>
                    <a:lnTo>
                      <a:pt x="381" y="56"/>
                    </a:lnTo>
                    <a:lnTo>
                      <a:pt x="386" y="54"/>
                    </a:lnTo>
                    <a:lnTo>
                      <a:pt x="388" y="56"/>
                    </a:lnTo>
                    <a:lnTo>
                      <a:pt x="390" y="54"/>
                    </a:lnTo>
                    <a:lnTo>
                      <a:pt x="393" y="56"/>
                    </a:lnTo>
                    <a:lnTo>
                      <a:pt x="390" y="64"/>
                    </a:lnTo>
                    <a:lnTo>
                      <a:pt x="386" y="66"/>
                    </a:lnTo>
                    <a:lnTo>
                      <a:pt x="391" y="75"/>
                    </a:lnTo>
                    <a:lnTo>
                      <a:pt x="393" y="80"/>
                    </a:lnTo>
                    <a:lnTo>
                      <a:pt x="393" y="85"/>
                    </a:lnTo>
                    <a:lnTo>
                      <a:pt x="397" y="88"/>
                    </a:lnTo>
                    <a:lnTo>
                      <a:pt x="395" y="90"/>
                    </a:lnTo>
                    <a:lnTo>
                      <a:pt x="393" y="93"/>
                    </a:lnTo>
                    <a:lnTo>
                      <a:pt x="391" y="95"/>
                    </a:lnTo>
                    <a:lnTo>
                      <a:pt x="393" y="98"/>
                    </a:lnTo>
                    <a:lnTo>
                      <a:pt x="395" y="98"/>
                    </a:lnTo>
                    <a:lnTo>
                      <a:pt x="397" y="100"/>
                    </a:lnTo>
                    <a:lnTo>
                      <a:pt x="395" y="105"/>
                    </a:lnTo>
                    <a:lnTo>
                      <a:pt x="395" y="107"/>
                    </a:lnTo>
                    <a:lnTo>
                      <a:pt x="395" y="109"/>
                    </a:lnTo>
                    <a:lnTo>
                      <a:pt x="395" y="110"/>
                    </a:lnTo>
                    <a:lnTo>
                      <a:pt x="393" y="110"/>
                    </a:lnTo>
                    <a:lnTo>
                      <a:pt x="391" y="112"/>
                    </a:lnTo>
                    <a:lnTo>
                      <a:pt x="391" y="115"/>
                    </a:lnTo>
                    <a:lnTo>
                      <a:pt x="393" y="117"/>
                    </a:lnTo>
                    <a:lnTo>
                      <a:pt x="393" y="119"/>
                    </a:lnTo>
                    <a:lnTo>
                      <a:pt x="391" y="119"/>
                    </a:lnTo>
                    <a:lnTo>
                      <a:pt x="391" y="120"/>
                    </a:lnTo>
                    <a:lnTo>
                      <a:pt x="391" y="122"/>
                    </a:lnTo>
                    <a:lnTo>
                      <a:pt x="393" y="127"/>
                    </a:lnTo>
                    <a:lnTo>
                      <a:pt x="393" y="129"/>
                    </a:lnTo>
                    <a:lnTo>
                      <a:pt x="393" y="136"/>
                    </a:lnTo>
                    <a:lnTo>
                      <a:pt x="397" y="139"/>
                    </a:lnTo>
                    <a:lnTo>
                      <a:pt x="395" y="141"/>
                    </a:lnTo>
                    <a:lnTo>
                      <a:pt x="395" y="144"/>
                    </a:lnTo>
                    <a:lnTo>
                      <a:pt x="393" y="146"/>
                    </a:lnTo>
                    <a:lnTo>
                      <a:pt x="391" y="144"/>
                    </a:lnTo>
                    <a:lnTo>
                      <a:pt x="388" y="146"/>
                    </a:lnTo>
                    <a:lnTo>
                      <a:pt x="388" y="151"/>
                    </a:lnTo>
                    <a:lnTo>
                      <a:pt x="391" y="155"/>
                    </a:lnTo>
                    <a:lnTo>
                      <a:pt x="390" y="160"/>
                    </a:lnTo>
                    <a:lnTo>
                      <a:pt x="388" y="161"/>
                    </a:lnTo>
                    <a:lnTo>
                      <a:pt x="385" y="160"/>
                    </a:lnTo>
                    <a:lnTo>
                      <a:pt x="380" y="163"/>
                    </a:lnTo>
                    <a:lnTo>
                      <a:pt x="380" y="168"/>
                    </a:lnTo>
                    <a:lnTo>
                      <a:pt x="380" y="173"/>
                    </a:lnTo>
                    <a:lnTo>
                      <a:pt x="381" y="173"/>
                    </a:lnTo>
                    <a:lnTo>
                      <a:pt x="383" y="172"/>
                    </a:lnTo>
                    <a:lnTo>
                      <a:pt x="385" y="172"/>
                    </a:lnTo>
                    <a:lnTo>
                      <a:pt x="388" y="177"/>
                    </a:lnTo>
                    <a:lnTo>
                      <a:pt x="386" y="187"/>
                    </a:lnTo>
                    <a:lnTo>
                      <a:pt x="383" y="190"/>
                    </a:lnTo>
                    <a:lnTo>
                      <a:pt x="383" y="195"/>
                    </a:lnTo>
                    <a:lnTo>
                      <a:pt x="386" y="195"/>
                    </a:lnTo>
                    <a:lnTo>
                      <a:pt x="386" y="197"/>
                    </a:lnTo>
                    <a:lnTo>
                      <a:pt x="386" y="199"/>
                    </a:lnTo>
                    <a:lnTo>
                      <a:pt x="386" y="202"/>
                    </a:lnTo>
                    <a:lnTo>
                      <a:pt x="385" y="206"/>
                    </a:lnTo>
                    <a:lnTo>
                      <a:pt x="388" y="206"/>
                    </a:lnTo>
                    <a:lnTo>
                      <a:pt x="391" y="206"/>
                    </a:lnTo>
                    <a:lnTo>
                      <a:pt x="393" y="206"/>
                    </a:lnTo>
                    <a:lnTo>
                      <a:pt x="391" y="207"/>
                    </a:lnTo>
                    <a:lnTo>
                      <a:pt x="391" y="209"/>
                    </a:lnTo>
                    <a:lnTo>
                      <a:pt x="395" y="211"/>
                    </a:lnTo>
                    <a:lnTo>
                      <a:pt x="397" y="212"/>
                    </a:lnTo>
                    <a:lnTo>
                      <a:pt x="395" y="216"/>
                    </a:lnTo>
                    <a:lnTo>
                      <a:pt x="395" y="223"/>
                    </a:lnTo>
                    <a:lnTo>
                      <a:pt x="393" y="224"/>
                    </a:lnTo>
                    <a:lnTo>
                      <a:pt x="390" y="224"/>
                    </a:lnTo>
                    <a:lnTo>
                      <a:pt x="390" y="228"/>
                    </a:lnTo>
                    <a:lnTo>
                      <a:pt x="388" y="228"/>
                    </a:lnTo>
                    <a:lnTo>
                      <a:pt x="386" y="229"/>
                    </a:lnTo>
                    <a:lnTo>
                      <a:pt x="388" y="231"/>
                    </a:lnTo>
                    <a:lnTo>
                      <a:pt x="386" y="233"/>
                    </a:lnTo>
                    <a:lnTo>
                      <a:pt x="386" y="234"/>
                    </a:lnTo>
                    <a:lnTo>
                      <a:pt x="386" y="236"/>
                    </a:lnTo>
                    <a:lnTo>
                      <a:pt x="385" y="240"/>
                    </a:lnTo>
                    <a:lnTo>
                      <a:pt x="383" y="241"/>
                    </a:lnTo>
                    <a:lnTo>
                      <a:pt x="378" y="250"/>
                    </a:lnTo>
                    <a:lnTo>
                      <a:pt x="373" y="251"/>
                    </a:lnTo>
                    <a:lnTo>
                      <a:pt x="368" y="253"/>
                    </a:lnTo>
                    <a:lnTo>
                      <a:pt x="368" y="263"/>
                    </a:lnTo>
                    <a:lnTo>
                      <a:pt x="369" y="268"/>
                    </a:lnTo>
                    <a:lnTo>
                      <a:pt x="366" y="275"/>
                    </a:lnTo>
                    <a:lnTo>
                      <a:pt x="361" y="280"/>
                    </a:lnTo>
                    <a:lnTo>
                      <a:pt x="364" y="282"/>
                    </a:lnTo>
                    <a:lnTo>
                      <a:pt x="363" y="282"/>
                    </a:lnTo>
                    <a:lnTo>
                      <a:pt x="368" y="289"/>
                    </a:lnTo>
                    <a:lnTo>
                      <a:pt x="364" y="289"/>
                    </a:lnTo>
                    <a:lnTo>
                      <a:pt x="359" y="294"/>
                    </a:lnTo>
                    <a:lnTo>
                      <a:pt x="342" y="311"/>
                    </a:lnTo>
                    <a:lnTo>
                      <a:pt x="327" y="326"/>
                    </a:lnTo>
                    <a:lnTo>
                      <a:pt x="318" y="335"/>
                    </a:lnTo>
                    <a:lnTo>
                      <a:pt x="318" y="337"/>
                    </a:lnTo>
                    <a:lnTo>
                      <a:pt x="308" y="345"/>
                    </a:lnTo>
                    <a:lnTo>
                      <a:pt x="306" y="342"/>
                    </a:lnTo>
                    <a:lnTo>
                      <a:pt x="303" y="342"/>
                    </a:lnTo>
                    <a:lnTo>
                      <a:pt x="301" y="340"/>
                    </a:lnTo>
                    <a:lnTo>
                      <a:pt x="298" y="342"/>
                    </a:lnTo>
                    <a:lnTo>
                      <a:pt x="293" y="340"/>
                    </a:lnTo>
                    <a:lnTo>
                      <a:pt x="291" y="340"/>
                    </a:lnTo>
                    <a:lnTo>
                      <a:pt x="289" y="338"/>
                    </a:lnTo>
                    <a:lnTo>
                      <a:pt x="284" y="338"/>
                    </a:lnTo>
                    <a:lnTo>
                      <a:pt x="278" y="340"/>
                    </a:lnTo>
                    <a:lnTo>
                      <a:pt x="276" y="340"/>
                    </a:lnTo>
                    <a:lnTo>
                      <a:pt x="274" y="340"/>
                    </a:lnTo>
                    <a:lnTo>
                      <a:pt x="272" y="340"/>
                    </a:lnTo>
                    <a:lnTo>
                      <a:pt x="271" y="340"/>
                    </a:lnTo>
                    <a:lnTo>
                      <a:pt x="267" y="340"/>
                    </a:lnTo>
                    <a:lnTo>
                      <a:pt x="261" y="342"/>
                    </a:lnTo>
                    <a:lnTo>
                      <a:pt x="257" y="342"/>
                    </a:lnTo>
                    <a:lnTo>
                      <a:pt x="254" y="338"/>
                    </a:lnTo>
                    <a:lnTo>
                      <a:pt x="249" y="340"/>
                    </a:lnTo>
                    <a:lnTo>
                      <a:pt x="245" y="337"/>
                    </a:lnTo>
                    <a:lnTo>
                      <a:pt x="244" y="337"/>
                    </a:lnTo>
                    <a:lnTo>
                      <a:pt x="244" y="335"/>
                    </a:lnTo>
                    <a:lnTo>
                      <a:pt x="240" y="335"/>
                    </a:lnTo>
                    <a:lnTo>
                      <a:pt x="238" y="333"/>
                    </a:lnTo>
                    <a:lnTo>
                      <a:pt x="237" y="333"/>
                    </a:lnTo>
                    <a:lnTo>
                      <a:pt x="230" y="330"/>
                    </a:lnTo>
                    <a:lnTo>
                      <a:pt x="225" y="330"/>
                    </a:lnTo>
                    <a:lnTo>
                      <a:pt x="221" y="331"/>
                    </a:lnTo>
                    <a:lnTo>
                      <a:pt x="221" y="330"/>
                    </a:lnTo>
                    <a:lnTo>
                      <a:pt x="218" y="331"/>
                    </a:lnTo>
                    <a:lnTo>
                      <a:pt x="218" y="333"/>
                    </a:lnTo>
                    <a:lnTo>
                      <a:pt x="215" y="331"/>
                    </a:lnTo>
                    <a:lnTo>
                      <a:pt x="210" y="333"/>
                    </a:lnTo>
                    <a:lnTo>
                      <a:pt x="206" y="330"/>
                    </a:lnTo>
                    <a:lnTo>
                      <a:pt x="204" y="328"/>
                    </a:lnTo>
                    <a:lnTo>
                      <a:pt x="204" y="326"/>
                    </a:lnTo>
                    <a:lnTo>
                      <a:pt x="199" y="326"/>
                    </a:lnTo>
                    <a:lnTo>
                      <a:pt x="198" y="326"/>
                    </a:lnTo>
                    <a:lnTo>
                      <a:pt x="194" y="325"/>
                    </a:lnTo>
                    <a:lnTo>
                      <a:pt x="193" y="321"/>
                    </a:lnTo>
                    <a:lnTo>
                      <a:pt x="193" y="320"/>
                    </a:lnTo>
                    <a:lnTo>
                      <a:pt x="193" y="316"/>
                    </a:lnTo>
                    <a:lnTo>
                      <a:pt x="194" y="314"/>
                    </a:lnTo>
                    <a:lnTo>
                      <a:pt x="193" y="313"/>
                    </a:lnTo>
                    <a:lnTo>
                      <a:pt x="191" y="311"/>
                    </a:lnTo>
                    <a:lnTo>
                      <a:pt x="189" y="313"/>
                    </a:lnTo>
                    <a:lnTo>
                      <a:pt x="184" y="311"/>
                    </a:lnTo>
                    <a:lnTo>
                      <a:pt x="170" y="304"/>
                    </a:lnTo>
                    <a:lnTo>
                      <a:pt x="167" y="306"/>
                    </a:lnTo>
                    <a:lnTo>
                      <a:pt x="159" y="302"/>
                    </a:lnTo>
                    <a:lnTo>
                      <a:pt x="155" y="302"/>
                    </a:lnTo>
                    <a:lnTo>
                      <a:pt x="150" y="302"/>
                    </a:lnTo>
                    <a:lnTo>
                      <a:pt x="142" y="302"/>
                    </a:lnTo>
                    <a:lnTo>
                      <a:pt x="140" y="299"/>
                    </a:lnTo>
                    <a:lnTo>
                      <a:pt x="142" y="299"/>
                    </a:lnTo>
                    <a:lnTo>
                      <a:pt x="140" y="299"/>
                    </a:lnTo>
                    <a:lnTo>
                      <a:pt x="140" y="297"/>
                    </a:lnTo>
                    <a:lnTo>
                      <a:pt x="138" y="297"/>
                    </a:lnTo>
                    <a:lnTo>
                      <a:pt x="140" y="296"/>
                    </a:lnTo>
                    <a:lnTo>
                      <a:pt x="138" y="294"/>
                    </a:lnTo>
                    <a:lnTo>
                      <a:pt x="136" y="291"/>
                    </a:lnTo>
                    <a:lnTo>
                      <a:pt x="136" y="289"/>
                    </a:lnTo>
                    <a:lnTo>
                      <a:pt x="131" y="282"/>
                    </a:lnTo>
                    <a:lnTo>
                      <a:pt x="128" y="280"/>
                    </a:lnTo>
                    <a:lnTo>
                      <a:pt x="125" y="277"/>
                    </a:lnTo>
                    <a:lnTo>
                      <a:pt x="125" y="275"/>
                    </a:lnTo>
                    <a:lnTo>
                      <a:pt x="126" y="275"/>
                    </a:lnTo>
                    <a:lnTo>
                      <a:pt x="125" y="274"/>
                    </a:lnTo>
                    <a:lnTo>
                      <a:pt x="126" y="270"/>
                    </a:lnTo>
                    <a:lnTo>
                      <a:pt x="125" y="270"/>
                    </a:lnTo>
                    <a:lnTo>
                      <a:pt x="126" y="268"/>
                    </a:lnTo>
                    <a:lnTo>
                      <a:pt x="125" y="265"/>
                    </a:lnTo>
                    <a:lnTo>
                      <a:pt x="126" y="265"/>
                    </a:lnTo>
                    <a:lnTo>
                      <a:pt x="128" y="260"/>
                    </a:lnTo>
                    <a:lnTo>
                      <a:pt x="128" y="258"/>
                    </a:lnTo>
                    <a:lnTo>
                      <a:pt x="126" y="255"/>
                    </a:lnTo>
                    <a:lnTo>
                      <a:pt x="126" y="253"/>
                    </a:lnTo>
                    <a:lnTo>
                      <a:pt x="126" y="250"/>
                    </a:lnTo>
                    <a:lnTo>
                      <a:pt x="126" y="248"/>
                    </a:lnTo>
                    <a:lnTo>
                      <a:pt x="125" y="246"/>
                    </a:lnTo>
                    <a:lnTo>
                      <a:pt x="123" y="248"/>
                    </a:lnTo>
                    <a:lnTo>
                      <a:pt x="121" y="246"/>
                    </a:lnTo>
                    <a:lnTo>
                      <a:pt x="119" y="246"/>
                    </a:lnTo>
                    <a:lnTo>
                      <a:pt x="114" y="246"/>
                    </a:lnTo>
                    <a:lnTo>
                      <a:pt x="113" y="246"/>
                    </a:lnTo>
                    <a:lnTo>
                      <a:pt x="109" y="246"/>
                    </a:lnTo>
                    <a:lnTo>
                      <a:pt x="104" y="248"/>
                    </a:lnTo>
                    <a:lnTo>
                      <a:pt x="106" y="238"/>
                    </a:lnTo>
                    <a:lnTo>
                      <a:pt x="102" y="228"/>
                    </a:lnTo>
                    <a:lnTo>
                      <a:pt x="101" y="226"/>
                    </a:lnTo>
                    <a:lnTo>
                      <a:pt x="96" y="226"/>
                    </a:lnTo>
                    <a:lnTo>
                      <a:pt x="94" y="224"/>
                    </a:lnTo>
                    <a:lnTo>
                      <a:pt x="92" y="223"/>
                    </a:lnTo>
                    <a:lnTo>
                      <a:pt x="87" y="223"/>
                    </a:lnTo>
                    <a:lnTo>
                      <a:pt x="85" y="221"/>
                    </a:lnTo>
                    <a:lnTo>
                      <a:pt x="80" y="221"/>
                    </a:lnTo>
                    <a:lnTo>
                      <a:pt x="79" y="219"/>
                    </a:lnTo>
                    <a:lnTo>
                      <a:pt x="77" y="219"/>
                    </a:lnTo>
                    <a:lnTo>
                      <a:pt x="75" y="216"/>
                    </a:lnTo>
                    <a:lnTo>
                      <a:pt x="70" y="216"/>
                    </a:lnTo>
                    <a:lnTo>
                      <a:pt x="68" y="211"/>
                    </a:lnTo>
                    <a:lnTo>
                      <a:pt x="62" y="209"/>
                    </a:lnTo>
                    <a:lnTo>
                      <a:pt x="60" y="206"/>
                    </a:lnTo>
                    <a:lnTo>
                      <a:pt x="57" y="206"/>
                    </a:lnTo>
                    <a:lnTo>
                      <a:pt x="58" y="202"/>
                    </a:lnTo>
                    <a:lnTo>
                      <a:pt x="55" y="200"/>
                    </a:lnTo>
                    <a:lnTo>
                      <a:pt x="51" y="200"/>
                    </a:lnTo>
                    <a:lnTo>
                      <a:pt x="48" y="199"/>
                    </a:lnTo>
                    <a:lnTo>
                      <a:pt x="46" y="194"/>
                    </a:lnTo>
                    <a:lnTo>
                      <a:pt x="43" y="185"/>
                    </a:lnTo>
                    <a:lnTo>
                      <a:pt x="38" y="177"/>
                    </a:lnTo>
                    <a:lnTo>
                      <a:pt x="38" y="175"/>
                    </a:lnTo>
                    <a:lnTo>
                      <a:pt x="40" y="173"/>
                    </a:lnTo>
                    <a:lnTo>
                      <a:pt x="38" y="170"/>
                    </a:lnTo>
                    <a:lnTo>
                      <a:pt x="36" y="166"/>
                    </a:lnTo>
                    <a:lnTo>
                      <a:pt x="31" y="163"/>
                    </a:lnTo>
                    <a:lnTo>
                      <a:pt x="29" y="160"/>
                    </a:lnTo>
                    <a:lnTo>
                      <a:pt x="29" y="158"/>
                    </a:lnTo>
                    <a:lnTo>
                      <a:pt x="29" y="156"/>
                    </a:lnTo>
                    <a:lnTo>
                      <a:pt x="28" y="153"/>
                    </a:lnTo>
                    <a:lnTo>
                      <a:pt x="24" y="149"/>
                    </a:lnTo>
                    <a:lnTo>
                      <a:pt x="21" y="146"/>
                    </a:lnTo>
                    <a:lnTo>
                      <a:pt x="19" y="144"/>
                    </a:lnTo>
                    <a:lnTo>
                      <a:pt x="16" y="141"/>
                    </a:lnTo>
                    <a:lnTo>
                      <a:pt x="11" y="129"/>
                    </a:lnTo>
                    <a:lnTo>
                      <a:pt x="7" y="126"/>
                    </a:lnTo>
                    <a:lnTo>
                      <a:pt x="6" y="124"/>
                    </a:lnTo>
                    <a:lnTo>
                      <a:pt x="4" y="122"/>
                    </a:lnTo>
                    <a:lnTo>
                      <a:pt x="2" y="119"/>
                    </a:lnTo>
                    <a:lnTo>
                      <a:pt x="0" y="115"/>
                    </a:lnTo>
                    <a:lnTo>
                      <a:pt x="2" y="110"/>
                    </a:lnTo>
                    <a:lnTo>
                      <a:pt x="6" y="112"/>
                    </a:lnTo>
                    <a:lnTo>
                      <a:pt x="7" y="112"/>
                    </a:lnTo>
                    <a:lnTo>
                      <a:pt x="9" y="114"/>
                    </a:lnTo>
                    <a:lnTo>
                      <a:pt x="12" y="112"/>
                    </a:lnTo>
                    <a:lnTo>
                      <a:pt x="16" y="114"/>
                    </a:lnTo>
                    <a:lnTo>
                      <a:pt x="17" y="112"/>
                    </a:lnTo>
                    <a:lnTo>
                      <a:pt x="21" y="112"/>
                    </a:lnTo>
                    <a:lnTo>
                      <a:pt x="24" y="112"/>
                    </a:lnTo>
                    <a:lnTo>
                      <a:pt x="28" y="114"/>
                    </a:lnTo>
                    <a:lnTo>
                      <a:pt x="29" y="115"/>
                    </a:lnTo>
                    <a:lnTo>
                      <a:pt x="31" y="115"/>
                    </a:lnTo>
                    <a:lnTo>
                      <a:pt x="33" y="119"/>
                    </a:lnTo>
                    <a:lnTo>
                      <a:pt x="38" y="120"/>
                    </a:lnTo>
                    <a:lnTo>
                      <a:pt x="40" y="119"/>
                    </a:lnTo>
                    <a:lnTo>
                      <a:pt x="45" y="120"/>
                    </a:lnTo>
                    <a:lnTo>
                      <a:pt x="45" y="119"/>
                    </a:lnTo>
                    <a:lnTo>
                      <a:pt x="45" y="117"/>
                    </a:lnTo>
                    <a:lnTo>
                      <a:pt x="50" y="115"/>
                    </a:lnTo>
                    <a:lnTo>
                      <a:pt x="51" y="117"/>
                    </a:lnTo>
                    <a:lnTo>
                      <a:pt x="53" y="117"/>
                    </a:lnTo>
                    <a:lnTo>
                      <a:pt x="55" y="117"/>
                    </a:lnTo>
                    <a:lnTo>
                      <a:pt x="60" y="117"/>
                    </a:lnTo>
                    <a:lnTo>
                      <a:pt x="65" y="120"/>
                    </a:lnTo>
                    <a:lnTo>
                      <a:pt x="68" y="120"/>
                    </a:lnTo>
                    <a:lnTo>
                      <a:pt x="70" y="124"/>
                    </a:lnTo>
                    <a:lnTo>
                      <a:pt x="72" y="124"/>
                    </a:lnTo>
                    <a:lnTo>
                      <a:pt x="75" y="124"/>
                    </a:lnTo>
                    <a:lnTo>
                      <a:pt x="77" y="122"/>
                    </a:lnTo>
                    <a:lnTo>
                      <a:pt x="80" y="122"/>
                    </a:lnTo>
                    <a:lnTo>
                      <a:pt x="82" y="120"/>
                    </a:lnTo>
                    <a:lnTo>
                      <a:pt x="85" y="120"/>
                    </a:lnTo>
                    <a:lnTo>
                      <a:pt x="91" y="119"/>
                    </a:lnTo>
                    <a:lnTo>
                      <a:pt x="92" y="119"/>
                    </a:lnTo>
                    <a:lnTo>
                      <a:pt x="94" y="115"/>
                    </a:lnTo>
                    <a:lnTo>
                      <a:pt x="97" y="114"/>
                    </a:lnTo>
                    <a:lnTo>
                      <a:pt x="97" y="110"/>
                    </a:lnTo>
                    <a:lnTo>
                      <a:pt x="102" y="103"/>
                    </a:lnTo>
                    <a:lnTo>
                      <a:pt x="111" y="95"/>
                    </a:lnTo>
                    <a:lnTo>
                      <a:pt x="118" y="92"/>
                    </a:lnTo>
                    <a:lnTo>
                      <a:pt x="121" y="88"/>
                    </a:lnTo>
                    <a:lnTo>
                      <a:pt x="123" y="80"/>
                    </a:lnTo>
                    <a:lnTo>
                      <a:pt x="131" y="69"/>
                    </a:lnTo>
                    <a:lnTo>
                      <a:pt x="148" y="61"/>
                    </a:lnTo>
                    <a:lnTo>
                      <a:pt x="153" y="56"/>
                    </a:lnTo>
                    <a:lnTo>
                      <a:pt x="174" y="47"/>
                    </a:lnTo>
                    <a:lnTo>
                      <a:pt x="179" y="47"/>
                    </a:lnTo>
                    <a:lnTo>
                      <a:pt x="182" y="44"/>
                    </a:lnTo>
                    <a:lnTo>
                      <a:pt x="182" y="42"/>
                    </a:lnTo>
                    <a:lnTo>
                      <a:pt x="184" y="39"/>
                    </a:lnTo>
                    <a:lnTo>
                      <a:pt x="184" y="35"/>
                    </a:lnTo>
                    <a:lnTo>
                      <a:pt x="182" y="35"/>
                    </a:lnTo>
                    <a:lnTo>
                      <a:pt x="184" y="32"/>
                    </a:lnTo>
                    <a:lnTo>
                      <a:pt x="184" y="30"/>
                    </a:lnTo>
                    <a:lnTo>
                      <a:pt x="182" y="29"/>
                    </a:lnTo>
                    <a:lnTo>
                      <a:pt x="184" y="25"/>
                    </a:lnTo>
                    <a:lnTo>
                      <a:pt x="184" y="22"/>
                    </a:lnTo>
                    <a:lnTo>
                      <a:pt x="187" y="17"/>
                    </a:lnTo>
                    <a:lnTo>
                      <a:pt x="193" y="17"/>
                    </a:lnTo>
                    <a:lnTo>
                      <a:pt x="194" y="15"/>
                    </a:lnTo>
                    <a:lnTo>
                      <a:pt x="203" y="8"/>
                    </a:lnTo>
                    <a:lnTo>
                      <a:pt x="206" y="7"/>
                    </a:lnTo>
                    <a:lnTo>
                      <a:pt x="210" y="5"/>
                    </a:lnTo>
                    <a:lnTo>
                      <a:pt x="213" y="3"/>
                    </a:lnTo>
                    <a:lnTo>
                      <a:pt x="218" y="3"/>
                    </a:lnTo>
                    <a:lnTo>
                      <a:pt x="221" y="1"/>
                    </a:lnTo>
                    <a:lnTo>
                      <a:pt x="223" y="3"/>
                    </a:lnTo>
                    <a:lnTo>
                      <a:pt x="233" y="0"/>
                    </a:lnTo>
                    <a:lnTo>
                      <a:pt x="240" y="1"/>
                    </a:lnTo>
                    <a:lnTo>
                      <a:pt x="250" y="0"/>
                    </a:lnTo>
                    <a:lnTo>
                      <a:pt x="252" y="3"/>
                    </a:lnTo>
                    <a:lnTo>
                      <a:pt x="255" y="0"/>
                    </a:lnTo>
                    <a:lnTo>
                      <a:pt x="255" y="1"/>
                    </a:lnTo>
                    <a:lnTo>
                      <a:pt x="261" y="1"/>
                    </a:lnTo>
                    <a:lnTo>
                      <a:pt x="264" y="0"/>
                    </a:lnTo>
                    <a:close/>
                  </a:path>
                </a:pathLst>
              </a:custGeom>
              <a:solidFill>
                <a:schemeClr val="accent2"/>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sp>
            <p:nvSpPr>
              <p:cNvPr id="287" name="Freeform 64">
                <a:extLst>
                  <a:ext uri="{FF2B5EF4-FFF2-40B4-BE49-F238E27FC236}">
                    <a16:creationId xmlns:a16="http://schemas.microsoft.com/office/drawing/2014/main" id="{0EB2EA30-470C-4989-8600-8C27B1479193}"/>
                  </a:ext>
                </a:extLst>
              </p:cNvPr>
              <p:cNvSpPr>
                <a:spLocks/>
              </p:cNvSpPr>
              <p:nvPr/>
            </p:nvSpPr>
            <p:spPr bwMode="gray">
              <a:xfrm>
                <a:off x="4111625" y="4730750"/>
                <a:ext cx="11112" cy="11113"/>
              </a:xfrm>
              <a:custGeom>
                <a:avLst/>
                <a:gdLst>
                  <a:gd name="T0" fmla="*/ 7 w 7"/>
                  <a:gd name="T1" fmla="*/ 2 h 7"/>
                  <a:gd name="T2" fmla="*/ 7 w 7"/>
                  <a:gd name="T3" fmla="*/ 4 h 7"/>
                  <a:gd name="T4" fmla="*/ 1 w 7"/>
                  <a:gd name="T5" fmla="*/ 7 h 7"/>
                  <a:gd name="T6" fmla="*/ 0 w 7"/>
                  <a:gd name="T7" fmla="*/ 5 h 7"/>
                  <a:gd name="T8" fmla="*/ 3 w 7"/>
                  <a:gd name="T9" fmla="*/ 0 h 7"/>
                  <a:gd name="T10" fmla="*/ 7 w 7"/>
                  <a:gd name="T11" fmla="*/ 2 h 7"/>
                </a:gdLst>
                <a:ahLst/>
                <a:cxnLst>
                  <a:cxn ang="0">
                    <a:pos x="T0" y="T1"/>
                  </a:cxn>
                  <a:cxn ang="0">
                    <a:pos x="T2" y="T3"/>
                  </a:cxn>
                  <a:cxn ang="0">
                    <a:pos x="T4" y="T5"/>
                  </a:cxn>
                  <a:cxn ang="0">
                    <a:pos x="T6" y="T7"/>
                  </a:cxn>
                  <a:cxn ang="0">
                    <a:pos x="T8" y="T9"/>
                  </a:cxn>
                  <a:cxn ang="0">
                    <a:pos x="T10" y="T11"/>
                  </a:cxn>
                </a:cxnLst>
                <a:rect l="0" t="0" r="r" b="b"/>
                <a:pathLst>
                  <a:path w="7" h="7">
                    <a:moveTo>
                      <a:pt x="7" y="2"/>
                    </a:moveTo>
                    <a:lnTo>
                      <a:pt x="7" y="4"/>
                    </a:lnTo>
                    <a:lnTo>
                      <a:pt x="1" y="7"/>
                    </a:lnTo>
                    <a:lnTo>
                      <a:pt x="0" y="5"/>
                    </a:lnTo>
                    <a:lnTo>
                      <a:pt x="3" y="0"/>
                    </a:lnTo>
                    <a:lnTo>
                      <a:pt x="7" y="2"/>
                    </a:lnTo>
                    <a:close/>
                  </a:path>
                </a:pathLst>
              </a:custGeom>
              <a:solidFill>
                <a:srgbClr val="D0D0D0"/>
              </a:solidFill>
              <a:ln w="6350">
                <a:solidFill>
                  <a:schemeClr val="bg2"/>
                </a:solidFill>
              </a:ln>
            </p:spPr>
            <p:txBody>
              <a:bodyPr vert="horz" wrap="square" lIns="91440" tIns="45720" rIns="91440" bIns="45720" numCol="1" anchor="t" anchorCtr="0" compatLnSpc="1">
                <a:prstTxWarp prst="textNoShape">
                  <a:avLst/>
                </a:prstTxWarp>
                <a:noAutofit/>
              </a:bodyPr>
              <a:lstStyle/>
              <a:p>
                <a:pPr fontAlgn="base">
                  <a:spcBef>
                    <a:spcPct val="0"/>
                  </a:spcBef>
                  <a:spcAft>
                    <a:spcPct val="0"/>
                  </a:spcAft>
                  <a:buClrTx/>
                  <a:buFontTx/>
                  <a:buNone/>
                </a:pPr>
                <a:endParaRPr lang="en-US" sz="1200" b="1" kern="1200" dirty="0">
                  <a:latin typeface="Arial" charset="0"/>
                  <a:ea typeface="+mn-ea"/>
                  <a:cs typeface="+mn-cs"/>
                </a:endParaRPr>
              </a:p>
            </p:txBody>
          </p:sp>
        </p:grpSp>
        <p:grpSp>
          <p:nvGrpSpPr>
            <p:cNvPr id="189" name="Group 188">
              <a:extLst>
                <a:ext uri="{FF2B5EF4-FFF2-40B4-BE49-F238E27FC236}">
                  <a16:creationId xmlns:a16="http://schemas.microsoft.com/office/drawing/2014/main" id="{79CB7211-54A8-448C-854C-22A4006D369D}"/>
                </a:ext>
              </a:extLst>
            </p:cNvPr>
            <p:cNvGrpSpPr/>
            <p:nvPr/>
          </p:nvGrpSpPr>
          <p:grpSpPr>
            <a:xfrm>
              <a:off x="6207895" y="2756843"/>
              <a:ext cx="3336543" cy="2490750"/>
              <a:chOff x="4504105" y="2789171"/>
              <a:chExt cx="3336543" cy="2490750"/>
            </a:xfrm>
          </p:grpSpPr>
          <p:sp>
            <p:nvSpPr>
              <p:cNvPr id="190" name="Rectangle 67">
                <a:extLst>
                  <a:ext uri="{FF2B5EF4-FFF2-40B4-BE49-F238E27FC236}">
                    <a16:creationId xmlns:a16="http://schemas.microsoft.com/office/drawing/2014/main" id="{8BEF8E76-8502-49D1-B38A-98A4BDDC52B0}"/>
                  </a:ext>
                </a:extLst>
              </p:cNvPr>
              <p:cNvSpPr>
                <a:spLocks noChangeArrowheads="1"/>
              </p:cNvSpPr>
              <p:nvPr/>
            </p:nvSpPr>
            <p:spPr bwMode="gray">
              <a:xfrm>
                <a:off x="5144557" y="3079629"/>
                <a:ext cx="84466"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7</a:t>
                </a:r>
              </a:p>
            </p:txBody>
          </p:sp>
          <p:sp>
            <p:nvSpPr>
              <p:cNvPr id="191" name="Rectangle 69">
                <a:extLst>
                  <a:ext uri="{FF2B5EF4-FFF2-40B4-BE49-F238E27FC236}">
                    <a16:creationId xmlns:a16="http://schemas.microsoft.com/office/drawing/2014/main" id="{AB041237-9167-4815-80D7-0593BE6AA840}"/>
                  </a:ext>
                </a:extLst>
              </p:cNvPr>
              <p:cNvSpPr>
                <a:spLocks noChangeArrowheads="1"/>
              </p:cNvSpPr>
              <p:nvPr/>
            </p:nvSpPr>
            <p:spPr bwMode="gray">
              <a:xfrm>
                <a:off x="5183249" y="3419060"/>
                <a:ext cx="84466"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5</a:t>
                </a:r>
              </a:p>
            </p:txBody>
          </p:sp>
          <p:sp>
            <p:nvSpPr>
              <p:cNvPr id="192" name="Rectangle 73">
                <a:extLst>
                  <a:ext uri="{FF2B5EF4-FFF2-40B4-BE49-F238E27FC236}">
                    <a16:creationId xmlns:a16="http://schemas.microsoft.com/office/drawing/2014/main" id="{471686D5-CAFD-4F1B-880C-857A07D0B5AD}"/>
                  </a:ext>
                </a:extLst>
              </p:cNvPr>
              <p:cNvSpPr>
                <a:spLocks noChangeArrowheads="1"/>
              </p:cNvSpPr>
              <p:nvPr/>
            </p:nvSpPr>
            <p:spPr bwMode="gray">
              <a:xfrm>
                <a:off x="4877021" y="3403274"/>
                <a:ext cx="84466"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2</a:t>
                </a:r>
              </a:p>
            </p:txBody>
          </p:sp>
          <p:sp>
            <p:nvSpPr>
              <p:cNvPr id="193" name="Rectangle 75">
                <a:extLst>
                  <a:ext uri="{FF2B5EF4-FFF2-40B4-BE49-F238E27FC236}">
                    <a16:creationId xmlns:a16="http://schemas.microsoft.com/office/drawing/2014/main" id="{385C6310-82D0-4770-B7F8-47EBA3BB4B4D}"/>
                  </a:ext>
                </a:extLst>
              </p:cNvPr>
              <p:cNvSpPr>
                <a:spLocks noChangeArrowheads="1"/>
              </p:cNvSpPr>
              <p:nvPr/>
            </p:nvSpPr>
            <p:spPr bwMode="gray">
              <a:xfrm>
                <a:off x="5126404" y="2789171"/>
                <a:ext cx="84466"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7</a:t>
                </a:r>
              </a:p>
            </p:txBody>
          </p:sp>
          <p:sp>
            <p:nvSpPr>
              <p:cNvPr id="195" name="Rectangle 84">
                <a:extLst>
                  <a:ext uri="{FF2B5EF4-FFF2-40B4-BE49-F238E27FC236}">
                    <a16:creationId xmlns:a16="http://schemas.microsoft.com/office/drawing/2014/main" id="{AE592776-D239-4439-BCE8-D0BA72A21D5D}"/>
                  </a:ext>
                </a:extLst>
              </p:cNvPr>
              <p:cNvSpPr>
                <a:spLocks noChangeArrowheads="1"/>
              </p:cNvSpPr>
              <p:nvPr/>
            </p:nvSpPr>
            <p:spPr bwMode="gray">
              <a:xfrm>
                <a:off x="5823328" y="3618894"/>
                <a:ext cx="45489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   10</a:t>
                </a:r>
                <a:endParaRPr lang="en-US" altLang="en-US" sz="1200" b="1" kern="1200" dirty="0">
                  <a:solidFill>
                    <a:srgbClr val="FF0000"/>
                  </a:solidFill>
                  <a:latin typeface="Arial"/>
                  <a:ea typeface="+mn-ea"/>
                  <a:cs typeface="Argumentum Ultra Light" panose="020B0000000000000000" pitchFamily="34" charset="0"/>
                </a:endParaRPr>
              </a:p>
            </p:txBody>
          </p:sp>
          <p:sp>
            <p:nvSpPr>
              <p:cNvPr id="197" name="Rectangle 87">
                <a:extLst>
                  <a:ext uri="{FF2B5EF4-FFF2-40B4-BE49-F238E27FC236}">
                    <a16:creationId xmlns:a16="http://schemas.microsoft.com/office/drawing/2014/main" id="{235B553F-5C66-4E4E-9D28-0AD0205676E7}"/>
                  </a:ext>
                </a:extLst>
              </p:cNvPr>
              <p:cNvSpPr>
                <a:spLocks noChangeArrowheads="1"/>
              </p:cNvSpPr>
              <p:nvPr/>
            </p:nvSpPr>
            <p:spPr bwMode="gray">
              <a:xfrm flipH="1">
                <a:off x="6305638" y="2969490"/>
                <a:ext cx="33109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6</a:t>
                </a:r>
              </a:p>
            </p:txBody>
          </p:sp>
          <p:sp>
            <p:nvSpPr>
              <p:cNvPr id="199" name="Rectangle 92">
                <a:extLst>
                  <a:ext uri="{FF2B5EF4-FFF2-40B4-BE49-F238E27FC236}">
                    <a16:creationId xmlns:a16="http://schemas.microsoft.com/office/drawing/2014/main" id="{C32FD610-497D-4F7A-A1CE-1389A5F1361E}"/>
                  </a:ext>
                </a:extLst>
              </p:cNvPr>
              <p:cNvSpPr>
                <a:spLocks noChangeArrowheads="1"/>
              </p:cNvSpPr>
              <p:nvPr/>
            </p:nvSpPr>
            <p:spPr bwMode="gray">
              <a:xfrm>
                <a:off x="7671718" y="3387309"/>
                <a:ext cx="16893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21</a:t>
                </a:r>
              </a:p>
            </p:txBody>
          </p:sp>
          <p:sp>
            <p:nvSpPr>
              <p:cNvPr id="200" name="Rectangle 96">
                <a:extLst>
                  <a:ext uri="{FF2B5EF4-FFF2-40B4-BE49-F238E27FC236}">
                    <a16:creationId xmlns:a16="http://schemas.microsoft.com/office/drawing/2014/main" id="{947E180B-3E8D-47B9-A9DB-B0E26FA25749}"/>
                  </a:ext>
                </a:extLst>
              </p:cNvPr>
              <p:cNvSpPr>
                <a:spLocks noChangeArrowheads="1"/>
              </p:cNvSpPr>
              <p:nvPr/>
            </p:nvSpPr>
            <p:spPr bwMode="gray">
              <a:xfrm>
                <a:off x="5816566" y="2828409"/>
                <a:ext cx="84466"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7</a:t>
                </a:r>
              </a:p>
            </p:txBody>
          </p:sp>
          <p:sp>
            <p:nvSpPr>
              <p:cNvPr id="201" name="Rectangle 97">
                <a:extLst>
                  <a:ext uri="{FF2B5EF4-FFF2-40B4-BE49-F238E27FC236}">
                    <a16:creationId xmlns:a16="http://schemas.microsoft.com/office/drawing/2014/main" id="{8A3E6E84-B481-46FD-B6E3-82637B3C5CF4}"/>
                  </a:ext>
                </a:extLst>
              </p:cNvPr>
              <p:cNvSpPr>
                <a:spLocks noChangeArrowheads="1"/>
              </p:cNvSpPr>
              <p:nvPr/>
            </p:nvSpPr>
            <p:spPr bwMode="gray">
              <a:xfrm>
                <a:off x="5677696" y="3326563"/>
                <a:ext cx="16893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17</a:t>
                </a:r>
              </a:p>
            </p:txBody>
          </p:sp>
          <p:sp>
            <p:nvSpPr>
              <p:cNvPr id="202" name="Rectangle 101">
                <a:extLst>
                  <a:ext uri="{FF2B5EF4-FFF2-40B4-BE49-F238E27FC236}">
                    <a16:creationId xmlns:a16="http://schemas.microsoft.com/office/drawing/2014/main" id="{D0A62D26-041B-429F-AADA-D985CA4A0A39}"/>
                  </a:ext>
                </a:extLst>
              </p:cNvPr>
              <p:cNvSpPr>
                <a:spLocks noChangeArrowheads="1"/>
              </p:cNvSpPr>
              <p:nvPr/>
            </p:nvSpPr>
            <p:spPr bwMode="gray">
              <a:xfrm>
                <a:off x="7172381" y="2927375"/>
                <a:ext cx="16893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10</a:t>
                </a:r>
              </a:p>
            </p:txBody>
          </p:sp>
          <p:sp>
            <p:nvSpPr>
              <p:cNvPr id="203" name="Rectangle 110">
                <a:extLst>
                  <a:ext uri="{FF2B5EF4-FFF2-40B4-BE49-F238E27FC236}">
                    <a16:creationId xmlns:a16="http://schemas.microsoft.com/office/drawing/2014/main" id="{6C7B4FEA-72EC-46D8-BDD5-12EE866E2213}"/>
                  </a:ext>
                </a:extLst>
              </p:cNvPr>
              <p:cNvSpPr>
                <a:spLocks noChangeArrowheads="1"/>
              </p:cNvSpPr>
              <p:nvPr/>
            </p:nvSpPr>
            <p:spPr bwMode="gray">
              <a:xfrm>
                <a:off x="6677706" y="4071676"/>
                <a:ext cx="16893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10</a:t>
                </a:r>
              </a:p>
            </p:txBody>
          </p:sp>
          <p:sp>
            <p:nvSpPr>
              <p:cNvPr id="204" name="Rectangle 120">
                <a:extLst>
                  <a:ext uri="{FF2B5EF4-FFF2-40B4-BE49-F238E27FC236}">
                    <a16:creationId xmlns:a16="http://schemas.microsoft.com/office/drawing/2014/main" id="{43D35389-86EF-4364-80DA-020BA4EA041E}"/>
                  </a:ext>
                </a:extLst>
              </p:cNvPr>
              <p:cNvSpPr>
                <a:spLocks noChangeArrowheads="1"/>
              </p:cNvSpPr>
              <p:nvPr/>
            </p:nvSpPr>
            <p:spPr bwMode="gray">
              <a:xfrm>
                <a:off x="7368258" y="4277118"/>
                <a:ext cx="16893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10</a:t>
                </a:r>
              </a:p>
            </p:txBody>
          </p:sp>
          <p:sp>
            <p:nvSpPr>
              <p:cNvPr id="205" name="Rectangle 121">
                <a:extLst>
                  <a:ext uri="{FF2B5EF4-FFF2-40B4-BE49-F238E27FC236}">
                    <a16:creationId xmlns:a16="http://schemas.microsoft.com/office/drawing/2014/main" id="{C5434751-FCDC-47A6-8D2D-03F9BD1A11CD}"/>
                  </a:ext>
                </a:extLst>
              </p:cNvPr>
              <p:cNvSpPr>
                <a:spLocks noChangeArrowheads="1"/>
              </p:cNvSpPr>
              <p:nvPr/>
            </p:nvSpPr>
            <p:spPr bwMode="gray">
              <a:xfrm>
                <a:off x="6819252" y="4796902"/>
                <a:ext cx="16893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10</a:t>
                </a:r>
              </a:p>
            </p:txBody>
          </p:sp>
          <p:sp>
            <p:nvSpPr>
              <p:cNvPr id="210" name="Rectangle 122">
                <a:extLst>
                  <a:ext uri="{FF2B5EF4-FFF2-40B4-BE49-F238E27FC236}">
                    <a16:creationId xmlns:a16="http://schemas.microsoft.com/office/drawing/2014/main" id="{40176EBC-6BEB-4BE5-A2E9-4662CA0D808F}"/>
                  </a:ext>
                </a:extLst>
              </p:cNvPr>
              <p:cNvSpPr>
                <a:spLocks noChangeArrowheads="1"/>
              </p:cNvSpPr>
              <p:nvPr/>
            </p:nvSpPr>
            <p:spPr bwMode="gray">
              <a:xfrm>
                <a:off x="7081012" y="5099602"/>
                <a:ext cx="168930" cy="180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17</a:t>
                </a:r>
              </a:p>
            </p:txBody>
          </p:sp>
          <p:sp>
            <p:nvSpPr>
              <p:cNvPr id="211" name="Rectangle 97">
                <a:extLst>
                  <a:ext uri="{FF2B5EF4-FFF2-40B4-BE49-F238E27FC236}">
                    <a16:creationId xmlns:a16="http://schemas.microsoft.com/office/drawing/2014/main" id="{F640470A-5523-4FD2-9C40-688BC76D5DFC}"/>
                  </a:ext>
                </a:extLst>
              </p:cNvPr>
              <p:cNvSpPr>
                <a:spLocks noChangeArrowheads="1"/>
              </p:cNvSpPr>
              <p:nvPr/>
            </p:nvSpPr>
            <p:spPr bwMode="gray">
              <a:xfrm>
                <a:off x="4504105" y="3351435"/>
                <a:ext cx="84466" cy="180319"/>
              </a:xfrm>
              <a:prstGeom prst="rect">
                <a:avLst/>
              </a:prstGeom>
              <a:solidFill>
                <a:schemeClr val="tx2">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buClrTx/>
                  <a:buFontTx/>
                  <a:buNone/>
                </a:pPr>
                <a:r>
                  <a:rPr lang="en-US" altLang="en-US" sz="1200" b="1" kern="1200" dirty="0">
                    <a:solidFill>
                      <a:srgbClr val="000000"/>
                    </a:solidFill>
                    <a:latin typeface="Arial"/>
                    <a:ea typeface="+mn-ea"/>
                    <a:cs typeface="Argumentum Ultra Light" panose="020B0000000000000000" pitchFamily="34" charset="0"/>
                  </a:rPr>
                  <a:t>1</a:t>
                </a:r>
              </a:p>
            </p:txBody>
          </p:sp>
        </p:grpSp>
      </p:grpSp>
      <p:sp>
        <p:nvSpPr>
          <p:cNvPr id="288" name="TextBox 287">
            <a:extLst>
              <a:ext uri="{FF2B5EF4-FFF2-40B4-BE49-F238E27FC236}">
                <a16:creationId xmlns:a16="http://schemas.microsoft.com/office/drawing/2014/main" id="{CF0A63E8-B6C8-4BC0-B4E9-CCE1C2F31E93}"/>
              </a:ext>
            </a:extLst>
          </p:cNvPr>
          <p:cNvSpPr txBox="1">
            <a:spLocks/>
          </p:cNvSpPr>
          <p:nvPr/>
        </p:nvSpPr>
        <p:spPr>
          <a:xfrm>
            <a:off x="319476" y="920595"/>
            <a:ext cx="4119647" cy="387798"/>
          </a:xfrm>
          <a:prstGeom prst="rect">
            <a:avLst/>
          </a:prstGeom>
          <a:solidFill>
            <a:schemeClr val="bg1"/>
          </a:solidFill>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fontAlgn="base">
              <a:spcBef>
                <a:spcPct val="0"/>
              </a:spcBef>
              <a:spcAft>
                <a:spcPct val="0"/>
              </a:spcAft>
              <a:buClr>
                <a:srgbClr val="303D24"/>
              </a:buClr>
              <a:buFontTx/>
              <a:buNone/>
            </a:pPr>
            <a:r>
              <a:rPr lang="en-US" sz="1200" b="1" kern="1200" dirty="0">
                <a:solidFill>
                  <a:srgbClr val="303D24"/>
                </a:solidFill>
                <a:ea typeface="+mn-ea"/>
                <a:cs typeface="+mn-cs"/>
                <a:sym typeface="MS London" panose="020B0503020203020204" pitchFamily="34" charset="0"/>
              </a:rPr>
              <a:t>Rapid responders</a:t>
            </a:r>
          </a:p>
          <a:p>
            <a:pPr algn="ctr" fontAlgn="base">
              <a:spcBef>
                <a:spcPct val="0"/>
              </a:spcBef>
              <a:spcAft>
                <a:spcPct val="0"/>
              </a:spcAft>
              <a:buClr>
                <a:srgbClr val="303D24"/>
              </a:buClr>
              <a:buFontTx/>
              <a:buNone/>
            </a:pPr>
            <a:r>
              <a:rPr lang="en-US" sz="1200" b="1" kern="1200" dirty="0">
                <a:solidFill>
                  <a:srgbClr val="303D24"/>
                </a:solidFill>
                <a:ea typeface="+mn-ea"/>
                <a:cs typeface="+mn-cs"/>
                <a:sym typeface="MS London" panose="020B0503020203020204" pitchFamily="34" charset="0"/>
              </a:rPr>
              <a:t>deployment by country</a:t>
            </a:r>
          </a:p>
        </p:txBody>
      </p:sp>
      <p:cxnSp>
        <p:nvCxnSpPr>
          <p:cNvPr id="289" name="Straight Connector 288">
            <a:extLst>
              <a:ext uri="{FF2B5EF4-FFF2-40B4-BE49-F238E27FC236}">
                <a16:creationId xmlns:a16="http://schemas.microsoft.com/office/drawing/2014/main" id="{31768DF4-558C-44AE-957A-8D035FC7281B}"/>
              </a:ext>
            </a:extLst>
          </p:cNvPr>
          <p:cNvCxnSpPr>
            <a:cxnSpLocks/>
          </p:cNvCxnSpPr>
          <p:nvPr/>
        </p:nvCxnSpPr>
        <p:spPr>
          <a:xfrm flipV="1">
            <a:off x="212022" y="1443454"/>
            <a:ext cx="4210922" cy="28296"/>
          </a:xfrm>
          <a:prstGeom prst="line">
            <a:avLst/>
          </a:prstGeom>
          <a:solidFill>
            <a:schemeClr val="bg1">
              <a:lumMod val="85000"/>
            </a:schemeClr>
          </a:solidFill>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97" name="Group 296">
            <a:extLst>
              <a:ext uri="{FF2B5EF4-FFF2-40B4-BE49-F238E27FC236}">
                <a16:creationId xmlns:a16="http://schemas.microsoft.com/office/drawing/2014/main" id="{77C97696-F76D-42AE-8E5E-F08E736842FB}"/>
              </a:ext>
            </a:extLst>
          </p:cNvPr>
          <p:cNvGrpSpPr/>
          <p:nvPr/>
        </p:nvGrpSpPr>
        <p:grpSpPr>
          <a:xfrm>
            <a:off x="3849164" y="6049838"/>
            <a:ext cx="4728141" cy="297496"/>
            <a:chOff x="7598497" y="970244"/>
            <a:chExt cx="3518059" cy="187891"/>
          </a:xfrm>
        </p:grpSpPr>
        <p:sp>
          <p:nvSpPr>
            <p:cNvPr id="298" name="Legend1">
              <a:extLst>
                <a:ext uri="{FF2B5EF4-FFF2-40B4-BE49-F238E27FC236}">
                  <a16:creationId xmlns:a16="http://schemas.microsoft.com/office/drawing/2014/main" id="{DA315540-1CAF-4005-90E8-4611DDB10F66}"/>
                </a:ext>
              </a:extLst>
            </p:cNvPr>
            <p:cNvSpPr>
              <a:spLocks noChangeArrowheads="1"/>
            </p:cNvSpPr>
            <p:nvPr/>
          </p:nvSpPr>
          <p:spPr bwMode="auto">
            <a:xfrm>
              <a:off x="7803814" y="973469"/>
              <a:ext cx="64601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Deployed</a:t>
              </a:r>
            </a:p>
          </p:txBody>
        </p:sp>
        <p:sp>
          <p:nvSpPr>
            <p:cNvPr id="299" name="RectangleLegend1">
              <a:extLst>
                <a:ext uri="{FF2B5EF4-FFF2-40B4-BE49-F238E27FC236}">
                  <a16:creationId xmlns:a16="http://schemas.microsoft.com/office/drawing/2014/main" id="{7EC979CC-5D67-4E41-972C-E9CE86D73098}"/>
                </a:ext>
              </a:extLst>
            </p:cNvPr>
            <p:cNvSpPr>
              <a:spLocks noChangeArrowheads="1"/>
            </p:cNvSpPr>
            <p:nvPr/>
          </p:nvSpPr>
          <p:spPr bwMode="auto">
            <a:xfrm>
              <a:off x="7598497" y="970244"/>
              <a:ext cx="159372" cy="118670"/>
            </a:xfrm>
            <a:prstGeom prst="rect">
              <a:avLst/>
            </a:prstGeom>
            <a:solidFill>
              <a:schemeClr val="accent2"/>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000" kern="1200" dirty="0">
                <a:ea typeface="+mn-ea"/>
                <a:cs typeface="+mn-cs"/>
              </a:endParaRPr>
            </a:p>
          </p:txBody>
        </p:sp>
        <p:sp>
          <p:nvSpPr>
            <p:cNvPr id="304" name="Legend2">
              <a:extLst>
                <a:ext uri="{FF2B5EF4-FFF2-40B4-BE49-F238E27FC236}">
                  <a16:creationId xmlns:a16="http://schemas.microsoft.com/office/drawing/2014/main" id="{D645FA88-8F5A-45DC-A858-3284520430FF}"/>
                </a:ext>
              </a:extLst>
            </p:cNvPr>
            <p:cNvSpPr>
              <a:spLocks noChangeArrowheads="1"/>
            </p:cNvSpPr>
            <p:nvPr/>
          </p:nvSpPr>
          <p:spPr bwMode="auto">
            <a:xfrm>
              <a:off x="8728736" y="973469"/>
              <a:ext cx="1451427" cy="158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Ready to be deployed</a:t>
              </a:r>
            </a:p>
          </p:txBody>
        </p:sp>
        <p:sp>
          <p:nvSpPr>
            <p:cNvPr id="305" name="RectangleLegend2">
              <a:extLst>
                <a:ext uri="{FF2B5EF4-FFF2-40B4-BE49-F238E27FC236}">
                  <a16:creationId xmlns:a16="http://schemas.microsoft.com/office/drawing/2014/main" id="{3643EEAE-8374-4A8D-8993-94DCD65ED2CF}"/>
                </a:ext>
              </a:extLst>
            </p:cNvPr>
            <p:cNvSpPr>
              <a:spLocks noChangeArrowheads="1"/>
            </p:cNvSpPr>
            <p:nvPr/>
          </p:nvSpPr>
          <p:spPr bwMode="auto">
            <a:xfrm>
              <a:off x="8523419" y="970244"/>
              <a:ext cx="159372" cy="118670"/>
            </a:xfrm>
            <a:prstGeom prst="rect">
              <a:avLst/>
            </a:prstGeom>
            <a:solidFill>
              <a:schemeClr val="accent1">
                <a:lumMod val="75000"/>
              </a:schemeClr>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en-US" sz="1000" kern="1200" dirty="0">
                <a:ea typeface="+mn-ea"/>
                <a:cs typeface="+mn-cs"/>
              </a:endParaRPr>
            </a:p>
          </p:txBody>
        </p:sp>
        <p:sp>
          <p:nvSpPr>
            <p:cNvPr id="306" name="Legend3">
              <a:extLst>
                <a:ext uri="{FF2B5EF4-FFF2-40B4-BE49-F238E27FC236}">
                  <a16:creationId xmlns:a16="http://schemas.microsoft.com/office/drawing/2014/main" id="{A8D6F480-41F2-4958-87C5-A2CBEAB89E2C}"/>
                </a:ext>
              </a:extLst>
            </p:cNvPr>
            <p:cNvSpPr>
              <a:spLocks noChangeArrowheads="1"/>
            </p:cNvSpPr>
            <p:nvPr/>
          </p:nvSpPr>
          <p:spPr bwMode="auto">
            <a:xfrm>
              <a:off x="10113043" y="973469"/>
              <a:ext cx="1003513" cy="158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303D24"/>
                </a:buClr>
                <a:buFontTx/>
                <a:buNone/>
              </a:pPr>
              <a:r>
                <a:rPr lang="en-US" sz="1200" kern="1200" dirty="0">
                  <a:ea typeface="+mn-ea"/>
                  <a:cs typeface="+mn-cs"/>
                </a:rPr>
                <a:t>No deployment</a:t>
              </a:r>
            </a:p>
          </p:txBody>
        </p:sp>
        <p:sp>
          <p:nvSpPr>
            <p:cNvPr id="307" name="RectangleLegend3">
              <a:extLst>
                <a:ext uri="{FF2B5EF4-FFF2-40B4-BE49-F238E27FC236}">
                  <a16:creationId xmlns:a16="http://schemas.microsoft.com/office/drawing/2014/main" id="{D7836C9E-D136-4496-AAA1-DF77F961BE2D}"/>
                </a:ext>
              </a:extLst>
            </p:cNvPr>
            <p:cNvSpPr>
              <a:spLocks noChangeArrowheads="1"/>
            </p:cNvSpPr>
            <p:nvPr/>
          </p:nvSpPr>
          <p:spPr bwMode="auto">
            <a:xfrm>
              <a:off x="9928089" y="970244"/>
              <a:ext cx="144230" cy="118670"/>
            </a:xfrm>
            <a:prstGeom prst="rect">
              <a:avLst/>
            </a:prstGeom>
            <a:solidFill>
              <a:srgbClr val="D0D0D0"/>
            </a:solidFill>
            <a:ln w="9525">
              <a:solidFill>
                <a:schemeClr val="bg2"/>
              </a:solidFill>
              <a:miter lim="800000"/>
              <a:headEnd/>
              <a:tailEnd/>
            </a:ln>
            <a:effectLst/>
          </p:spPr>
          <p:txBody>
            <a:bodyPr wrap="none" anchor="ctr"/>
            <a:lstStyle/>
            <a:p>
              <a:pPr fontAlgn="base">
                <a:spcBef>
                  <a:spcPct val="0"/>
                </a:spcBef>
                <a:spcAft>
                  <a:spcPct val="0"/>
                </a:spcAft>
                <a:buClrTx/>
                <a:buFontTx/>
                <a:buNone/>
              </a:pPr>
              <a:endParaRPr lang="en-US" sz="1000" kern="1200" dirty="0">
                <a:ea typeface="+mn-ea"/>
                <a:cs typeface="+mn-cs"/>
              </a:endParaRPr>
            </a:p>
          </p:txBody>
        </p:sp>
      </p:grpSp>
      <p:sp>
        <p:nvSpPr>
          <p:cNvPr id="308" name="Rectangle 307">
            <a:extLst>
              <a:ext uri="{FF2B5EF4-FFF2-40B4-BE49-F238E27FC236}">
                <a16:creationId xmlns:a16="http://schemas.microsoft.com/office/drawing/2014/main" id="{05F53D94-4C8E-4E8C-852E-1083B9C018EA}"/>
              </a:ext>
            </a:extLst>
          </p:cNvPr>
          <p:cNvSpPr/>
          <p:nvPr/>
        </p:nvSpPr>
        <p:spPr>
          <a:xfrm>
            <a:off x="354987" y="5823260"/>
            <a:ext cx="948171" cy="353265"/>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fontAlgn="base">
              <a:spcBef>
                <a:spcPct val="0"/>
              </a:spcBef>
              <a:spcAft>
                <a:spcPct val="0"/>
              </a:spcAft>
              <a:buClrTx/>
              <a:buFontTx/>
              <a:buNone/>
            </a:pPr>
            <a:r>
              <a:rPr lang="en-ZA" sz="1200" kern="1200" dirty="0">
                <a:ln w="0"/>
                <a:solidFill>
                  <a:srgbClr val="000000"/>
                </a:solidFill>
                <a:effectLst>
                  <a:outerShdw blurRad="38100" dist="19050" dir="2700000" algn="tl" rotWithShape="0">
                    <a:srgbClr val="000000">
                      <a:alpha val="40000"/>
                    </a:srgbClr>
                  </a:outerShdw>
                </a:effectLst>
              </a:rPr>
              <a:t>Total=188</a:t>
            </a:r>
          </a:p>
        </p:txBody>
      </p:sp>
      <p:grpSp>
        <p:nvGrpSpPr>
          <p:cNvPr id="208" name="Group 207">
            <a:extLst>
              <a:ext uri="{FF2B5EF4-FFF2-40B4-BE49-F238E27FC236}">
                <a16:creationId xmlns:a16="http://schemas.microsoft.com/office/drawing/2014/main" id="{45044E24-0C16-4F0E-AAE6-285A0AFC2174}"/>
              </a:ext>
            </a:extLst>
          </p:cNvPr>
          <p:cNvGrpSpPr>
            <a:grpSpLocks/>
          </p:cNvGrpSpPr>
          <p:nvPr/>
        </p:nvGrpSpPr>
        <p:grpSpPr>
          <a:xfrm>
            <a:off x="6569628" y="1038307"/>
            <a:ext cx="1061661" cy="389658"/>
            <a:chOff x="554734" y="1360526"/>
            <a:chExt cx="12469295" cy="389902"/>
          </a:xfrm>
        </p:grpSpPr>
        <p:sp>
          <p:nvSpPr>
            <p:cNvPr id="209" name="TextBox 208">
              <a:extLst>
                <a:ext uri="{FF2B5EF4-FFF2-40B4-BE49-F238E27FC236}">
                  <a16:creationId xmlns:a16="http://schemas.microsoft.com/office/drawing/2014/main" id="{996F6C21-8F42-4A46-8652-9E1265A3CC8F}"/>
                </a:ext>
              </a:extLst>
            </p:cNvPr>
            <p:cNvSpPr txBox="1">
              <a:spLocks/>
            </p:cNvSpPr>
            <p:nvPr/>
          </p:nvSpPr>
          <p:spPr>
            <a:xfrm>
              <a:off x="1941499" y="1360526"/>
              <a:ext cx="11082530" cy="388041"/>
            </a:xfrm>
            <a:prstGeom prst="rect">
              <a:avLst/>
            </a:prstGeom>
          </p:spPr>
          <p:txBody>
            <a:bodyPr vert="horz" wrap="square" lIns="0" tIns="0" rIns="0" bIns="18288"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1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0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fontAlgn="base">
                <a:spcBef>
                  <a:spcPct val="0"/>
                </a:spcBef>
                <a:spcAft>
                  <a:spcPct val="0"/>
                </a:spcAft>
                <a:buClr>
                  <a:srgbClr val="303D24"/>
                </a:buClr>
                <a:buFontTx/>
                <a:buNone/>
              </a:pPr>
              <a:r>
                <a:rPr lang="en-US" sz="1200" b="1" kern="1200" dirty="0">
                  <a:solidFill>
                    <a:srgbClr val="303D24"/>
                  </a:solidFill>
                  <a:ea typeface="+mn-ea"/>
                  <a:cs typeface="+mn-cs"/>
                  <a:sym typeface="MS London" panose="020B0503020203020204" pitchFamily="34" charset="0"/>
                </a:rPr>
                <a:t>New (last Week)</a:t>
              </a:r>
            </a:p>
          </p:txBody>
        </p:sp>
        <p:cxnSp>
          <p:nvCxnSpPr>
            <p:cNvPr id="219" name="Straight Connector 218">
              <a:extLst>
                <a:ext uri="{FF2B5EF4-FFF2-40B4-BE49-F238E27FC236}">
                  <a16:creationId xmlns:a16="http://schemas.microsoft.com/office/drawing/2014/main" id="{BD44DED4-02DD-4243-A6AC-CF312B4A22AE}"/>
                </a:ext>
              </a:extLst>
            </p:cNvPr>
            <p:cNvCxnSpPr>
              <a:cxnSpLocks/>
            </p:cNvCxnSpPr>
            <p:nvPr/>
          </p:nvCxnSpPr>
          <p:spPr>
            <a:xfrm>
              <a:off x="554734" y="1750428"/>
              <a:ext cx="11082528" cy="0"/>
            </a:xfrm>
            <a:prstGeom prst="line">
              <a:avLst/>
            </a:prstGeom>
            <a:ln w="12700"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90" name="Oval 289">
            <a:extLst>
              <a:ext uri="{FF2B5EF4-FFF2-40B4-BE49-F238E27FC236}">
                <a16:creationId xmlns:a16="http://schemas.microsoft.com/office/drawing/2014/main" id="{64415DC6-9B93-43FE-B8E5-13855D84DA2C}"/>
              </a:ext>
            </a:extLst>
          </p:cNvPr>
          <p:cNvSpPr>
            <a:spLocks/>
          </p:cNvSpPr>
          <p:nvPr/>
        </p:nvSpPr>
        <p:spPr>
          <a:xfrm>
            <a:off x="6807598" y="1852399"/>
            <a:ext cx="568857"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sp>
        <p:nvSpPr>
          <p:cNvPr id="291" name="Oval 290">
            <a:extLst>
              <a:ext uri="{FF2B5EF4-FFF2-40B4-BE49-F238E27FC236}">
                <a16:creationId xmlns:a16="http://schemas.microsoft.com/office/drawing/2014/main" id="{64415DC6-9B93-43FE-B8E5-13855D84DA2C}"/>
              </a:ext>
            </a:extLst>
          </p:cNvPr>
          <p:cNvSpPr>
            <a:spLocks/>
          </p:cNvSpPr>
          <p:nvPr/>
        </p:nvSpPr>
        <p:spPr>
          <a:xfrm>
            <a:off x="6801904" y="3210713"/>
            <a:ext cx="568857"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r>
              <a:rPr lang="en-US" sz="1200" kern="1200" dirty="0">
                <a:solidFill>
                  <a:srgbClr val="000000"/>
                </a:solidFill>
              </a:rPr>
              <a:t>860</a:t>
            </a:r>
          </a:p>
        </p:txBody>
      </p:sp>
      <p:sp>
        <p:nvSpPr>
          <p:cNvPr id="293" name="Oval 292">
            <a:extLst>
              <a:ext uri="{FF2B5EF4-FFF2-40B4-BE49-F238E27FC236}">
                <a16:creationId xmlns:a16="http://schemas.microsoft.com/office/drawing/2014/main" id="{64415DC6-9B93-43FE-B8E5-13855D84DA2C}"/>
              </a:ext>
            </a:extLst>
          </p:cNvPr>
          <p:cNvSpPr>
            <a:spLocks/>
          </p:cNvSpPr>
          <p:nvPr/>
        </p:nvSpPr>
        <p:spPr>
          <a:xfrm>
            <a:off x="6841990" y="4388002"/>
            <a:ext cx="568857" cy="352386"/>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fontAlgn="base">
              <a:spcBef>
                <a:spcPct val="0"/>
              </a:spcBef>
              <a:spcAft>
                <a:spcPct val="0"/>
              </a:spcAft>
              <a:buClrTx/>
              <a:buFontTx/>
              <a:buNone/>
            </a:pPr>
            <a:endParaRPr lang="en-US" sz="1200" kern="1200" dirty="0">
              <a:solidFill>
                <a:srgbClr val="000000"/>
              </a:solidFill>
            </a:endParaRPr>
          </a:p>
        </p:txBody>
      </p:sp>
      <p:cxnSp>
        <p:nvCxnSpPr>
          <p:cNvPr id="4" name="Straight Connector 3"/>
          <p:cNvCxnSpPr>
            <a:stCxn id="284" idx="6"/>
            <a:endCxn id="8" idx="2"/>
          </p:cNvCxnSpPr>
          <p:nvPr/>
        </p:nvCxnSpPr>
        <p:spPr>
          <a:xfrm flipV="1">
            <a:off x="3622341" y="4549957"/>
            <a:ext cx="956703" cy="21410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358317" y="4358998"/>
            <a:ext cx="441453" cy="190959"/>
          </a:xfrm>
          <a:prstGeom prst="rect">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r>
              <a:rPr lang="en-US" sz="1200" b="1" kern="1200" dirty="0">
                <a:solidFill>
                  <a:srgbClr val="000000"/>
                </a:solidFill>
              </a:rPr>
              <a:t>10</a:t>
            </a:r>
          </a:p>
        </p:txBody>
      </p:sp>
      <p:cxnSp>
        <p:nvCxnSpPr>
          <p:cNvPr id="11" name="Straight Connector 10"/>
          <p:cNvCxnSpPr>
            <a:stCxn id="384" idx="7"/>
          </p:cNvCxnSpPr>
          <p:nvPr/>
        </p:nvCxnSpPr>
        <p:spPr>
          <a:xfrm flipV="1">
            <a:off x="10625866" y="4201329"/>
            <a:ext cx="874975" cy="41014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1408862" y="4102108"/>
            <a:ext cx="423495" cy="141253"/>
          </a:xfrm>
          <a:prstGeom prst="rect">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r>
              <a:rPr lang="en-US" sz="1000" b="1" kern="1200" dirty="0">
                <a:solidFill>
                  <a:srgbClr val="000000"/>
                </a:solidFill>
              </a:rPr>
              <a:t>850</a:t>
            </a:r>
          </a:p>
        </p:txBody>
      </p:sp>
      <p:cxnSp>
        <p:nvCxnSpPr>
          <p:cNvPr id="309" name="Straight Connector 308"/>
          <p:cNvCxnSpPr/>
          <p:nvPr/>
        </p:nvCxnSpPr>
        <p:spPr>
          <a:xfrm>
            <a:off x="7367258" y="2920734"/>
            <a:ext cx="286617" cy="2349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12" name="Rectangle 311"/>
          <p:cNvSpPr/>
          <p:nvPr/>
        </p:nvSpPr>
        <p:spPr>
          <a:xfrm>
            <a:off x="6950679" y="2845080"/>
            <a:ext cx="423495" cy="141253"/>
          </a:xfrm>
          <a:prstGeom prst="rect">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r>
              <a:rPr lang="en-US" sz="1000" kern="1200" dirty="0">
                <a:solidFill>
                  <a:srgbClr val="000000"/>
                </a:solidFill>
              </a:rPr>
              <a:t>860</a:t>
            </a:r>
          </a:p>
        </p:txBody>
      </p:sp>
      <p:grpSp>
        <p:nvGrpSpPr>
          <p:cNvPr id="17" name="Group 16"/>
          <p:cNvGrpSpPr/>
          <p:nvPr/>
        </p:nvGrpSpPr>
        <p:grpSpPr>
          <a:xfrm>
            <a:off x="10417220" y="3872449"/>
            <a:ext cx="1656414" cy="102036"/>
            <a:chOff x="10391434" y="3814329"/>
            <a:chExt cx="1656414" cy="102036"/>
          </a:xfrm>
        </p:grpSpPr>
        <p:cxnSp>
          <p:nvCxnSpPr>
            <p:cNvPr id="6" name="Straight Connector 5"/>
            <p:cNvCxnSpPr>
              <a:stCxn id="369" idx="21"/>
            </p:cNvCxnSpPr>
            <p:nvPr/>
          </p:nvCxnSpPr>
          <p:spPr>
            <a:xfrm flipV="1">
              <a:off x="10391434" y="3887865"/>
              <a:ext cx="1116712" cy="28499"/>
            </a:xfrm>
            <a:prstGeom prst="line">
              <a:avLst/>
            </a:prstGeom>
            <a:ln>
              <a:solidFill>
                <a:srgbClr val="6B9850"/>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1508146" y="3814329"/>
              <a:ext cx="539702" cy="102036"/>
            </a:xfrm>
            <a:prstGeom prst="rect">
              <a:avLst/>
            </a:prstGeom>
            <a:solidFill>
              <a:schemeClr val="accent1">
                <a:lumMod val="7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r>
                <a:rPr lang="en-US" sz="1000" b="1" kern="1200" dirty="0">
                  <a:solidFill>
                    <a:srgbClr val="000000"/>
                  </a:solidFill>
                </a:rPr>
                <a:t>1000</a:t>
              </a:r>
            </a:p>
          </p:txBody>
        </p:sp>
      </p:grpSp>
      <p:sp>
        <p:nvSpPr>
          <p:cNvPr id="3" name="Rectangle 2"/>
          <p:cNvSpPr/>
          <p:nvPr/>
        </p:nvSpPr>
        <p:spPr>
          <a:xfrm>
            <a:off x="3157523" y="4037301"/>
            <a:ext cx="494403" cy="261610"/>
          </a:xfrm>
          <a:prstGeom prst="rect">
            <a:avLst/>
          </a:prstGeom>
        </p:spPr>
        <p:txBody>
          <a:bodyPr wrap="square">
            <a:spAutoFit/>
          </a:bodyPr>
          <a:lstStyle/>
          <a:p>
            <a:pPr algn="ctr" fontAlgn="base">
              <a:spcBef>
                <a:spcPct val="0"/>
              </a:spcBef>
              <a:spcAft>
                <a:spcPct val="0"/>
              </a:spcAft>
              <a:buClrTx/>
              <a:buFontTx/>
              <a:buNone/>
            </a:pPr>
            <a:r>
              <a:rPr lang="en-US" sz="1100" b="1" kern="1200" dirty="0">
                <a:latin typeface="Arial" charset="0"/>
                <a:ea typeface="+mn-ea"/>
                <a:cs typeface="+mn-cs"/>
              </a:rPr>
              <a:t>10</a:t>
            </a:r>
          </a:p>
        </p:txBody>
      </p:sp>
    </p:spTree>
    <p:extLst>
      <p:ext uri="{BB962C8B-B14F-4D97-AF65-F5344CB8AC3E}">
        <p14:creationId xmlns:p14="http://schemas.microsoft.com/office/powerpoint/2010/main" val="12970540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74"/>
        <p:cNvGrpSpPr/>
        <p:nvPr/>
      </p:nvGrpSpPr>
      <p:grpSpPr>
        <a:xfrm>
          <a:off x="0" y="0"/>
          <a:ext cx="0" cy="0"/>
          <a:chOff x="0" y="0"/>
          <a:chExt cx="0" cy="0"/>
        </a:xfrm>
      </p:grpSpPr>
      <p:pic>
        <p:nvPicPr>
          <p:cNvPr id="375" name="Google Shape;375;p56"/>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376" name="Google Shape;376;p56"/>
          <p:cNvSpPr txBox="1"/>
          <p:nvPr/>
        </p:nvSpPr>
        <p:spPr>
          <a:xfrm>
            <a:off x="463846" y="1369321"/>
            <a:ext cx="5315100" cy="47706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6000" b="1" i="0" u="none" strike="noStrike" cap="none" dirty="0">
                <a:solidFill>
                  <a:schemeClr val="accent3"/>
                </a:solidFill>
                <a:latin typeface="Arial"/>
                <a:ea typeface="Arial"/>
                <a:cs typeface="Arial"/>
                <a:sym typeface="Arial"/>
              </a:rPr>
              <a:t>P</a:t>
            </a:r>
            <a:r>
              <a:rPr lang="en-US" sz="3000" b="0" i="0" u="none" strike="noStrike" cap="none" dirty="0">
                <a:solidFill>
                  <a:schemeClr val="dk1"/>
                </a:solidFill>
                <a:latin typeface="Arial"/>
                <a:ea typeface="Arial"/>
                <a:cs typeface="Arial"/>
                <a:sym typeface="Arial"/>
              </a:rPr>
              <a:t>artnership for</a:t>
            </a:r>
            <a:endParaRPr dirty="0"/>
          </a:p>
          <a:p>
            <a:pPr marL="0" marR="0" lvl="0" indent="0" algn="l" rtl="0">
              <a:spcBef>
                <a:spcPts val="0"/>
              </a:spcBef>
              <a:spcAft>
                <a:spcPts val="0"/>
              </a:spcAft>
              <a:buNone/>
            </a:pPr>
            <a:endParaRPr sz="20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en-US" sz="6000" b="1" i="0" u="none" strike="noStrike" cap="none" dirty="0">
                <a:solidFill>
                  <a:schemeClr val="accent3"/>
                </a:solidFill>
                <a:latin typeface="Arial"/>
                <a:ea typeface="Arial"/>
                <a:cs typeface="Arial"/>
                <a:sym typeface="Arial"/>
              </a:rPr>
              <a:t>A</a:t>
            </a:r>
            <a:r>
              <a:rPr lang="en-US" sz="3000" b="0" i="0" u="none" strike="noStrike" cap="none" dirty="0">
                <a:solidFill>
                  <a:schemeClr val="dk1"/>
                </a:solidFill>
                <a:latin typeface="Arial"/>
                <a:ea typeface="Arial"/>
                <a:cs typeface="Arial"/>
                <a:sym typeface="Arial"/>
              </a:rPr>
              <a:t>ccelerated</a:t>
            </a:r>
            <a:endParaRPr dirty="0"/>
          </a:p>
          <a:p>
            <a:pPr marL="0" marR="0" lvl="0" indent="0" algn="l" rtl="0">
              <a:spcBef>
                <a:spcPts val="0"/>
              </a:spcBef>
              <a:spcAft>
                <a:spcPts val="0"/>
              </a:spcAft>
              <a:buNone/>
            </a:pPr>
            <a:endParaRPr sz="20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en-US" sz="6000" b="1" i="0" u="none" strike="noStrike" cap="none" dirty="0">
                <a:solidFill>
                  <a:schemeClr val="accent3"/>
                </a:solidFill>
                <a:latin typeface="Arial"/>
                <a:ea typeface="Arial"/>
                <a:cs typeface="Arial"/>
                <a:sym typeface="Arial"/>
              </a:rPr>
              <a:t>C</a:t>
            </a:r>
            <a:r>
              <a:rPr lang="en-US" sz="3000" b="0" i="0" u="none" strike="noStrike" cap="none" dirty="0">
                <a:solidFill>
                  <a:schemeClr val="dk1"/>
                </a:solidFill>
                <a:latin typeface="Arial"/>
                <a:ea typeface="Arial"/>
                <a:cs typeface="Arial"/>
                <a:sym typeface="Arial"/>
              </a:rPr>
              <a:t>OVID-19</a:t>
            </a:r>
            <a:endParaRPr dirty="0"/>
          </a:p>
          <a:p>
            <a:pPr marL="0" marR="0" lvl="0" indent="0" algn="l" rtl="0">
              <a:spcBef>
                <a:spcPts val="0"/>
              </a:spcBef>
              <a:spcAft>
                <a:spcPts val="0"/>
              </a:spcAft>
              <a:buNone/>
            </a:pPr>
            <a:endParaRPr sz="2000" b="0" i="0" u="none" strike="noStrike" cap="none" dirty="0">
              <a:solidFill>
                <a:schemeClr val="dk1"/>
              </a:solidFill>
              <a:latin typeface="Arial"/>
              <a:ea typeface="Arial"/>
              <a:cs typeface="Arial"/>
              <a:sym typeface="Arial"/>
            </a:endParaRPr>
          </a:p>
          <a:p>
            <a:pPr marL="0" marR="0" lvl="0" indent="0" algn="l" rtl="0">
              <a:spcBef>
                <a:spcPts val="0"/>
              </a:spcBef>
              <a:spcAft>
                <a:spcPts val="0"/>
              </a:spcAft>
              <a:buNone/>
            </a:pPr>
            <a:r>
              <a:rPr lang="en-US" sz="6000" b="1" i="0" u="none" strike="noStrike" cap="none" dirty="0">
                <a:solidFill>
                  <a:schemeClr val="accent3"/>
                </a:solidFill>
                <a:latin typeface="Arial"/>
                <a:ea typeface="Arial"/>
                <a:cs typeface="Arial"/>
                <a:sym typeface="Arial"/>
              </a:rPr>
              <a:t>T</a:t>
            </a:r>
            <a:r>
              <a:rPr lang="en-US" sz="3000" b="0" i="0" u="none" strike="noStrike" cap="none" dirty="0">
                <a:solidFill>
                  <a:schemeClr val="dk1"/>
                </a:solidFill>
                <a:latin typeface="Arial"/>
                <a:ea typeface="Arial"/>
                <a:cs typeface="Arial"/>
                <a:sym typeface="Arial"/>
              </a:rPr>
              <a:t>esting</a:t>
            </a:r>
            <a:endParaRPr dirty="0"/>
          </a:p>
        </p:txBody>
      </p:sp>
      <p:sp>
        <p:nvSpPr>
          <p:cNvPr id="377" name="Google Shape;377;p56"/>
          <p:cNvSpPr/>
          <p:nvPr/>
        </p:nvSpPr>
        <p:spPr>
          <a:xfrm>
            <a:off x="4079019" y="1137037"/>
            <a:ext cx="8112900" cy="5064900"/>
          </a:xfrm>
          <a:prstGeom prst="round1Rect">
            <a:avLst>
              <a:gd name="adj" fmla="val 10752"/>
            </a:avLst>
          </a:prstGeom>
          <a:solidFill>
            <a:srgbClr val="93895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sp>
        <p:nvSpPr>
          <p:cNvPr id="378" name="Google Shape;378;p56"/>
          <p:cNvSpPr txBox="1"/>
          <p:nvPr/>
        </p:nvSpPr>
        <p:spPr>
          <a:xfrm>
            <a:off x="5834702" y="1262950"/>
            <a:ext cx="4601700" cy="7695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5000" b="1" i="0" u="none" strike="noStrike" cap="none">
                <a:solidFill>
                  <a:srgbClr val="F0E4CC"/>
                </a:solidFill>
                <a:latin typeface="Arial"/>
                <a:ea typeface="Arial"/>
                <a:cs typeface="Arial"/>
                <a:sym typeface="Arial"/>
              </a:rPr>
              <a:t>GOALS</a:t>
            </a:r>
            <a:endParaRPr>
              <a:solidFill>
                <a:srgbClr val="F0E4CC"/>
              </a:solidFill>
            </a:endParaRPr>
          </a:p>
        </p:txBody>
      </p:sp>
      <p:sp>
        <p:nvSpPr>
          <p:cNvPr id="379" name="Google Shape;379;p56"/>
          <p:cNvSpPr txBox="1"/>
          <p:nvPr/>
        </p:nvSpPr>
        <p:spPr>
          <a:xfrm>
            <a:off x="4349363" y="2252214"/>
            <a:ext cx="7555500" cy="3631800"/>
          </a:xfrm>
          <a:prstGeom prst="rect">
            <a:avLst/>
          </a:prstGeom>
          <a:noFill/>
          <a:ln>
            <a:noFill/>
          </a:ln>
        </p:spPr>
        <p:txBody>
          <a:bodyPr spcFirstLastPara="1" wrap="square" lIns="0" tIns="0" rIns="0" bIns="0" anchor="t" anchorCtr="0">
            <a:noAutofit/>
          </a:bodyPr>
          <a:lstStyle/>
          <a:p>
            <a:pPr marL="457200" marR="0" lvl="0" indent="-457200" algn="l" rtl="0">
              <a:spcBef>
                <a:spcPts val="0"/>
              </a:spcBef>
              <a:spcAft>
                <a:spcPts val="0"/>
              </a:spcAft>
              <a:buClr>
                <a:schemeClr val="lt1"/>
              </a:buClr>
              <a:buSzPts val="3000"/>
              <a:buFont typeface="Arial"/>
              <a:buAutoNum type="arabicPeriod"/>
            </a:pPr>
            <a:r>
              <a:rPr lang="en-US" sz="2400" b="0" i="0" u="none" strike="noStrike" cap="none" dirty="0">
                <a:solidFill>
                  <a:schemeClr val="lt1"/>
                </a:solidFill>
                <a:latin typeface="Arial"/>
                <a:ea typeface="Arial"/>
                <a:cs typeface="Arial"/>
                <a:sym typeface="Arial"/>
              </a:rPr>
              <a:t>Conduct </a:t>
            </a:r>
            <a:r>
              <a:rPr lang="en-US" sz="4000" b="1" i="0" u="none" strike="noStrike" cap="none" dirty="0">
                <a:solidFill>
                  <a:srgbClr val="951F39"/>
                </a:solidFill>
                <a:latin typeface="Arial"/>
                <a:ea typeface="Arial"/>
                <a:cs typeface="Arial"/>
                <a:sym typeface="Arial"/>
              </a:rPr>
              <a:t>1M</a:t>
            </a:r>
            <a:r>
              <a:rPr lang="en-US" sz="2400" b="0" i="0" u="none" strike="noStrike" cap="none" dirty="0">
                <a:solidFill>
                  <a:schemeClr val="lt1"/>
                </a:solidFill>
                <a:latin typeface="Arial"/>
                <a:ea typeface="Arial"/>
                <a:cs typeface="Arial"/>
                <a:sym typeface="Arial"/>
              </a:rPr>
              <a:t> tests in 1 month; </a:t>
            </a:r>
            <a:r>
              <a:rPr lang="en-US" sz="4000" b="1" i="0" u="none" strike="noStrike" cap="none" dirty="0">
                <a:solidFill>
                  <a:srgbClr val="951F39"/>
                </a:solidFill>
                <a:latin typeface="Arial"/>
                <a:ea typeface="Arial"/>
                <a:cs typeface="Arial"/>
                <a:sym typeface="Arial"/>
              </a:rPr>
              <a:t>10M</a:t>
            </a:r>
            <a:r>
              <a:rPr lang="en-US" sz="2400" b="0" i="0" u="none" strike="noStrike" cap="none" dirty="0">
                <a:solidFill>
                  <a:schemeClr val="lt1"/>
                </a:solidFill>
                <a:latin typeface="Arial"/>
                <a:ea typeface="Arial"/>
                <a:cs typeface="Arial"/>
                <a:sym typeface="Arial"/>
              </a:rPr>
              <a:t> in 4 months</a:t>
            </a:r>
            <a:endParaRPr dirty="0"/>
          </a:p>
          <a:p>
            <a:pPr marL="457200" marR="0" lvl="0" indent="-457200" algn="l" rtl="0">
              <a:spcBef>
                <a:spcPts val="1800"/>
              </a:spcBef>
              <a:spcAft>
                <a:spcPts val="0"/>
              </a:spcAft>
              <a:buClr>
                <a:schemeClr val="lt1"/>
              </a:buClr>
              <a:buSzPts val="3000"/>
              <a:buFont typeface="Arial"/>
              <a:buAutoNum type="arabicPeriod"/>
            </a:pPr>
            <a:r>
              <a:rPr lang="en-US" sz="2400" b="0" i="0" u="none" strike="noStrike" cap="none" dirty="0">
                <a:solidFill>
                  <a:schemeClr val="lt1"/>
                </a:solidFill>
                <a:latin typeface="Arial"/>
                <a:ea typeface="Arial"/>
                <a:cs typeface="Arial"/>
                <a:sym typeface="Arial"/>
              </a:rPr>
              <a:t>Establish Africa-wide </a:t>
            </a:r>
            <a:r>
              <a:rPr lang="en-US" sz="2400" b="1" i="0" u="none" strike="noStrike" cap="none" dirty="0">
                <a:solidFill>
                  <a:srgbClr val="951F39"/>
                </a:solidFill>
                <a:latin typeface="Arial"/>
                <a:ea typeface="Arial"/>
                <a:cs typeface="Arial"/>
                <a:sym typeface="Arial"/>
              </a:rPr>
              <a:t>pooled procurement</a:t>
            </a:r>
            <a:r>
              <a:rPr lang="en-US" sz="2400" b="1" i="0" u="none" strike="noStrike" cap="none" dirty="0">
                <a:solidFill>
                  <a:schemeClr val="lt1"/>
                </a:solidFill>
                <a:latin typeface="Arial"/>
                <a:ea typeface="Arial"/>
                <a:cs typeface="Arial"/>
                <a:sym typeface="Arial"/>
              </a:rPr>
              <a:t> </a:t>
            </a:r>
            <a:endParaRPr dirty="0"/>
          </a:p>
          <a:p>
            <a:pPr marL="457200" marR="0" lvl="0" indent="-457200" algn="l" rtl="0">
              <a:spcBef>
                <a:spcPts val="1800"/>
              </a:spcBef>
              <a:spcAft>
                <a:spcPts val="0"/>
              </a:spcAft>
              <a:buClr>
                <a:schemeClr val="lt1"/>
              </a:buClr>
              <a:buSzPts val="3000"/>
              <a:buFont typeface="Arial"/>
              <a:buAutoNum type="arabicPeriod"/>
            </a:pPr>
            <a:r>
              <a:rPr lang="en-US" sz="2400" b="0" i="0" u="none" strike="noStrike" cap="none" dirty="0">
                <a:solidFill>
                  <a:schemeClr val="lt1"/>
                </a:solidFill>
                <a:latin typeface="Arial"/>
                <a:ea typeface="Arial"/>
                <a:cs typeface="Arial"/>
                <a:sym typeface="Arial"/>
              </a:rPr>
              <a:t>Establish Africa-wide storage &amp; </a:t>
            </a:r>
            <a:r>
              <a:rPr lang="en-US" sz="2400" b="1" i="0" u="none" strike="noStrike" cap="none" dirty="0">
                <a:solidFill>
                  <a:srgbClr val="951F39"/>
                </a:solidFill>
                <a:latin typeface="Arial"/>
                <a:ea typeface="Arial"/>
                <a:cs typeface="Arial"/>
                <a:sym typeface="Arial"/>
              </a:rPr>
              <a:t>distribution hubs</a:t>
            </a:r>
            <a:endParaRPr dirty="0">
              <a:solidFill>
                <a:srgbClr val="951F39"/>
              </a:solidFill>
            </a:endParaRPr>
          </a:p>
          <a:p>
            <a:pPr marL="457200" marR="0" lvl="0" indent="-457200" algn="l" rtl="0">
              <a:spcBef>
                <a:spcPts val="1800"/>
              </a:spcBef>
              <a:spcAft>
                <a:spcPts val="0"/>
              </a:spcAft>
              <a:buClr>
                <a:schemeClr val="lt1"/>
              </a:buClr>
              <a:buSzPts val="3000"/>
              <a:buFont typeface="Arial"/>
              <a:buAutoNum type="arabicPeriod"/>
            </a:pPr>
            <a:r>
              <a:rPr lang="en-US" sz="2400" b="0" i="0" u="none" strike="noStrike" cap="none" dirty="0">
                <a:solidFill>
                  <a:schemeClr val="lt1"/>
                </a:solidFill>
                <a:latin typeface="Arial"/>
                <a:ea typeface="Arial"/>
                <a:cs typeface="Arial"/>
                <a:sym typeface="Arial"/>
              </a:rPr>
              <a:t>Deploy </a:t>
            </a:r>
            <a:r>
              <a:rPr lang="en-US" sz="4000" b="1" i="0" u="none" strike="noStrike" cap="none" dirty="0">
                <a:solidFill>
                  <a:srgbClr val="951F39"/>
                </a:solidFill>
                <a:latin typeface="Arial"/>
                <a:ea typeface="Arial"/>
                <a:cs typeface="Arial"/>
                <a:sym typeface="Arial"/>
              </a:rPr>
              <a:t>1M </a:t>
            </a:r>
            <a:r>
              <a:rPr lang="en-US" sz="2400" b="1" i="0" u="none" strike="noStrike" cap="none" dirty="0">
                <a:solidFill>
                  <a:srgbClr val="951F39"/>
                </a:solidFill>
                <a:latin typeface="Arial"/>
                <a:ea typeface="Arial"/>
                <a:cs typeface="Arial"/>
                <a:sym typeface="Arial"/>
              </a:rPr>
              <a:t>Community health workers</a:t>
            </a:r>
            <a:r>
              <a:rPr lang="en-US" sz="2400" b="1" i="0" u="none" strike="noStrike" cap="none" dirty="0">
                <a:solidFill>
                  <a:schemeClr val="lt1"/>
                </a:solidFill>
                <a:latin typeface="Arial"/>
                <a:ea typeface="Arial"/>
                <a:cs typeface="Arial"/>
                <a:sym typeface="Arial"/>
              </a:rPr>
              <a:t> </a:t>
            </a:r>
            <a:r>
              <a:rPr lang="en-US" sz="2400" b="0" i="0" u="none" strike="noStrike" cap="none" dirty="0">
                <a:solidFill>
                  <a:schemeClr val="lt1"/>
                </a:solidFill>
                <a:latin typeface="Arial"/>
                <a:ea typeface="Arial"/>
                <a:cs typeface="Arial"/>
                <a:sym typeface="Arial"/>
              </a:rPr>
              <a:t>for contact tracing</a:t>
            </a:r>
            <a:endParaRPr dirty="0"/>
          </a:p>
          <a:p>
            <a:pPr marL="457200" marR="0" lvl="0" indent="-457200" algn="l" rtl="0">
              <a:spcBef>
                <a:spcPts val="1800"/>
              </a:spcBef>
              <a:spcAft>
                <a:spcPts val="0"/>
              </a:spcAft>
              <a:buClr>
                <a:schemeClr val="lt1"/>
              </a:buClr>
              <a:buSzPts val="3000"/>
              <a:buFont typeface="Arial"/>
              <a:buAutoNum type="arabicPeriod"/>
            </a:pPr>
            <a:r>
              <a:rPr lang="en-US" sz="2400" b="0" i="0" u="none" strike="noStrike" cap="none" dirty="0">
                <a:solidFill>
                  <a:schemeClr val="lt1"/>
                </a:solidFill>
                <a:latin typeface="Arial"/>
                <a:ea typeface="Arial"/>
                <a:cs typeface="Arial"/>
                <a:sym typeface="Arial"/>
              </a:rPr>
              <a:t>Standardize and deploy </a:t>
            </a:r>
            <a:r>
              <a:rPr lang="en-US" sz="2400" b="1" i="0" u="none" strike="noStrike" cap="none" dirty="0">
                <a:solidFill>
                  <a:srgbClr val="951F39"/>
                </a:solidFill>
                <a:latin typeface="Arial"/>
                <a:ea typeface="Arial"/>
                <a:cs typeface="Arial"/>
                <a:sym typeface="Arial"/>
              </a:rPr>
              <a:t>new technologies</a:t>
            </a:r>
            <a:r>
              <a:rPr lang="en-US" sz="2400" b="1" i="0" u="none" strike="noStrike" cap="none" dirty="0">
                <a:solidFill>
                  <a:schemeClr val="lt1"/>
                </a:solidFill>
                <a:latin typeface="Arial"/>
                <a:ea typeface="Arial"/>
                <a:cs typeface="Arial"/>
                <a:sym typeface="Arial"/>
              </a:rPr>
              <a:t> </a:t>
            </a:r>
            <a:r>
              <a:rPr lang="en-US" sz="2400" b="1" i="0" u="none" strike="noStrike" cap="none" dirty="0">
                <a:solidFill>
                  <a:srgbClr val="951F39"/>
                </a:solidFill>
                <a:latin typeface="Arial"/>
                <a:ea typeface="Arial"/>
                <a:cs typeface="Arial"/>
                <a:sym typeface="Arial"/>
              </a:rPr>
              <a:t>for surveillance </a:t>
            </a:r>
            <a:r>
              <a:rPr lang="en-US" sz="2400" b="0" i="0" u="none" strike="noStrike" cap="none" dirty="0">
                <a:solidFill>
                  <a:schemeClr val="lt1"/>
                </a:solidFill>
                <a:latin typeface="Arial"/>
                <a:ea typeface="Arial"/>
                <a:cs typeface="Arial"/>
                <a:sym typeface="Arial"/>
              </a:rPr>
              <a:t>to help reopen economies</a:t>
            </a:r>
            <a:endParaRPr dirty="0"/>
          </a:p>
        </p:txBody>
      </p:sp>
      <p:grpSp>
        <p:nvGrpSpPr>
          <p:cNvPr id="380" name="Google Shape;380;p56"/>
          <p:cNvGrpSpPr/>
          <p:nvPr/>
        </p:nvGrpSpPr>
        <p:grpSpPr>
          <a:xfrm>
            <a:off x="3246461" y="3331452"/>
            <a:ext cx="545529" cy="676148"/>
            <a:chOff x="1270000" y="1270000"/>
            <a:chExt cx="450850" cy="508000"/>
          </a:xfrm>
        </p:grpSpPr>
        <p:sp>
          <p:nvSpPr>
            <p:cNvPr id="381" name="Google Shape;381;p56"/>
            <p:cNvSpPr/>
            <p:nvPr/>
          </p:nvSpPr>
          <p:spPr>
            <a:xfrm>
              <a:off x="1270000" y="1320800"/>
              <a:ext cx="238760" cy="406400"/>
            </a:xfrm>
            <a:custGeom>
              <a:avLst/>
              <a:gdLst/>
              <a:ahLst/>
              <a:cxnLst/>
              <a:rect l="l" t="t" r="r" b="b"/>
              <a:pathLst>
                <a:path w="2984501" h="5080001" extrusionOk="0">
                  <a:moveTo>
                    <a:pt x="0" y="0"/>
                  </a:moveTo>
                  <a:lnTo>
                    <a:pt x="1524000" y="0"/>
                  </a:lnTo>
                  <a:lnTo>
                    <a:pt x="2984500" y="2540000"/>
                  </a:lnTo>
                  <a:lnTo>
                    <a:pt x="1524000" y="5080000"/>
                  </a:lnTo>
                  <a:lnTo>
                    <a:pt x="0" y="5080000"/>
                  </a:lnTo>
                  <a:lnTo>
                    <a:pt x="1460500" y="2540000"/>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sp>
          <p:nvSpPr>
            <p:cNvPr id="382" name="Google Shape;382;p56"/>
            <p:cNvSpPr/>
            <p:nvPr/>
          </p:nvSpPr>
          <p:spPr>
            <a:xfrm>
              <a:off x="1422400" y="1270000"/>
              <a:ext cx="298450" cy="508000"/>
            </a:xfrm>
            <a:custGeom>
              <a:avLst/>
              <a:gdLst/>
              <a:ahLst/>
              <a:cxnLst/>
              <a:rect l="l" t="t" r="r" b="b"/>
              <a:pathLst>
                <a:path w="2984501" h="5080001" extrusionOk="0">
                  <a:moveTo>
                    <a:pt x="0" y="0"/>
                  </a:moveTo>
                  <a:lnTo>
                    <a:pt x="1524000" y="0"/>
                  </a:lnTo>
                  <a:lnTo>
                    <a:pt x="2984500" y="2540000"/>
                  </a:lnTo>
                  <a:lnTo>
                    <a:pt x="1524000" y="5080000"/>
                  </a:lnTo>
                  <a:lnTo>
                    <a:pt x="0" y="5080000"/>
                  </a:lnTo>
                  <a:lnTo>
                    <a:pt x="1460500" y="2540000"/>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b="0" i="0" u="none" strike="noStrike" cap="none">
                <a:solidFill>
                  <a:schemeClr val="dk1"/>
                </a:solidFill>
                <a:latin typeface="Arial"/>
                <a:ea typeface="Arial"/>
                <a:cs typeface="Arial"/>
                <a:sym typeface="Arial"/>
              </a:endParaRPr>
            </a:p>
          </p:txBody>
        </p:sp>
      </p:grpSp>
    </p:spTree>
    <p:extLst>
      <p:ext uri="{BB962C8B-B14F-4D97-AF65-F5344CB8AC3E}">
        <p14:creationId xmlns:p14="http://schemas.microsoft.com/office/powerpoint/2010/main" val="3535549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99"/>
        <p:cNvGrpSpPr/>
        <p:nvPr/>
      </p:nvGrpSpPr>
      <p:grpSpPr>
        <a:xfrm>
          <a:off x="0" y="0"/>
          <a:ext cx="0" cy="0"/>
          <a:chOff x="0" y="0"/>
          <a:chExt cx="0" cy="0"/>
        </a:xfrm>
      </p:grpSpPr>
      <p:sp>
        <p:nvSpPr>
          <p:cNvPr id="500" name="Google Shape;500;p82"/>
          <p:cNvSpPr txBox="1">
            <a:spLocks noGrp="1"/>
          </p:cNvSpPr>
          <p:nvPr>
            <p:ph type="title"/>
          </p:nvPr>
        </p:nvSpPr>
        <p:spPr>
          <a:xfrm>
            <a:off x="2327250" y="106590"/>
            <a:ext cx="7739700" cy="10755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SzPts val="1800"/>
              <a:buNone/>
            </a:pPr>
            <a:r>
              <a:rPr lang="en-US" sz="3800"/>
              <a:t>COVID-19 Situation in Africa</a:t>
            </a:r>
            <a:endParaRPr sz="2000">
              <a:solidFill>
                <a:srgbClr val="740000"/>
              </a:solidFill>
            </a:endParaRPr>
          </a:p>
          <a:p>
            <a:pPr marL="0" lvl="0" indent="0" algn="l" rtl="0">
              <a:lnSpc>
                <a:spcPct val="90000"/>
              </a:lnSpc>
              <a:spcBef>
                <a:spcPts val="0"/>
              </a:spcBef>
              <a:spcAft>
                <a:spcPts val="0"/>
              </a:spcAft>
              <a:buSzPts val="1800"/>
              <a:buNone/>
            </a:pPr>
            <a:r>
              <a:rPr lang="en-US" sz="1800">
                <a:solidFill>
                  <a:srgbClr val="740000"/>
                </a:solidFill>
              </a:rPr>
              <a:t>as of 9 November 2020, 9am EAT</a:t>
            </a:r>
            <a:endParaRPr/>
          </a:p>
        </p:txBody>
      </p:sp>
      <p:sp>
        <p:nvSpPr>
          <p:cNvPr id="501" name="Google Shape;501;p82"/>
          <p:cNvSpPr/>
          <p:nvPr/>
        </p:nvSpPr>
        <p:spPr>
          <a:xfrm>
            <a:off x="10117325" y="1410700"/>
            <a:ext cx="1938600" cy="4783500"/>
          </a:xfrm>
          <a:prstGeom prst="round1Rect">
            <a:avLst>
              <a:gd name="adj" fmla="val 22937"/>
            </a:avLst>
          </a:prstGeom>
          <a:solidFill>
            <a:srgbClr val="53575A"/>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a:p>
        </p:txBody>
      </p:sp>
      <p:sp>
        <p:nvSpPr>
          <p:cNvPr id="502" name="Google Shape;502;p82"/>
          <p:cNvSpPr txBox="1"/>
          <p:nvPr/>
        </p:nvSpPr>
        <p:spPr>
          <a:xfrm>
            <a:off x="10066875" y="1586950"/>
            <a:ext cx="1938600" cy="1164300"/>
          </a:xfrm>
          <a:prstGeom prst="rect">
            <a:avLst/>
          </a:prstGeom>
          <a:noFill/>
          <a:ln>
            <a:noFill/>
          </a:ln>
        </p:spPr>
        <p:txBody>
          <a:bodyPr spcFirstLastPara="1" wrap="square" lIns="91425" tIns="91425" rIns="91425" bIns="91425" anchor="t" anchorCtr="0">
            <a:noAutofit/>
          </a:bodyPr>
          <a:lstStyle/>
          <a:p>
            <a:pPr algn="ctr">
              <a:lnSpc>
                <a:spcPct val="115000"/>
              </a:lnSpc>
              <a:spcBef>
                <a:spcPts val="1200"/>
              </a:spcBef>
              <a:spcAft>
                <a:spcPts val="1200"/>
              </a:spcAft>
              <a:buSzPts val="1100"/>
            </a:pPr>
            <a:r>
              <a:rPr lang="en-US" sz="4000" b="1">
                <a:solidFill>
                  <a:srgbClr val="FFFFFF"/>
                </a:solidFill>
              </a:rPr>
              <a:t>&gt;1.8M</a:t>
            </a:r>
            <a:r>
              <a:rPr lang="en-US" sz="3600">
                <a:solidFill>
                  <a:srgbClr val="FFFFFF"/>
                </a:solidFill>
              </a:rPr>
              <a:t> </a:t>
            </a:r>
            <a:r>
              <a:rPr lang="en-US" sz="2200">
                <a:solidFill>
                  <a:srgbClr val="FFFFFF"/>
                </a:solidFill>
              </a:rPr>
              <a:t>cases</a:t>
            </a:r>
            <a:endParaRPr/>
          </a:p>
        </p:txBody>
      </p:sp>
      <p:sp>
        <p:nvSpPr>
          <p:cNvPr id="503" name="Google Shape;503;p82"/>
          <p:cNvSpPr txBox="1"/>
          <p:nvPr/>
        </p:nvSpPr>
        <p:spPr>
          <a:xfrm>
            <a:off x="10195575" y="2838603"/>
            <a:ext cx="1584900" cy="1753500"/>
          </a:xfrm>
          <a:prstGeom prst="rect">
            <a:avLst/>
          </a:prstGeom>
          <a:noFill/>
          <a:ln>
            <a:noFill/>
          </a:ln>
        </p:spPr>
        <p:txBody>
          <a:bodyPr spcFirstLastPara="1" wrap="square" lIns="91425" tIns="91425" rIns="91425" bIns="91425" anchor="t" anchorCtr="0">
            <a:noAutofit/>
          </a:bodyPr>
          <a:lstStyle/>
          <a:p>
            <a:pPr algn="ctr">
              <a:lnSpc>
                <a:spcPct val="115000"/>
              </a:lnSpc>
              <a:spcBef>
                <a:spcPts val="1200"/>
              </a:spcBef>
              <a:buSzPts val="4000"/>
            </a:pPr>
            <a:r>
              <a:rPr lang="en-US" sz="4000" b="1">
                <a:solidFill>
                  <a:srgbClr val="FFFFFF"/>
                </a:solidFill>
              </a:rPr>
              <a:t>&gt;45K</a:t>
            </a:r>
            <a:r>
              <a:rPr lang="en-US" sz="3600">
                <a:solidFill>
                  <a:srgbClr val="FFFFFF"/>
                </a:solidFill>
              </a:rPr>
              <a:t>  </a:t>
            </a:r>
            <a:r>
              <a:rPr lang="en-US" sz="2200">
                <a:solidFill>
                  <a:srgbClr val="FFFFFF"/>
                </a:solidFill>
              </a:rPr>
              <a:t>deaths</a:t>
            </a:r>
            <a:endParaRPr sz="2200">
              <a:solidFill>
                <a:srgbClr val="FFFFFF"/>
              </a:solidFill>
            </a:endParaRPr>
          </a:p>
          <a:p>
            <a:pPr algn="ctr">
              <a:lnSpc>
                <a:spcPct val="115000"/>
              </a:lnSpc>
              <a:spcBef>
                <a:spcPts val="1200"/>
              </a:spcBef>
              <a:spcAft>
                <a:spcPts val="1200"/>
              </a:spcAft>
              <a:buSzPts val="1300"/>
            </a:pPr>
            <a:r>
              <a:rPr lang="en-US" sz="1300">
                <a:solidFill>
                  <a:srgbClr val="FFFFFF"/>
                </a:solidFill>
              </a:rPr>
              <a:t>CFR: 2.4%</a:t>
            </a:r>
            <a:endParaRPr sz="500"/>
          </a:p>
        </p:txBody>
      </p:sp>
      <p:sp>
        <p:nvSpPr>
          <p:cNvPr id="504" name="Google Shape;504;p82"/>
          <p:cNvSpPr txBox="1"/>
          <p:nvPr/>
        </p:nvSpPr>
        <p:spPr>
          <a:xfrm>
            <a:off x="10269725" y="4707548"/>
            <a:ext cx="1584900" cy="1290600"/>
          </a:xfrm>
          <a:prstGeom prst="rect">
            <a:avLst/>
          </a:prstGeom>
          <a:noFill/>
          <a:ln>
            <a:noFill/>
          </a:ln>
        </p:spPr>
        <p:txBody>
          <a:bodyPr spcFirstLastPara="1" wrap="square" lIns="91425" tIns="91425" rIns="91425" bIns="91425" anchor="t" anchorCtr="0">
            <a:noAutofit/>
          </a:bodyPr>
          <a:lstStyle/>
          <a:p>
            <a:pPr algn="ctr">
              <a:buSzPts val="3700"/>
            </a:pPr>
            <a:r>
              <a:rPr lang="en-US" sz="3700" b="1">
                <a:solidFill>
                  <a:srgbClr val="FFFFFF"/>
                </a:solidFill>
              </a:rPr>
              <a:t>&gt;1.5M</a:t>
            </a:r>
            <a:r>
              <a:rPr lang="en-US" sz="3600">
                <a:solidFill>
                  <a:srgbClr val="FFFFFF"/>
                </a:solidFill>
              </a:rPr>
              <a:t> </a:t>
            </a:r>
            <a:r>
              <a:rPr lang="en-US" sz="2200">
                <a:solidFill>
                  <a:srgbClr val="FFFFFF"/>
                </a:solidFill>
              </a:rPr>
              <a:t>recoveries</a:t>
            </a:r>
            <a:endParaRPr sz="2200">
              <a:solidFill>
                <a:srgbClr val="FFFFFF"/>
              </a:solidFill>
            </a:endParaRPr>
          </a:p>
          <a:p>
            <a:pPr algn="ctr">
              <a:buSzPts val="2300"/>
            </a:pPr>
            <a:r>
              <a:rPr lang="en-US" sz="2300">
                <a:solidFill>
                  <a:srgbClr val="FFFFFF"/>
                </a:solidFill>
              </a:rPr>
              <a:t> </a:t>
            </a:r>
            <a:r>
              <a:rPr lang="en-US">
                <a:solidFill>
                  <a:srgbClr val="FFFFFF"/>
                </a:solidFill>
              </a:rPr>
              <a:t>(84%)</a:t>
            </a:r>
            <a:endParaRPr sz="600"/>
          </a:p>
        </p:txBody>
      </p:sp>
      <p:cxnSp>
        <p:nvCxnSpPr>
          <p:cNvPr id="505" name="Google Shape;505;p82"/>
          <p:cNvCxnSpPr/>
          <p:nvPr/>
        </p:nvCxnSpPr>
        <p:spPr>
          <a:xfrm>
            <a:off x="10269725" y="4641148"/>
            <a:ext cx="1584900" cy="9900"/>
          </a:xfrm>
          <a:prstGeom prst="straightConnector1">
            <a:avLst/>
          </a:prstGeom>
          <a:noFill/>
          <a:ln w="38100" cap="flat" cmpd="sng">
            <a:solidFill>
              <a:srgbClr val="FFFFFF"/>
            </a:solidFill>
            <a:prstDash val="solid"/>
            <a:round/>
            <a:headEnd type="none" w="sm" len="sm"/>
            <a:tailEnd type="none" w="sm" len="sm"/>
          </a:ln>
        </p:spPr>
      </p:cxnSp>
      <p:cxnSp>
        <p:nvCxnSpPr>
          <p:cNvPr id="506" name="Google Shape;506;p82"/>
          <p:cNvCxnSpPr/>
          <p:nvPr/>
        </p:nvCxnSpPr>
        <p:spPr>
          <a:xfrm>
            <a:off x="10215150" y="2964300"/>
            <a:ext cx="1584900" cy="9900"/>
          </a:xfrm>
          <a:prstGeom prst="straightConnector1">
            <a:avLst/>
          </a:prstGeom>
          <a:noFill/>
          <a:ln w="38100" cap="flat" cmpd="sng">
            <a:solidFill>
              <a:srgbClr val="FFFFFF"/>
            </a:solidFill>
            <a:prstDash val="solid"/>
            <a:round/>
            <a:headEnd type="none" w="sm" len="sm"/>
            <a:tailEnd type="none" w="sm" len="sm"/>
          </a:ln>
        </p:spPr>
      </p:cxnSp>
      <p:sp>
        <p:nvSpPr>
          <p:cNvPr id="507" name="Google Shape;507;p82"/>
          <p:cNvSpPr txBox="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p>
            <a:pPr algn="r">
              <a:buSzPts val="1200"/>
            </a:pPr>
            <a:r>
              <a:rPr lang="en-US" sz="1200" b="1">
                <a:solidFill>
                  <a:srgbClr val="951F39"/>
                </a:solidFill>
              </a:rPr>
              <a:t>Safeguarding Africa’s Health | www.africacdc.org</a:t>
            </a:r>
            <a:endParaRPr sz="1200" b="1">
              <a:solidFill>
                <a:srgbClr val="951F39"/>
              </a:solidFill>
            </a:endParaRPr>
          </a:p>
        </p:txBody>
      </p:sp>
      <p:sp>
        <p:nvSpPr>
          <p:cNvPr id="508" name="Google Shape;508;p82"/>
          <p:cNvSpPr txBox="1"/>
          <p:nvPr/>
        </p:nvSpPr>
        <p:spPr>
          <a:xfrm>
            <a:off x="1220949" y="1128060"/>
            <a:ext cx="8544300" cy="365100"/>
          </a:xfrm>
          <a:prstGeom prst="rect">
            <a:avLst/>
          </a:prstGeom>
          <a:noFill/>
          <a:ln>
            <a:noFill/>
          </a:ln>
        </p:spPr>
        <p:txBody>
          <a:bodyPr spcFirstLastPara="1" wrap="square" lIns="91425" tIns="91425" rIns="91425" bIns="91425" anchor="t" anchorCtr="0">
            <a:noAutofit/>
          </a:bodyPr>
          <a:lstStyle/>
          <a:p>
            <a:pPr>
              <a:lnSpc>
                <a:spcPct val="90000"/>
              </a:lnSpc>
              <a:buSzPts val="1400"/>
            </a:pPr>
            <a:r>
              <a:rPr lang="en-US" b="1"/>
              <a:t>New COVID-19 cases* reported in Africa daily by AU Region from 15 February – 9 November 2020</a:t>
            </a:r>
            <a:endParaRPr/>
          </a:p>
        </p:txBody>
      </p:sp>
      <p:sp>
        <p:nvSpPr>
          <p:cNvPr id="509" name="Google Shape;509;p82"/>
          <p:cNvSpPr txBox="1"/>
          <p:nvPr/>
        </p:nvSpPr>
        <p:spPr>
          <a:xfrm>
            <a:off x="107425" y="6329996"/>
            <a:ext cx="4114800" cy="255300"/>
          </a:xfrm>
          <a:prstGeom prst="rect">
            <a:avLst/>
          </a:prstGeom>
          <a:noFill/>
          <a:ln>
            <a:noFill/>
          </a:ln>
        </p:spPr>
        <p:txBody>
          <a:bodyPr spcFirstLastPara="1" wrap="square" lIns="91425" tIns="91425" rIns="91425" bIns="91425" anchor="t" anchorCtr="0">
            <a:noAutofit/>
          </a:bodyPr>
          <a:lstStyle/>
          <a:p>
            <a:pPr>
              <a:buSzPts val="1200"/>
            </a:pPr>
            <a:r>
              <a:rPr lang="en-US" sz="1200" b="1">
                <a:latin typeface="Calibri"/>
                <a:ea typeface="Calibri"/>
                <a:cs typeface="Calibri"/>
                <a:sym typeface="Calibri"/>
              </a:rPr>
              <a:t>*Africa numbers are taken from official RCC and Member State reports. </a:t>
            </a:r>
            <a:endParaRPr sz="1200" b="1">
              <a:latin typeface="Calibri"/>
              <a:ea typeface="Calibri"/>
              <a:cs typeface="Calibri"/>
              <a:sym typeface="Calibri"/>
            </a:endParaRPr>
          </a:p>
        </p:txBody>
      </p:sp>
      <p:pic>
        <p:nvPicPr>
          <p:cNvPr id="510" name="Google Shape;510;p82" title="Chart"/>
          <p:cNvPicPr preferRelativeResize="0"/>
          <p:nvPr/>
        </p:nvPicPr>
        <p:blipFill rotWithShape="1">
          <a:blip r:embed="rId3">
            <a:alphaModFix/>
          </a:blip>
          <a:srcRect/>
          <a:stretch/>
        </p:blipFill>
        <p:spPr>
          <a:xfrm>
            <a:off x="152400" y="1493150"/>
            <a:ext cx="9891400" cy="4701051"/>
          </a:xfrm>
          <a:prstGeom prst="rect">
            <a:avLst/>
          </a:prstGeom>
          <a:noFill/>
          <a:ln>
            <a:noFill/>
          </a:ln>
        </p:spPr>
      </p:pic>
    </p:spTree>
    <p:extLst>
      <p:ext uri="{BB962C8B-B14F-4D97-AF65-F5344CB8AC3E}">
        <p14:creationId xmlns:p14="http://schemas.microsoft.com/office/powerpoint/2010/main" val="29855188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2815835-14EE-2540-AF45-80EB7B467B6D}"/>
              </a:ext>
            </a:extLst>
          </p:cNvPr>
          <p:cNvGrpSpPr/>
          <p:nvPr/>
        </p:nvGrpSpPr>
        <p:grpSpPr>
          <a:xfrm>
            <a:off x="4498785" y="1644738"/>
            <a:ext cx="3272869" cy="4677498"/>
            <a:chOff x="4441260" y="1539808"/>
            <a:chExt cx="3272869" cy="4677498"/>
          </a:xfrm>
        </p:grpSpPr>
        <p:pic>
          <p:nvPicPr>
            <p:cNvPr id="171" name="Picture 13" descr="Coins Icon | Line Iconset | IconsMind"/>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04018" y="1539808"/>
              <a:ext cx="947064" cy="947064"/>
            </a:xfrm>
            <a:prstGeom prst="rect">
              <a:avLst/>
            </a:prstGeom>
            <a:noFill/>
            <a:extLst>
              <a:ext uri="{909E8E84-426E-40DD-AFC4-6F175D3DCCD1}">
                <a14:hiddenFill xmlns:a14="http://schemas.microsoft.com/office/drawing/2010/main">
                  <a:solidFill>
                    <a:srgbClr val="FFFFFF"/>
                  </a:solidFill>
                </a14:hiddenFill>
              </a:ext>
            </a:extLst>
          </p:spPr>
        </p:pic>
        <p:sp>
          <p:nvSpPr>
            <p:cNvPr id="188" name="Rectangle 187">
              <a:extLst>
                <a:ext uri="{FF2B5EF4-FFF2-40B4-BE49-F238E27FC236}">
                  <a16:creationId xmlns:a16="http://schemas.microsoft.com/office/drawing/2014/main" id="{D2AE8463-971F-408A-AA0D-D44A48AA1AC6}"/>
                </a:ext>
              </a:extLst>
            </p:cNvPr>
            <p:cNvSpPr/>
            <p:nvPr/>
          </p:nvSpPr>
          <p:spPr>
            <a:xfrm>
              <a:off x="4441260" y="3502280"/>
              <a:ext cx="3272869" cy="2715026"/>
            </a:xfrm>
            <a:prstGeom prst="rect">
              <a:avLst/>
            </a:prstGeom>
            <a:gradFill flip="none" rotWithShape="1">
              <a:gsLst>
                <a:gs pos="0">
                  <a:schemeClr val="accent4">
                    <a:lumMod val="60000"/>
                    <a:lumOff val="40000"/>
                    <a:tint val="66000"/>
                    <a:satMod val="160000"/>
                  </a:schemeClr>
                </a:gs>
                <a:gs pos="50000">
                  <a:schemeClr val="accent4">
                    <a:lumMod val="60000"/>
                    <a:lumOff val="40000"/>
                    <a:tint val="44500"/>
                    <a:satMod val="160000"/>
                  </a:schemeClr>
                </a:gs>
                <a:gs pos="100000">
                  <a:schemeClr val="accent4">
                    <a:lumMod val="60000"/>
                    <a:lumOff val="40000"/>
                    <a:tint val="23500"/>
                    <a:satMod val="160000"/>
                  </a:schemeClr>
                </a:gs>
              </a:gsLst>
              <a:lin ang="16200000" scaled="1"/>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89" name="Rectangle: Top Corners Rounded 8">
              <a:extLst>
                <a:ext uri="{FF2B5EF4-FFF2-40B4-BE49-F238E27FC236}">
                  <a16:creationId xmlns:a16="http://schemas.microsoft.com/office/drawing/2014/main" id="{37B30373-B01B-4057-9A37-8E0EB393C096}"/>
                </a:ext>
              </a:extLst>
            </p:cNvPr>
            <p:cNvSpPr/>
            <p:nvPr/>
          </p:nvSpPr>
          <p:spPr>
            <a:xfrm>
              <a:off x="4441260" y="2750746"/>
              <a:ext cx="3272869" cy="640080"/>
            </a:xfrm>
            <a:prstGeom prst="round2SameRect">
              <a:avLst/>
            </a:prstGeom>
            <a:solidFill>
              <a:schemeClr val="accent4">
                <a:lumMod val="60000"/>
                <a:lumOff val="40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FFFFFF"/>
                </a:buClr>
                <a:buSzTx/>
                <a:buFontTx/>
                <a:buNone/>
                <a:tabLst/>
                <a:defRPr/>
              </a:pPr>
              <a:r>
                <a:rPr lang="en-US" b="1" kern="0" dirty="0">
                  <a:latin typeface="Arial"/>
                  <a:sym typeface="Arial"/>
                </a:rPr>
                <a:t>Protecting Economies and Livelihoods</a:t>
              </a:r>
              <a:endParaRPr kumimoji="0" lang="en-US" b="1" i="0" u="none" strike="noStrike" kern="0" cap="none" normalizeH="0" baseline="0" noProof="0" dirty="0">
                <a:ln>
                  <a:noFill/>
                </a:ln>
                <a:effectLst/>
                <a:uLnTx/>
                <a:uFillTx/>
                <a:latin typeface="Arial"/>
                <a:sym typeface="Arial"/>
              </a:endParaRPr>
            </a:p>
          </p:txBody>
        </p:sp>
        <p:sp>
          <p:nvSpPr>
            <p:cNvPr id="181" name="TextBox 180">
              <a:extLst>
                <a:ext uri="{FF2B5EF4-FFF2-40B4-BE49-F238E27FC236}">
                  <a16:creationId xmlns:a16="http://schemas.microsoft.com/office/drawing/2014/main" id="{B4BB98F8-6298-4599-ABDB-FB7E719A84AC}"/>
                </a:ext>
              </a:extLst>
            </p:cNvPr>
            <p:cNvSpPr txBox="1"/>
            <p:nvPr/>
          </p:nvSpPr>
          <p:spPr>
            <a:xfrm>
              <a:off x="4580805" y="3631984"/>
              <a:ext cx="3013795" cy="178510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525780" marR="0" lvl="0" indent="-342900" defTabSz="913526" rtl="0" eaLnBrk="1" fontAlgn="auto" latinLnBrk="0" hangingPunct="1">
                <a:spcBef>
                  <a:spcPts val="0"/>
                </a:spcBef>
                <a:spcAft>
                  <a:spcPts val="1200"/>
                </a:spcAft>
                <a:buClrTx/>
                <a:buSzPct val="100000"/>
                <a:buFont typeface="+mj-lt"/>
                <a:buAutoNum type="arabicPeriod"/>
                <a:tabLst/>
                <a:defRPr/>
              </a:pPr>
              <a:r>
                <a:rPr kumimoji="0" lang="en-US" b="1" i="0" u="none" strike="noStrike" kern="0" cap="none" spc="0" normalizeH="0" baseline="0" noProof="0" dirty="0">
                  <a:ln>
                    <a:noFill/>
                  </a:ln>
                  <a:solidFill>
                    <a:schemeClr val="tx1">
                      <a:lumMod val="75000"/>
                      <a:lumOff val="25000"/>
                    </a:schemeClr>
                  </a:solidFill>
                  <a:effectLst/>
                  <a:uLnTx/>
                  <a:uFillTx/>
                  <a:latin typeface="Arial"/>
                  <a:cs typeface="Arial"/>
                  <a:sym typeface="Arial"/>
                </a:rPr>
                <a:t>Share data in inter- and intra-economic regions</a:t>
              </a:r>
            </a:p>
            <a:p>
              <a:pPr marL="525780" marR="0" lvl="0" indent="-342900" defTabSz="913526" rtl="0" eaLnBrk="1" fontAlgn="auto" latinLnBrk="0" hangingPunct="1">
                <a:spcBef>
                  <a:spcPts val="0"/>
                </a:spcBef>
                <a:spcAft>
                  <a:spcPts val="1200"/>
                </a:spcAft>
                <a:buClrTx/>
                <a:buSzPct val="100000"/>
                <a:buFont typeface="+mj-lt"/>
                <a:buAutoNum type="arabicPeriod"/>
                <a:tabLst/>
                <a:defRPr/>
              </a:pPr>
              <a:r>
                <a:rPr kumimoji="0" lang="en-US" b="1" i="0" u="none" strike="noStrike" kern="0" cap="none" spc="0" normalizeH="0" baseline="0" noProof="0" dirty="0">
                  <a:ln>
                    <a:noFill/>
                  </a:ln>
                  <a:solidFill>
                    <a:schemeClr val="tx1">
                      <a:lumMod val="75000"/>
                      <a:lumOff val="25000"/>
                    </a:schemeClr>
                  </a:solidFill>
                  <a:effectLst/>
                  <a:uLnTx/>
                  <a:uFillTx/>
                  <a:latin typeface="Arial"/>
                  <a:cs typeface="Arial"/>
                  <a:sym typeface="Arial"/>
                </a:rPr>
                <a:t>Enhance surveillance at business points</a:t>
              </a:r>
              <a:endParaRPr lang="en-US" b="1" kern="0" dirty="0">
                <a:solidFill>
                  <a:schemeClr val="tx1">
                    <a:lumMod val="75000"/>
                    <a:lumOff val="25000"/>
                  </a:schemeClr>
                </a:solidFill>
                <a:latin typeface="Arial"/>
                <a:cs typeface="Arial"/>
                <a:sym typeface="Arial"/>
              </a:endParaRPr>
            </a:p>
            <a:p>
              <a:pPr marL="525780" marR="0" lvl="0" indent="-342900" defTabSz="913526" rtl="0" eaLnBrk="1" fontAlgn="auto" latinLnBrk="0" hangingPunct="1">
                <a:spcBef>
                  <a:spcPts val="0"/>
                </a:spcBef>
                <a:spcAft>
                  <a:spcPts val="1200"/>
                </a:spcAft>
                <a:buClrTx/>
                <a:buSzPct val="100000"/>
                <a:buFont typeface="+mj-lt"/>
                <a:buAutoNum type="arabicPeriod"/>
                <a:tabLst/>
                <a:defRPr/>
              </a:pPr>
              <a:r>
                <a:rPr lang="en-US" b="1" kern="0" dirty="0">
                  <a:solidFill>
                    <a:schemeClr val="tx1">
                      <a:lumMod val="75000"/>
                      <a:lumOff val="25000"/>
                    </a:schemeClr>
                  </a:solidFill>
                  <a:latin typeface="Arial" panose="020B0604020202020204" pitchFamily="34" charset="0"/>
                  <a:cs typeface="Arial" panose="020B0604020202020204" pitchFamily="34" charset="0"/>
                  <a:sym typeface="Arial"/>
                </a:rPr>
                <a:t>Partnership with private sector</a:t>
              </a:r>
              <a:endParaRPr kumimoji="0" lang="en-US" sz="1400" b="1" i="0" u="none" strike="noStrike" kern="0" cap="none" spc="0" normalizeH="0" baseline="0" noProof="0" dirty="0">
                <a:ln>
                  <a:noFill/>
                </a:ln>
                <a:solidFill>
                  <a:schemeClr val="tx1">
                    <a:lumMod val="75000"/>
                    <a:lumOff val="25000"/>
                  </a:schemeClr>
                </a:solidFill>
                <a:effectLst/>
                <a:uLnTx/>
                <a:uFillTx/>
                <a:latin typeface="Arial"/>
                <a:cs typeface="Arial"/>
                <a:sym typeface="Arial"/>
              </a:endParaRPr>
            </a:p>
          </p:txBody>
        </p:sp>
      </p:grpSp>
      <p:grpSp>
        <p:nvGrpSpPr>
          <p:cNvPr id="6" name="Group 5">
            <a:extLst>
              <a:ext uri="{FF2B5EF4-FFF2-40B4-BE49-F238E27FC236}">
                <a16:creationId xmlns:a16="http://schemas.microsoft.com/office/drawing/2014/main" id="{63C1819E-DD96-EB40-A115-0B9E2DC7AEFA}"/>
              </a:ext>
            </a:extLst>
          </p:cNvPr>
          <p:cNvGrpSpPr/>
          <p:nvPr/>
        </p:nvGrpSpPr>
        <p:grpSpPr>
          <a:xfrm>
            <a:off x="378375" y="1746436"/>
            <a:ext cx="3272869" cy="4573076"/>
            <a:chOff x="949124" y="1644230"/>
            <a:chExt cx="3272869" cy="4573076"/>
          </a:xfrm>
        </p:grpSpPr>
        <p:grpSp>
          <p:nvGrpSpPr>
            <p:cNvPr id="173" name="Group 172"/>
            <p:cNvGrpSpPr/>
            <p:nvPr/>
          </p:nvGrpSpPr>
          <p:grpSpPr>
            <a:xfrm>
              <a:off x="1421461" y="1644230"/>
              <a:ext cx="2349332" cy="744455"/>
              <a:chOff x="568805" y="2667954"/>
              <a:chExt cx="3294255" cy="1043882"/>
            </a:xfrm>
          </p:grpSpPr>
          <p:pic>
            <p:nvPicPr>
              <p:cNvPr id="174" name="Picture 2" descr="Plane icon"/>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3703114">
                <a:off x="568805" y="2667954"/>
                <a:ext cx="1043882" cy="104388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32" descr="Delivery truck | Free Icon"/>
              <p:cNvPicPr>
                <a:picLocks noChangeAspect="1" noChangeArrowheads="1"/>
              </p:cNvPicPr>
              <p:nvPr/>
            </p:nvPicPr>
            <p:blipFill>
              <a:blip r:embed="rId5"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36498" y="2738166"/>
                <a:ext cx="903457" cy="903458"/>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43" descr="Ship icon | Myiconfinder"/>
              <p:cNvPicPr>
                <a:picLocks noChangeAspect="1" noChangeArrowheads="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58120" y="2687425"/>
                <a:ext cx="1004940" cy="1004940"/>
              </a:xfrm>
              <a:prstGeom prst="rect">
                <a:avLst/>
              </a:prstGeom>
              <a:noFill/>
              <a:extLst>
                <a:ext uri="{909E8E84-426E-40DD-AFC4-6F175D3DCCD1}">
                  <a14:hiddenFill xmlns:a14="http://schemas.microsoft.com/office/drawing/2010/main">
                    <a:solidFill>
                      <a:srgbClr val="FFFFFF"/>
                    </a:solidFill>
                  </a14:hiddenFill>
                </a:ext>
              </a:extLst>
            </p:spPr>
          </p:pic>
        </p:grpSp>
        <p:sp>
          <p:nvSpPr>
            <p:cNvPr id="184" name="Rectangle 183">
              <a:extLst>
                <a:ext uri="{FF2B5EF4-FFF2-40B4-BE49-F238E27FC236}">
                  <a16:creationId xmlns:a16="http://schemas.microsoft.com/office/drawing/2014/main" id="{D2AE8463-971F-408A-AA0D-D44A48AA1AC6}"/>
                </a:ext>
              </a:extLst>
            </p:cNvPr>
            <p:cNvSpPr/>
            <p:nvPr/>
          </p:nvSpPr>
          <p:spPr>
            <a:xfrm>
              <a:off x="949124" y="3502279"/>
              <a:ext cx="3272869" cy="2715027"/>
            </a:xfrm>
            <a:prstGeom prst="rect">
              <a:avLst/>
            </a:pr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lin ang="16200000" scaled="1"/>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85" name="Rectangle: Top Corners Rounded 8">
              <a:extLst>
                <a:ext uri="{FF2B5EF4-FFF2-40B4-BE49-F238E27FC236}">
                  <a16:creationId xmlns:a16="http://schemas.microsoft.com/office/drawing/2014/main" id="{37B30373-B01B-4057-9A37-8E0EB393C096}"/>
                </a:ext>
              </a:extLst>
            </p:cNvPr>
            <p:cNvSpPr/>
            <p:nvPr/>
          </p:nvSpPr>
          <p:spPr>
            <a:xfrm>
              <a:off x="949124" y="2750745"/>
              <a:ext cx="3272869" cy="640080"/>
            </a:xfrm>
            <a:prstGeom prst="round2SameRect">
              <a:avLst/>
            </a:prstGeom>
            <a:gradFill flip="none" rotWithShape="1">
              <a:gsLst>
                <a:gs pos="0">
                  <a:srgbClr val="348F41">
                    <a:shade val="30000"/>
                    <a:satMod val="115000"/>
                  </a:srgbClr>
                </a:gs>
                <a:gs pos="0">
                  <a:srgbClr val="348F41">
                    <a:shade val="100000"/>
                    <a:satMod val="115000"/>
                  </a:srgbClr>
                </a:gs>
              </a:gsLst>
              <a:lin ang="5400000" scaled="1"/>
              <a:tileRect/>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FFFFFF"/>
                </a:buClr>
                <a:buSzTx/>
                <a:buFontTx/>
                <a:buNone/>
                <a:tabLst/>
                <a:defRPr/>
              </a:pPr>
              <a:r>
                <a:rPr lang="en-US" b="1" kern="0" dirty="0">
                  <a:solidFill>
                    <a:srgbClr val="FFFFFF"/>
                  </a:solidFill>
                  <a:latin typeface="Arial"/>
                  <a:sym typeface="Arial"/>
                </a:rPr>
                <a:t>Protecting Borders and Travel</a:t>
              </a:r>
              <a:endParaRPr kumimoji="0" lang="en-US" b="1" i="0" u="none" strike="noStrike" kern="0" cap="none" normalizeH="0" baseline="0" noProof="0" dirty="0">
                <a:ln>
                  <a:noFill/>
                </a:ln>
                <a:solidFill>
                  <a:srgbClr val="FFFFFF"/>
                </a:solidFill>
                <a:effectLst/>
                <a:uLnTx/>
                <a:uFillTx/>
                <a:latin typeface="Arial"/>
                <a:sym typeface="Arial"/>
              </a:endParaRPr>
            </a:p>
          </p:txBody>
        </p:sp>
        <p:sp>
          <p:nvSpPr>
            <p:cNvPr id="182" name="TextBox 181">
              <a:extLst>
                <a:ext uri="{FF2B5EF4-FFF2-40B4-BE49-F238E27FC236}">
                  <a16:creationId xmlns:a16="http://schemas.microsoft.com/office/drawing/2014/main" id="{B4BB98F8-6298-4599-ABDB-FB7E719A84AC}"/>
                </a:ext>
              </a:extLst>
            </p:cNvPr>
            <p:cNvSpPr txBox="1"/>
            <p:nvPr/>
          </p:nvSpPr>
          <p:spPr>
            <a:xfrm>
              <a:off x="1074821" y="3631984"/>
              <a:ext cx="3091748" cy="227754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42900" indent="-342900">
                <a:spcAft>
                  <a:spcPts val="1200"/>
                </a:spcAft>
                <a:buFont typeface="+mj-lt"/>
                <a:buAutoNum type="arabicPeriod"/>
              </a:pPr>
              <a:r>
                <a:rPr lang="en-US" b="1" dirty="0">
                  <a:latin typeface="Arial" panose="020B0604020202020204" pitchFamily="34" charset="0"/>
                  <a:cs typeface="Arial" panose="020B0604020202020204" pitchFamily="34" charset="0"/>
                </a:rPr>
                <a:t>Harmonized and COVID-19 testing certification for border-crossing</a:t>
              </a:r>
            </a:p>
            <a:p>
              <a:pPr marL="342900" indent="-342900">
                <a:spcAft>
                  <a:spcPts val="1200"/>
                </a:spcAft>
                <a:buFont typeface="+mj-lt"/>
                <a:buAutoNum type="arabicPeriod"/>
              </a:pPr>
              <a:r>
                <a:rPr lang="en-US" b="1" kern="0" noProof="0" dirty="0">
                  <a:solidFill>
                    <a:schemeClr val="tx1">
                      <a:lumMod val="75000"/>
                      <a:lumOff val="25000"/>
                    </a:schemeClr>
                  </a:solidFill>
                  <a:latin typeface="Arial"/>
                  <a:cs typeface="Arial"/>
                  <a:sym typeface="Arial"/>
                </a:rPr>
                <a:t>"E-</a:t>
              </a:r>
              <a:r>
                <a:rPr lang="en-US" b="1" kern="0" dirty="0">
                  <a:solidFill>
                    <a:schemeClr val="tx1">
                      <a:lumMod val="75000"/>
                      <a:lumOff val="25000"/>
                    </a:schemeClr>
                  </a:solidFill>
                  <a:latin typeface="Arial"/>
                  <a:cs typeface="Arial"/>
                  <a:sym typeface="Arial"/>
                </a:rPr>
                <a:t>Health" networks for </a:t>
              </a:r>
              <a:r>
                <a:rPr lang="en-US" b="1" kern="0" noProof="0" dirty="0">
                  <a:solidFill>
                    <a:schemeClr val="tx1">
                      <a:lumMod val="75000"/>
                      <a:lumOff val="25000"/>
                    </a:schemeClr>
                  </a:solidFill>
                  <a:latin typeface="Arial"/>
                  <a:cs typeface="Arial"/>
                  <a:sym typeface="Arial"/>
                </a:rPr>
                <a:t>contact tracing</a:t>
              </a:r>
            </a:p>
            <a:p>
              <a:pPr marL="342900" indent="-342900">
                <a:spcAft>
                  <a:spcPts val="1200"/>
                </a:spcAft>
                <a:buFont typeface="+mj-lt"/>
                <a:buAutoNum type="arabicPeriod"/>
              </a:pPr>
              <a:r>
                <a:rPr lang="en-US" b="1" kern="0" baseline="0" noProof="0" dirty="0">
                  <a:solidFill>
                    <a:schemeClr val="tx1">
                      <a:lumMod val="75000"/>
                      <a:lumOff val="25000"/>
                    </a:schemeClr>
                  </a:solidFill>
                  <a:latin typeface="Arial"/>
                  <a:cs typeface="Arial"/>
                  <a:sym typeface="Arial"/>
                </a:rPr>
                <a:t>Mutual recognition and cross-border information</a:t>
              </a:r>
              <a:r>
                <a:rPr lang="en-US" b="1" kern="0" noProof="0" dirty="0">
                  <a:solidFill>
                    <a:schemeClr val="tx1">
                      <a:lumMod val="75000"/>
                      <a:lumOff val="25000"/>
                    </a:schemeClr>
                  </a:solidFill>
                  <a:latin typeface="Arial"/>
                  <a:cs typeface="Arial"/>
                  <a:sym typeface="Arial"/>
                </a:rPr>
                <a:t> exchange </a:t>
              </a:r>
            </a:p>
          </p:txBody>
        </p:sp>
      </p:grpSp>
      <p:pic>
        <p:nvPicPr>
          <p:cNvPr id="25" name="Picture 24">
            <a:extLst>
              <a:ext uri="{FF2B5EF4-FFF2-40B4-BE49-F238E27FC236}">
                <a16:creationId xmlns:a16="http://schemas.microsoft.com/office/drawing/2014/main" id="{425B6E1A-A808-C549-A093-0247B6F41A14}"/>
              </a:ext>
            </a:extLst>
          </p:cNvPr>
          <p:cNvPicPr>
            <a:picLocks noChangeAspect="1"/>
          </p:cNvPicPr>
          <p:nvPr/>
        </p:nvPicPr>
        <p:blipFill>
          <a:blip r:embed="rId7"/>
          <a:stretch>
            <a:fillRect/>
          </a:stretch>
        </p:blipFill>
        <p:spPr>
          <a:xfrm>
            <a:off x="10659414" y="0"/>
            <a:ext cx="1532586" cy="725387"/>
          </a:xfrm>
          <a:prstGeom prst="rect">
            <a:avLst/>
          </a:prstGeom>
        </p:spPr>
      </p:pic>
      <p:pic>
        <p:nvPicPr>
          <p:cNvPr id="26" name="Picture 25">
            <a:extLst>
              <a:ext uri="{FF2B5EF4-FFF2-40B4-BE49-F238E27FC236}">
                <a16:creationId xmlns:a16="http://schemas.microsoft.com/office/drawing/2014/main" id="{4362E978-D403-D644-9110-19428D0928B2}"/>
              </a:ext>
            </a:extLst>
          </p:cNvPr>
          <p:cNvPicPr>
            <a:picLocks noChangeAspect="1"/>
          </p:cNvPicPr>
          <p:nvPr/>
        </p:nvPicPr>
        <p:blipFill rotWithShape="1">
          <a:blip r:embed="rId8"/>
          <a:srcRect t="25153" b="25153"/>
          <a:stretch/>
        </p:blipFill>
        <p:spPr>
          <a:xfrm>
            <a:off x="0" y="0"/>
            <a:ext cx="1532586" cy="594837"/>
          </a:xfrm>
          <a:prstGeom prst="rect">
            <a:avLst/>
          </a:prstGeom>
        </p:spPr>
      </p:pic>
      <p:sp>
        <p:nvSpPr>
          <p:cNvPr id="27" name="Title 1">
            <a:extLst>
              <a:ext uri="{FF2B5EF4-FFF2-40B4-BE49-F238E27FC236}">
                <a16:creationId xmlns:a16="http://schemas.microsoft.com/office/drawing/2014/main" id="{B63B771F-4510-B24B-B863-CD52C836CB05}"/>
              </a:ext>
            </a:extLst>
          </p:cNvPr>
          <p:cNvSpPr txBox="1">
            <a:spLocks/>
          </p:cNvSpPr>
          <p:nvPr/>
        </p:nvSpPr>
        <p:spPr>
          <a:xfrm>
            <a:off x="838200" y="77864"/>
            <a:ext cx="10503090" cy="758977"/>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400" b="1" dirty="0">
                <a:solidFill>
                  <a:schemeClr val="bg1"/>
                </a:solidFill>
                <a:latin typeface="Avenir Black" panose="02000503020000020003" pitchFamily="2" charset="0"/>
              </a:rPr>
              <a:t>Africa Against COVID-19:</a:t>
            </a:r>
            <a:br>
              <a:rPr lang="en-US" sz="3400" b="1" dirty="0">
                <a:solidFill>
                  <a:schemeClr val="bg1"/>
                </a:solidFill>
                <a:latin typeface="Avenir Black" panose="02000503020000020003" pitchFamily="2" charset="0"/>
              </a:rPr>
            </a:br>
            <a:r>
              <a:rPr lang="en-US" sz="3400" b="1" dirty="0">
                <a:solidFill>
                  <a:schemeClr val="bg1"/>
                </a:solidFill>
                <a:latin typeface="Avenir Black" panose="02000503020000020003" pitchFamily="2" charset="0"/>
              </a:rPr>
              <a:t>Saving Lives, Economies, and Livelihoods</a:t>
            </a:r>
          </a:p>
        </p:txBody>
      </p:sp>
      <p:grpSp>
        <p:nvGrpSpPr>
          <p:cNvPr id="3" name="Group 2">
            <a:extLst>
              <a:ext uri="{FF2B5EF4-FFF2-40B4-BE49-F238E27FC236}">
                <a16:creationId xmlns:a16="http://schemas.microsoft.com/office/drawing/2014/main" id="{1B9FFEDC-285E-5A43-897D-78FE18F36612}"/>
              </a:ext>
            </a:extLst>
          </p:cNvPr>
          <p:cNvGrpSpPr/>
          <p:nvPr/>
        </p:nvGrpSpPr>
        <p:grpSpPr>
          <a:xfrm>
            <a:off x="8619195" y="1617229"/>
            <a:ext cx="3272869" cy="4702283"/>
            <a:chOff x="8619195" y="1617229"/>
            <a:chExt cx="3272869" cy="4702283"/>
          </a:xfrm>
        </p:grpSpPr>
        <p:grpSp>
          <p:nvGrpSpPr>
            <p:cNvPr id="8" name="Group 7">
              <a:extLst>
                <a:ext uri="{FF2B5EF4-FFF2-40B4-BE49-F238E27FC236}">
                  <a16:creationId xmlns:a16="http://schemas.microsoft.com/office/drawing/2014/main" id="{56ECF6E4-314A-6943-B518-CCAC7CD96DF5}"/>
                </a:ext>
              </a:extLst>
            </p:cNvPr>
            <p:cNvGrpSpPr/>
            <p:nvPr/>
          </p:nvGrpSpPr>
          <p:grpSpPr>
            <a:xfrm>
              <a:off x="8619195" y="1617229"/>
              <a:ext cx="3272869" cy="4702283"/>
              <a:chOff x="7933395" y="1515021"/>
              <a:chExt cx="3272869" cy="4702283"/>
            </a:xfrm>
          </p:grpSpPr>
          <p:pic>
            <p:nvPicPr>
              <p:cNvPr id="172" name="Picture 15" descr="High school icon png download number: #14043 - Daily updated free ..."/>
              <p:cNvPicPr>
                <a:picLocks noChangeAspect="1" noChangeArrowheads="1"/>
              </p:cNvPicPr>
              <p:nvPr/>
            </p:nvPicPr>
            <p:blipFill>
              <a:blip r:embed="rId9" cstate="print">
                <a:extLst>
                  <a:ext uri="{BEBA8EAE-BF5A-486C-A8C5-ECC9F3942E4B}">
                    <a14:imgProps xmlns:a14="http://schemas.microsoft.com/office/drawing/2010/main">
                      <a14:imgLayer r:embed="rId10">
                        <a14:imgEffect>
                          <a14:colorTemperature colorTemp="10953"/>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9096740" y="1515021"/>
                <a:ext cx="996639" cy="996639"/>
              </a:xfrm>
              <a:prstGeom prst="rect">
                <a:avLst/>
              </a:prstGeom>
              <a:noFill/>
            </p:spPr>
          </p:pic>
          <p:sp>
            <p:nvSpPr>
              <p:cNvPr id="186" name="Rectangle 185">
                <a:extLst>
                  <a:ext uri="{FF2B5EF4-FFF2-40B4-BE49-F238E27FC236}">
                    <a16:creationId xmlns:a16="http://schemas.microsoft.com/office/drawing/2014/main" id="{D2AE8463-971F-408A-AA0D-D44A48AA1AC6}"/>
                  </a:ext>
                </a:extLst>
              </p:cNvPr>
              <p:cNvSpPr/>
              <p:nvPr/>
            </p:nvSpPr>
            <p:spPr>
              <a:xfrm>
                <a:off x="7933395" y="3502279"/>
                <a:ext cx="3272869" cy="2715025"/>
              </a:xfrm>
              <a:prstGeom prst="rect">
                <a:avLst/>
              </a:prstGeom>
              <a:gradFill flip="none" rotWithShape="1">
                <a:gsLst>
                  <a:gs pos="0">
                    <a:srgbClr val="C00000">
                      <a:tint val="66000"/>
                      <a:satMod val="160000"/>
                    </a:srgbClr>
                  </a:gs>
                  <a:gs pos="0">
                    <a:srgbClr val="C00000">
                      <a:tint val="44500"/>
                      <a:satMod val="160000"/>
                    </a:srgbClr>
                  </a:gs>
                  <a:gs pos="100000">
                    <a:srgbClr val="C00000">
                      <a:tint val="23500"/>
                      <a:satMod val="160000"/>
                    </a:srgbClr>
                  </a:gs>
                </a:gsLst>
                <a:lin ang="16200000" scaled="1"/>
                <a:tileRect/>
              </a:gra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87" name="Rectangle: Top Corners Rounded 8">
                <a:extLst>
                  <a:ext uri="{FF2B5EF4-FFF2-40B4-BE49-F238E27FC236}">
                    <a16:creationId xmlns:a16="http://schemas.microsoft.com/office/drawing/2014/main" id="{37B30373-B01B-4057-9A37-8E0EB393C096}"/>
                  </a:ext>
                </a:extLst>
              </p:cNvPr>
              <p:cNvSpPr/>
              <p:nvPr/>
            </p:nvSpPr>
            <p:spPr>
              <a:xfrm>
                <a:off x="7933395" y="2715236"/>
                <a:ext cx="3272869" cy="640080"/>
              </a:xfrm>
              <a:prstGeom prst="round2SameRect">
                <a:avLst/>
              </a:prstGeom>
              <a:gradFill flip="none" rotWithShape="1">
                <a:gsLst>
                  <a:gs pos="0">
                    <a:srgbClr val="9F2241">
                      <a:shade val="30000"/>
                      <a:satMod val="115000"/>
                    </a:srgbClr>
                  </a:gs>
                  <a:gs pos="0">
                    <a:srgbClr val="9F2241">
                      <a:shade val="67500"/>
                      <a:satMod val="115000"/>
                    </a:srgbClr>
                  </a:gs>
                  <a:gs pos="0">
                    <a:srgbClr val="9F2241">
                      <a:shade val="100000"/>
                      <a:satMod val="115000"/>
                    </a:srgbClr>
                  </a:gs>
                </a:gsLst>
                <a:lin ang="5400000" scaled="1"/>
                <a:tileRect/>
              </a:gradFill>
              <a:ln w="9525" cap="flat" cmpd="sng" algn="ctr">
                <a:solidFill>
                  <a:srgbClr val="C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FFFFFF"/>
                  </a:buClr>
                  <a:buSzTx/>
                  <a:buFontTx/>
                  <a:buNone/>
                  <a:tabLst/>
                  <a:defRPr/>
                </a:pPr>
                <a:r>
                  <a:rPr lang="en-US" b="1" kern="0" dirty="0">
                    <a:solidFill>
                      <a:srgbClr val="FFFFFF"/>
                    </a:solidFill>
                    <a:latin typeface="Arial"/>
                    <a:sym typeface="Arial"/>
                  </a:rPr>
                  <a:t>Protecting Schools</a:t>
                </a:r>
                <a:endParaRPr kumimoji="0" lang="en-US" b="1" i="0" u="none" strike="noStrike" kern="0" cap="none" normalizeH="0" baseline="0" noProof="0" dirty="0">
                  <a:ln>
                    <a:noFill/>
                  </a:ln>
                  <a:solidFill>
                    <a:srgbClr val="FFFFFF"/>
                  </a:solidFill>
                  <a:effectLst/>
                  <a:uLnTx/>
                  <a:uFillTx/>
                  <a:latin typeface="Arial"/>
                  <a:sym typeface="Arial"/>
                </a:endParaRPr>
              </a:p>
            </p:txBody>
          </p:sp>
          <p:sp>
            <p:nvSpPr>
              <p:cNvPr id="183" name="TextBox 182">
                <a:extLst>
                  <a:ext uri="{FF2B5EF4-FFF2-40B4-BE49-F238E27FC236}">
                    <a16:creationId xmlns:a16="http://schemas.microsoft.com/office/drawing/2014/main" id="{B4BB98F8-6298-4599-ABDB-FB7E719A84AC}"/>
                  </a:ext>
                </a:extLst>
              </p:cNvPr>
              <p:cNvSpPr txBox="1"/>
              <p:nvPr/>
            </p:nvSpPr>
            <p:spPr>
              <a:xfrm>
                <a:off x="7933395" y="3560268"/>
                <a:ext cx="3238124" cy="55399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60325" marR="0" lvl="0" defTabSz="913526" rtl="0" eaLnBrk="1" fontAlgn="auto" latinLnBrk="0" hangingPunct="1">
                  <a:lnSpc>
                    <a:spcPct val="100000"/>
                  </a:lnSpc>
                  <a:spcBef>
                    <a:spcPts val="0"/>
                  </a:spcBef>
                  <a:spcAft>
                    <a:spcPts val="0"/>
                  </a:spcAft>
                  <a:buClrTx/>
                  <a:buSzPct val="100000"/>
                  <a:tabLst/>
                  <a:defRPr/>
                </a:pPr>
                <a:r>
                  <a:rPr lang="en-US" sz="1800" b="1" kern="0" dirty="0">
                    <a:solidFill>
                      <a:schemeClr val="tx1">
                        <a:lumMod val="75000"/>
                        <a:lumOff val="25000"/>
                      </a:schemeClr>
                    </a:solidFill>
                    <a:latin typeface="Arial"/>
                    <a:cs typeface="Arial"/>
                    <a:sym typeface="Arial"/>
                  </a:rPr>
                  <a:t>Leverage and s</a:t>
                </a:r>
                <a:r>
                  <a:rPr kumimoji="0" lang="en-US" sz="1800" b="1" i="0" u="none" strike="noStrike" kern="0" cap="none" spc="0" normalizeH="0" baseline="0" noProof="0" dirty="0" err="1">
                    <a:ln>
                      <a:noFill/>
                    </a:ln>
                    <a:solidFill>
                      <a:schemeClr val="tx1">
                        <a:lumMod val="75000"/>
                        <a:lumOff val="25000"/>
                      </a:schemeClr>
                    </a:solidFill>
                    <a:effectLst/>
                    <a:uLnTx/>
                    <a:uFillTx/>
                    <a:latin typeface="Arial"/>
                    <a:cs typeface="Arial"/>
                    <a:sym typeface="Arial"/>
                  </a:rPr>
                  <a:t>cale</a:t>
                </a:r>
                <a:r>
                  <a:rPr kumimoji="0" lang="en-US" sz="1800" b="1" i="0" u="none" strike="noStrike" kern="0" cap="none" spc="0" normalizeH="0" noProof="0" dirty="0">
                    <a:ln>
                      <a:noFill/>
                    </a:ln>
                    <a:solidFill>
                      <a:schemeClr val="tx1">
                        <a:lumMod val="75000"/>
                        <a:lumOff val="25000"/>
                      </a:schemeClr>
                    </a:solidFill>
                    <a:effectLst/>
                    <a:uLnTx/>
                    <a:uFillTx/>
                    <a:latin typeface="Arial"/>
                    <a:cs typeface="Arial"/>
                    <a:sym typeface="Arial"/>
                  </a:rPr>
                  <a:t> up </a:t>
                </a:r>
              </a:p>
              <a:p>
                <a:pPr marL="60325" marR="0" lvl="0" defTabSz="913526" rtl="0" eaLnBrk="1" fontAlgn="auto" latinLnBrk="0" hangingPunct="1">
                  <a:lnSpc>
                    <a:spcPct val="100000"/>
                  </a:lnSpc>
                  <a:spcBef>
                    <a:spcPts val="0"/>
                  </a:spcBef>
                  <a:spcAft>
                    <a:spcPts val="0"/>
                  </a:spcAft>
                  <a:buClrTx/>
                  <a:buSzPct val="100000"/>
                  <a:tabLst/>
                  <a:defRPr/>
                </a:pPr>
                <a:r>
                  <a:rPr kumimoji="0" lang="en-US" sz="1800" b="1" i="0" u="none" strike="noStrike" kern="0" cap="none" spc="0" normalizeH="0" baseline="0" noProof="0" dirty="0">
                    <a:ln>
                      <a:noFill/>
                    </a:ln>
                    <a:solidFill>
                      <a:schemeClr val="tx1">
                        <a:lumMod val="75000"/>
                        <a:lumOff val="25000"/>
                      </a:schemeClr>
                    </a:solidFill>
                    <a:effectLst/>
                    <a:uLnTx/>
                    <a:uFillTx/>
                    <a:latin typeface="Arial"/>
                    <a:cs typeface="Arial"/>
                    <a:sym typeface="Arial"/>
                  </a:rPr>
                  <a:t>PACT to:</a:t>
                </a:r>
              </a:p>
            </p:txBody>
          </p:sp>
        </p:grpSp>
        <p:sp>
          <p:nvSpPr>
            <p:cNvPr id="2" name="Rectangle 1">
              <a:extLst>
                <a:ext uri="{FF2B5EF4-FFF2-40B4-BE49-F238E27FC236}">
                  <a16:creationId xmlns:a16="http://schemas.microsoft.com/office/drawing/2014/main" id="{B86416ED-7DC6-B146-B34C-413737446D7A}"/>
                </a:ext>
              </a:extLst>
            </p:cNvPr>
            <p:cNvSpPr/>
            <p:nvPr/>
          </p:nvSpPr>
          <p:spPr>
            <a:xfrm>
              <a:off x="8770847" y="4252332"/>
              <a:ext cx="2969563" cy="2062103"/>
            </a:xfrm>
            <a:prstGeom prst="rect">
              <a:avLst/>
            </a:prstGeom>
          </p:spPr>
          <p:txBody>
            <a:bodyPr wrap="square">
              <a:spAutoFit/>
            </a:bodyPr>
            <a:lstStyle/>
            <a:p>
              <a:pPr marL="342900" lvl="0" indent="-342900" defTabSz="913526">
                <a:spcAft>
                  <a:spcPts val="1200"/>
                </a:spcAft>
                <a:buSzPct val="100000"/>
                <a:buFont typeface="+mj-lt"/>
                <a:buAutoNum type="arabicPeriod"/>
                <a:defRPr/>
              </a:pPr>
              <a:r>
                <a:rPr lang="en-US" b="1" kern="0" dirty="0">
                  <a:solidFill>
                    <a:schemeClr val="tx1">
                      <a:lumMod val="75000"/>
                      <a:lumOff val="25000"/>
                    </a:schemeClr>
                  </a:solidFill>
                  <a:latin typeface="Arial"/>
                  <a:cs typeface="Arial"/>
                  <a:sym typeface="Arial"/>
                </a:rPr>
                <a:t>boost surveillance </a:t>
              </a:r>
              <a:r>
                <a:rPr lang="en-US" kern="0" dirty="0">
                  <a:solidFill>
                    <a:schemeClr val="tx1">
                      <a:lumMod val="75000"/>
                      <a:lumOff val="25000"/>
                    </a:schemeClr>
                  </a:solidFill>
                  <a:latin typeface="Arial"/>
                  <a:cs typeface="Arial"/>
                  <a:sym typeface="Arial"/>
                </a:rPr>
                <a:t>of COVID-19 </a:t>
              </a:r>
            </a:p>
            <a:p>
              <a:pPr marL="342900" lvl="0" indent="-342900" defTabSz="913526">
                <a:spcAft>
                  <a:spcPts val="1200"/>
                </a:spcAft>
                <a:buSzPct val="100000"/>
                <a:buFont typeface="+mj-lt"/>
                <a:buAutoNum type="arabicPeriod"/>
                <a:defRPr/>
              </a:pPr>
              <a:r>
                <a:rPr lang="en-US" b="1" kern="0" dirty="0">
                  <a:solidFill>
                    <a:schemeClr val="tx1">
                      <a:lumMod val="75000"/>
                      <a:lumOff val="25000"/>
                    </a:schemeClr>
                  </a:solidFill>
                  <a:latin typeface="Arial"/>
                  <a:cs typeface="Arial"/>
                  <a:sym typeface="Arial"/>
                </a:rPr>
                <a:t>assess risk </a:t>
              </a:r>
              <a:r>
                <a:rPr lang="en-US" kern="0" dirty="0">
                  <a:solidFill>
                    <a:schemeClr val="tx1">
                      <a:lumMod val="75000"/>
                      <a:lumOff val="25000"/>
                    </a:schemeClr>
                  </a:solidFill>
                  <a:latin typeface="Arial"/>
                  <a:cs typeface="Arial"/>
                  <a:sym typeface="Arial"/>
                </a:rPr>
                <a:t>of COVID-19 in community </a:t>
              </a:r>
            </a:p>
            <a:p>
              <a:pPr marL="342900" lvl="0" indent="-342900" defTabSz="913526">
                <a:spcAft>
                  <a:spcPts val="1200"/>
                </a:spcAft>
                <a:buSzPct val="100000"/>
                <a:buFont typeface="+mj-lt"/>
                <a:buAutoNum type="arabicPeriod"/>
                <a:defRPr/>
              </a:pPr>
              <a:r>
                <a:rPr lang="en-US" b="1" kern="0" dirty="0">
                  <a:solidFill>
                    <a:schemeClr val="tx1">
                      <a:lumMod val="75000"/>
                      <a:lumOff val="25000"/>
                    </a:schemeClr>
                  </a:solidFill>
                  <a:latin typeface="Arial"/>
                  <a:cs typeface="Arial"/>
                  <a:sym typeface="Arial"/>
                </a:rPr>
                <a:t>strengthen</a:t>
              </a:r>
              <a:r>
                <a:rPr lang="en-US" kern="0" dirty="0">
                  <a:solidFill>
                    <a:schemeClr val="tx1">
                      <a:lumMod val="75000"/>
                      <a:lumOff val="25000"/>
                    </a:schemeClr>
                  </a:solidFill>
                  <a:latin typeface="Arial"/>
                  <a:cs typeface="Arial"/>
                  <a:sym typeface="Arial"/>
                </a:rPr>
                <a:t> public health measures </a:t>
              </a:r>
            </a:p>
          </p:txBody>
        </p:sp>
      </p:grpSp>
    </p:spTree>
    <p:extLst>
      <p:ext uri="{BB962C8B-B14F-4D97-AF65-F5344CB8AC3E}">
        <p14:creationId xmlns:p14="http://schemas.microsoft.com/office/powerpoint/2010/main" val="80232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3969D86-63D7-1A45-A7DC-A785D85D65CB}"/>
              </a:ext>
            </a:extLst>
          </p:cNvPr>
          <p:cNvSpPr>
            <a:spLocks noGrp="1"/>
          </p:cNvSpPr>
          <p:nvPr>
            <p:ph type="title"/>
          </p:nvPr>
        </p:nvSpPr>
        <p:spPr>
          <a:xfrm>
            <a:off x="766293" y="95534"/>
            <a:ext cx="10515600" cy="499303"/>
          </a:xfrm>
        </p:spPr>
        <p:txBody>
          <a:bodyPr>
            <a:normAutofit fontScale="90000"/>
          </a:bodyPr>
          <a:lstStyle/>
          <a:p>
            <a:pPr algn="ctr"/>
            <a:r>
              <a:rPr lang="en-US" sz="3400" b="1" dirty="0">
                <a:latin typeface="Avenir Black" panose="02000503020000020003" pitchFamily="2" charset="0"/>
              </a:rPr>
              <a:t>Considerations for opening economies</a:t>
            </a:r>
          </a:p>
        </p:txBody>
      </p:sp>
      <p:pic>
        <p:nvPicPr>
          <p:cNvPr id="16" name="Picture 15">
            <a:extLst>
              <a:ext uri="{FF2B5EF4-FFF2-40B4-BE49-F238E27FC236}">
                <a16:creationId xmlns:a16="http://schemas.microsoft.com/office/drawing/2014/main" id="{0172921E-FE5B-3745-84CF-4088CCAB5558}"/>
              </a:ext>
            </a:extLst>
          </p:cNvPr>
          <p:cNvPicPr>
            <a:picLocks noChangeAspect="1"/>
          </p:cNvPicPr>
          <p:nvPr/>
        </p:nvPicPr>
        <p:blipFill>
          <a:blip r:embed="rId2"/>
          <a:stretch>
            <a:fillRect/>
          </a:stretch>
        </p:blipFill>
        <p:spPr>
          <a:xfrm>
            <a:off x="10659414" y="0"/>
            <a:ext cx="1532586" cy="725387"/>
          </a:xfrm>
          <a:prstGeom prst="rect">
            <a:avLst/>
          </a:prstGeom>
        </p:spPr>
      </p:pic>
      <p:pic>
        <p:nvPicPr>
          <p:cNvPr id="17" name="Picture 16">
            <a:extLst>
              <a:ext uri="{FF2B5EF4-FFF2-40B4-BE49-F238E27FC236}">
                <a16:creationId xmlns:a16="http://schemas.microsoft.com/office/drawing/2014/main" id="{60CC0F68-644C-9840-BE55-9B832F789124}"/>
              </a:ext>
            </a:extLst>
          </p:cNvPr>
          <p:cNvPicPr>
            <a:picLocks noChangeAspect="1"/>
          </p:cNvPicPr>
          <p:nvPr/>
        </p:nvPicPr>
        <p:blipFill rotWithShape="1">
          <a:blip r:embed="rId3"/>
          <a:srcRect t="25153" b="25153"/>
          <a:stretch/>
        </p:blipFill>
        <p:spPr>
          <a:xfrm>
            <a:off x="0" y="0"/>
            <a:ext cx="1532586" cy="594837"/>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8CB19128-6731-6344-A392-6CC2ACE14AE1}"/>
              </a:ext>
            </a:extLst>
          </p:cNvPr>
          <p:cNvPicPr>
            <a:picLocks noChangeAspect="1"/>
          </p:cNvPicPr>
          <p:nvPr/>
        </p:nvPicPr>
        <p:blipFill rotWithShape="1">
          <a:blip r:embed="rId4"/>
          <a:srcRect b="42708"/>
          <a:stretch/>
        </p:blipFill>
        <p:spPr>
          <a:xfrm>
            <a:off x="1588994" y="1125898"/>
            <a:ext cx="9015877" cy="3284737"/>
          </a:xfrm>
          <a:prstGeom prst="rect">
            <a:avLst/>
          </a:prstGeom>
        </p:spPr>
      </p:pic>
      <p:pic>
        <p:nvPicPr>
          <p:cNvPr id="18" name="Picture 17" descr="A screenshot of a cell phone&#10;&#10;Description automatically generated">
            <a:extLst>
              <a:ext uri="{FF2B5EF4-FFF2-40B4-BE49-F238E27FC236}">
                <a16:creationId xmlns:a16="http://schemas.microsoft.com/office/drawing/2014/main" id="{DFB06146-F33C-F94E-9FAA-78C039BB0AEB}"/>
              </a:ext>
            </a:extLst>
          </p:cNvPr>
          <p:cNvPicPr>
            <a:picLocks noChangeAspect="1"/>
          </p:cNvPicPr>
          <p:nvPr/>
        </p:nvPicPr>
        <p:blipFill rotWithShape="1">
          <a:blip r:embed="rId4"/>
          <a:srcRect t="57292"/>
          <a:stretch/>
        </p:blipFill>
        <p:spPr>
          <a:xfrm>
            <a:off x="1643537" y="4410634"/>
            <a:ext cx="9015877" cy="2448551"/>
          </a:xfrm>
          <a:prstGeom prst="rect">
            <a:avLst/>
          </a:prstGeom>
        </p:spPr>
      </p:pic>
    </p:spTree>
    <p:extLst>
      <p:ext uri="{BB962C8B-B14F-4D97-AF65-F5344CB8AC3E}">
        <p14:creationId xmlns:p14="http://schemas.microsoft.com/office/powerpoint/2010/main" val="69173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a:extLst>
              <a:ext uri="{FF2B5EF4-FFF2-40B4-BE49-F238E27FC236}">
                <a16:creationId xmlns:a16="http://schemas.microsoft.com/office/drawing/2014/main" id="{0F5328D1-4A47-4E3E-854E-F8E49A3E25A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71D5CBE-79DA-4BE1-85FA-AE5B3734C3B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40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EC2F973-4B52-4492-9893-0E24B08AC5E8}"/>
              </a:ext>
            </a:extLst>
          </p:cNvPr>
          <p:cNvSpPr>
            <a:spLocks noGrp="1"/>
          </p:cNvSpPr>
          <p:nvPr>
            <p:ph type="title"/>
          </p:nvPr>
        </p:nvSpPr>
        <p:spPr bwMode="auto">
          <a:xfrm>
            <a:off x="233259" y="64129"/>
            <a:ext cx="1172548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nchorCtr="0">
            <a:noAutofit/>
          </a:bodyPr>
          <a:lstStyle/>
          <a:p>
            <a:r>
              <a:rPr lang="en-ZA" dirty="0"/>
              <a:t>The Africa COVID-19 Vaccine Development and Access Strategy has three major prongs</a:t>
            </a:r>
          </a:p>
        </p:txBody>
      </p:sp>
      <p:grpSp>
        <p:nvGrpSpPr>
          <p:cNvPr id="13" name="Group 12">
            <a:extLst>
              <a:ext uri="{FF2B5EF4-FFF2-40B4-BE49-F238E27FC236}">
                <a16:creationId xmlns:a16="http://schemas.microsoft.com/office/drawing/2014/main" id="{641EE9AC-68FE-460C-A1A6-DCF5575F85D7}"/>
              </a:ext>
            </a:extLst>
          </p:cNvPr>
          <p:cNvGrpSpPr/>
          <p:nvPr/>
        </p:nvGrpSpPr>
        <p:grpSpPr>
          <a:xfrm>
            <a:off x="327001" y="1277171"/>
            <a:ext cx="3510530" cy="2914722"/>
            <a:chOff x="1939974" y="1691611"/>
            <a:chExt cx="3524279" cy="2914722"/>
          </a:xfrm>
        </p:grpSpPr>
        <p:sp>
          <p:nvSpPr>
            <p:cNvPr id="29" name="TrackerNum 7">
              <a:extLst>
                <a:ext uri="{FF2B5EF4-FFF2-40B4-BE49-F238E27FC236}">
                  <a16:creationId xmlns:a16="http://schemas.microsoft.com/office/drawing/2014/main" id="{DF20E82C-13F4-4EF8-BCB7-A70F3DBFEEB8}"/>
                </a:ext>
              </a:extLst>
            </p:cNvPr>
            <p:cNvSpPr>
              <a:spLocks/>
            </p:cNvSpPr>
            <p:nvPr>
              <p:custDataLst>
                <p:tags r:id="rId6"/>
              </p:custDataLst>
            </p:nvPr>
          </p:nvSpPr>
          <p:spPr>
            <a:xfrm>
              <a:off x="1939974" y="1691611"/>
              <a:ext cx="271577" cy="271577"/>
            </a:xfrm>
            <a:prstGeom prst="ellipse">
              <a:avLst/>
            </a:prstGeom>
            <a:gradFill>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gra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1600" b="1" dirty="0">
                  <a:solidFill>
                    <a:schemeClr val="bg1"/>
                  </a:solidFill>
                </a:rPr>
                <a:t>1</a:t>
              </a:r>
            </a:p>
          </p:txBody>
        </p:sp>
        <p:grpSp>
          <p:nvGrpSpPr>
            <p:cNvPr id="22" name="Group 21">
              <a:extLst>
                <a:ext uri="{FF2B5EF4-FFF2-40B4-BE49-F238E27FC236}">
                  <a16:creationId xmlns:a16="http://schemas.microsoft.com/office/drawing/2014/main" id="{5BBBD5C9-485F-4BCB-9718-12B3D15B7193}"/>
                </a:ext>
              </a:extLst>
            </p:cNvPr>
            <p:cNvGrpSpPr/>
            <p:nvPr/>
          </p:nvGrpSpPr>
          <p:grpSpPr>
            <a:xfrm>
              <a:off x="1943132" y="2390342"/>
              <a:ext cx="3352500" cy="2215991"/>
              <a:chOff x="1943132" y="1847416"/>
              <a:chExt cx="3352500" cy="2215991"/>
            </a:xfrm>
          </p:grpSpPr>
          <p:sp>
            <p:nvSpPr>
              <p:cNvPr id="41" name="TextBox 40">
                <a:extLst>
                  <a:ext uri="{FF2B5EF4-FFF2-40B4-BE49-F238E27FC236}">
                    <a16:creationId xmlns:a16="http://schemas.microsoft.com/office/drawing/2014/main" id="{F3A3D6DB-168E-47AF-A22C-87FC96928529}"/>
                  </a:ext>
                </a:extLst>
              </p:cNvPr>
              <p:cNvSpPr txBox="1">
                <a:spLocks/>
              </p:cNvSpPr>
              <p:nvPr/>
            </p:nvSpPr>
            <p:spPr>
              <a:xfrm>
                <a:off x="2625072" y="1847416"/>
                <a:ext cx="2670560" cy="22159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3"/>
                    </a:solidFill>
                  </a:rPr>
                  <a:t>Consortium for COVID-19 Vaccine Clinical Trial (CONCVACT) </a:t>
                </a:r>
                <a:r>
                  <a:rPr lang="en-ZA" dirty="0">
                    <a:solidFill>
                      <a:srgbClr val="303D24"/>
                    </a:solidFill>
                  </a:rPr>
                  <a:t>– ensure Africa participates in COVID-19 vaccine clinical trials to test safety and efficacy, while strengthening Africa’s capacity for running high quality clinical trials</a:t>
                </a:r>
                <a:endParaRPr lang="en-US" dirty="0"/>
              </a:p>
            </p:txBody>
          </p:sp>
          <p:grpSp>
            <p:nvGrpSpPr>
              <p:cNvPr id="126" name="CustomIcon">
                <a:extLst>
                  <a:ext uri="{FF2B5EF4-FFF2-40B4-BE49-F238E27FC236}">
                    <a16:creationId xmlns:a16="http://schemas.microsoft.com/office/drawing/2014/main" id="{613337FC-FCE5-49DB-B2CD-EEA1E7C2C951}"/>
                  </a:ext>
                </a:extLst>
              </p:cNvPr>
              <p:cNvGrpSpPr/>
              <p:nvPr/>
            </p:nvGrpSpPr>
            <p:grpSpPr>
              <a:xfrm>
                <a:off x="1943132" y="1847416"/>
                <a:ext cx="554182" cy="554182"/>
                <a:chOff x="2203946" y="1798213"/>
                <a:chExt cx="554182" cy="554182"/>
              </a:xfrm>
            </p:grpSpPr>
            <p:sp>
              <p:nvSpPr>
                <p:cNvPr id="127" name="Freeform: Shape 126">
                  <a:extLst>
                    <a:ext uri="{FF2B5EF4-FFF2-40B4-BE49-F238E27FC236}">
                      <a16:creationId xmlns:a16="http://schemas.microsoft.com/office/drawing/2014/main" id="{73C98585-DDB1-48DE-8B5F-C38E82D3E99E}"/>
                    </a:ext>
                  </a:extLst>
                </p:cNvPr>
                <p:cNvSpPr/>
                <p:nvPr/>
              </p:nvSpPr>
              <p:spPr>
                <a:xfrm>
                  <a:off x="2638633" y="1806872"/>
                  <a:ext cx="103909" cy="103909"/>
                </a:xfrm>
                <a:custGeom>
                  <a:avLst/>
                  <a:gdLst>
                    <a:gd name="connsiteX0" fmla="*/ 0 w 103909"/>
                    <a:gd name="connsiteY0" fmla="*/ 0 h 103909"/>
                    <a:gd name="connsiteX1" fmla="*/ 109971 w 103909"/>
                    <a:gd name="connsiteY1" fmla="*/ 109970 h 103909"/>
                  </a:gdLst>
                  <a:ahLst/>
                  <a:cxnLst>
                    <a:cxn ang="0">
                      <a:pos x="connsiteX0" y="connsiteY0"/>
                    </a:cxn>
                    <a:cxn ang="0">
                      <a:pos x="connsiteX1" y="connsiteY1"/>
                    </a:cxn>
                  </a:cxnLst>
                  <a:rect l="l" t="t" r="r" b="b"/>
                  <a:pathLst>
                    <a:path w="103909" h="103909">
                      <a:moveTo>
                        <a:pt x="0" y="0"/>
                      </a:moveTo>
                      <a:lnTo>
                        <a:pt x="109971" y="10997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28" name="Freeform: Shape 127">
                  <a:extLst>
                    <a:ext uri="{FF2B5EF4-FFF2-40B4-BE49-F238E27FC236}">
                      <a16:creationId xmlns:a16="http://schemas.microsoft.com/office/drawing/2014/main" id="{81D0DD9A-6EF6-41D5-B4E7-B1E1F471C678}"/>
                    </a:ext>
                  </a:extLst>
                </p:cNvPr>
                <p:cNvSpPr/>
                <p:nvPr/>
              </p:nvSpPr>
              <p:spPr>
                <a:xfrm>
                  <a:off x="2659414" y="1862290"/>
                  <a:ext cx="25977" cy="25977"/>
                </a:xfrm>
                <a:custGeom>
                  <a:avLst/>
                  <a:gdLst>
                    <a:gd name="connsiteX0" fmla="*/ 33770 w 25977"/>
                    <a:gd name="connsiteY0" fmla="*/ 0 h 25977"/>
                    <a:gd name="connsiteX1" fmla="*/ 0 w 25977"/>
                    <a:gd name="connsiteY1" fmla="*/ 33770 h 25977"/>
                  </a:gdLst>
                  <a:ahLst/>
                  <a:cxnLst>
                    <a:cxn ang="0">
                      <a:pos x="connsiteX0" y="connsiteY0"/>
                    </a:cxn>
                    <a:cxn ang="0">
                      <a:pos x="connsiteX1" y="connsiteY1"/>
                    </a:cxn>
                  </a:cxnLst>
                  <a:rect l="l" t="t" r="r" b="b"/>
                  <a:pathLst>
                    <a:path w="25977" h="25977">
                      <a:moveTo>
                        <a:pt x="33770" y="0"/>
                      </a:moveTo>
                      <a:lnTo>
                        <a:pt x="0" y="3377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29" name="Freeform: Shape 128">
                  <a:extLst>
                    <a:ext uri="{FF2B5EF4-FFF2-40B4-BE49-F238E27FC236}">
                      <a16:creationId xmlns:a16="http://schemas.microsoft.com/office/drawing/2014/main" id="{9423AFFF-5A3B-4207-9B2F-83AB0FE95E93}"/>
                    </a:ext>
                  </a:extLst>
                </p:cNvPr>
                <p:cNvSpPr/>
                <p:nvPr/>
              </p:nvSpPr>
              <p:spPr>
                <a:xfrm>
                  <a:off x="2574555" y="1812068"/>
                  <a:ext cx="164523" cy="164523"/>
                </a:xfrm>
                <a:custGeom>
                  <a:avLst/>
                  <a:gdLst>
                    <a:gd name="connsiteX0" fmla="*/ 0 w 164522"/>
                    <a:gd name="connsiteY0" fmla="*/ 0 h 164522"/>
                    <a:gd name="connsiteX1" fmla="*/ 168852 w 164522"/>
                    <a:gd name="connsiteY1" fmla="*/ 168852 h 164522"/>
                  </a:gdLst>
                  <a:ahLst/>
                  <a:cxnLst>
                    <a:cxn ang="0">
                      <a:pos x="connsiteX0" y="connsiteY0"/>
                    </a:cxn>
                    <a:cxn ang="0">
                      <a:pos x="connsiteX1" y="connsiteY1"/>
                    </a:cxn>
                  </a:cxnLst>
                  <a:rect l="l" t="t" r="r" b="b"/>
                  <a:pathLst>
                    <a:path w="164522" h="164522">
                      <a:moveTo>
                        <a:pt x="0" y="0"/>
                      </a:moveTo>
                      <a:lnTo>
                        <a:pt x="168852" y="168852"/>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30" name="Freeform: Shape 129">
                  <a:extLst>
                    <a:ext uri="{FF2B5EF4-FFF2-40B4-BE49-F238E27FC236}">
                      <a16:creationId xmlns:a16="http://schemas.microsoft.com/office/drawing/2014/main" id="{821BDA60-F011-4ED2-AD0F-749ED8AA7095}"/>
                    </a:ext>
                  </a:extLst>
                </p:cNvPr>
                <p:cNvSpPr/>
                <p:nvPr/>
              </p:nvSpPr>
              <p:spPr>
                <a:xfrm>
                  <a:off x="2356346" y="1850168"/>
                  <a:ext cx="346364" cy="346364"/>
                </a:xfrm>
                <a:custGeom>
                  <a:avLst/>
                  <a:gdLst>
                    <a:gd name="connsiteX0" fmla="*/ 256309 w 346363"/>
                    <a:gd name="connsiteY0" fmla="*/ 0 h 346363"/>
                    <a:gd name="connsiteX1" fmla="*/ 0 w 346363"/>
                    <a:gd name="connsiteY1" fmla="*/ 255443 h 346363"/>
                    <a:gd name="connsiteX2" fmla="*/ 6927 w 346363"/>
                    <a:gd name="connsiteY2" fmla="*/ 343766 h 346363"/>
                    <a:gd name="connsiteX3" fmla="*/ 94384 w 346363"/>
                    <a:gd name="connsiteY3" fmla="*/ 348096 h 346363"/>
                    <a:gd name="connsiteX4" fmla="*/ 351559 w 346363"/>
                    <a:gd name="connsiteY4" fmla="*/ 94384 h 346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363" h="346363">
                      <a:moveTo>
                        <a:pt x="256309" y="0"/>
                      </a:moveTo>
                      <a:lnTo>
                        <a:pt x="0" y="255443"/>
                      </a:lnTo>
                      <a:lnTo>
                        <a:pt x="6927" y="343766"/>
                      </a:lnTo>
                      <a:lnTo>
                        <a:pt x="94384" y="348096"/>
                      </a:lnTo>
                      <a:lnTo>
                        <a:pt x="351559" y="94384"/>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131" name="Freeform: Shape 130">
                  <a:extLst>
                    <a:ext uri="{FF2B5EF4-FFF2-40B4-BE49-F238E27FC236}">
                      <a16:creationId xmlns:a16="http://schemas.microsoft.com/office/drawing/2014/main" id="{262427D4-B656-4253-8521-F6B212758858}"/>
                    </a:ext>
                  </a:extLst>
                </p:cNvPr>
                <p:cNvSpPr/>
                <p:nvPr/>
              </p:nvSpPr>
              <p:spPr>
                <a:xfrm>
                  <a:off x="2399642" y="2061449"/>
                  <a:ext cx="34636" cy="34636"/>
                </a:xfrm>
                <a:custGeom>
                  <a:avLst/>
                  <a:gdLst>
                    <a:gd name="connsiteX0" fmla="*/ 0 w 34636"/>
                    <a:gd name="connsiteY0" fmla="*/ 0 h 34636"/>
                    <a:gd name="connsiteX1" fmla="*/ 39832 w 34636"/>
                    <a:gd name="connsiteY1" fmla="*/ 39832 h 34636"/>
                  </a:gdLst>
                  <a:ahLst/>
                  <a:cxnLst>
                    <a:cxn ang="0">
                      <a:pos x="connsiteX0" y="connsiteY0"/>
                    </a:cxn>
                    <a:cxn ang="0">
                      <a:pos x="connsiteX1" y="connsiteY1"/>
                    </a:cxn>
                  </a:cxnLst>
                  <a:rect l="l" t="t" r="r" b="b"/>
                  <a:pathLst>
                    <a:path w="34636" h="34636">
                      <a:moveTo>
                        <a:pt x="0" y="0"/>
                      </a:moveTo>
                      <a:lnTo>
                        <a:pt x="39832" y="39832"/>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32" name="Freeform: Shape 131">
                  <a:extLst>
                    <a:ext uri="{FF2B5EF4-FFF2-40B4-BE49-F238E27FC236}">
                      <a16:creationId xmlns:a16="http://schemas.microsoft.com/office/drawing/2014/main" id="{8B69EE4C-91E0-4FB2-A658-D327901B5C5C}"/>
                    </a:ext>
                  </a:extLst>
                </p:cNvPr>
                <p:cNvSpPr/>
                <p:nvPr/>
              </p:nvSpPr>
              <p:spPr>
                <a:xfrm>
                  <a:off x="2442937" y="2019886"/>
                  <a:ext cx="34636" cy="34636"/>
                </a:xfrm>
                <a:custGeom>
                  <a:avLst/>
                  <a:gdLst>
                    <a:gd name="connsiteX0" fmla="*/ 0 w 34636"/>
                    <a:gd name="connsiteY0" fmla="*/ 0 h 34636"/>
                    <a:gd name="connsiteX1" fmla="*/ 38966 w 34636"/>
                    <a:gd name="connsiteY1" fmla="*/ 38966 h 34636"/>
                  </a:gdLst>
                  <a:ahLst/>
                  <a:cxnLst>
                    <a:cxn ang="0">
                      <a:pos x="connsiteX0" y="connsiteY0"/>
                    </a:cxn>
                    <a:cxn ang="0">
                      <a:pos x="connsiteX1" y="connsiteY1"/>
                    </a:cxn>
                  </a:cxnLst>
                  <a:rect l="l" t="t" r="r" b="b"/>
                  <a:pathLst>
                    <a:path w="34636" h="34636">
                      <a:moveTo>
                        <a:pt x="0" y="0"/>
                      </a:moveTo>
                      <a:lnTo>
                        <a:pt x="38966" y="38966"/>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33" name="Freeform: Shape 132">
                  <a:extLst>
                    <a:ext uri="{FF2B5EF4-FFF2-40B4-BE49-F238E27FC236}">
                      <a16:creationId xmlns:a16="http://schemas.microsoft.com/office/drawing/2014/main" id="{587DDCA2-037F-4B4D-8110-A3199AE0281F}"/>
                    </a:ext>
                  </a:extLst>
                </p:cNvPr>
                <p:cNvSpPr/>
                <p:nvPr/>
              </p:nvSpPr>
              <p:spPr>
                <a:xfrm>
                  <a:off x="2485367" y="1976590"/>
                  <a:ext cx="34636" cy="34636"/>
                </a:xfrm>
                <a:custGeom>
                  <a:avLst/>
                  <a:gdLst>
                    <a:gd name="connsiteX0" fmla="*/ 0 w 34636"/>
                    <a:gd name="connsiteY0" fmla="*/ 0 h 34636"/>
                    <a:gd name="connsiteX1" fmla="*/ 38966 w 34636"/>
                    <a:gd name="connsiteY1" fmla="*/ 38966 h 34636"/>
                  </a:gdLst>
                  <a:ahLst/>
                  <a:cxnLst>
                    <a:cxn ang="0">
                      <a:pos x="connsiteX0" y="connsiteY0"/>
                    </a:cxn>
                    <a:cxn ang="0">
                      <a:pos x="connsiteX1" y="connsiteY1"/>
                    </a:cxn>
                  </a:cxnLst>
                  <a:rect l="l" t="t" r="r" b="b"/>
                  <a:pathLst>
                    <a:path w="34636" h="34636">
                      <a:moveTo>
                        <a:pt x="0" y="0"/>
                      </a:moveTo>
                      <a:lnTo>
                        <a:pt x="38966" y="38966"/>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34" name="Freeform: Shape 133">
                  <a:extLst>
                    <a:ext uri="{FF2B5EF4-FFF2-40B4-BE49-F238E27FC236}">
                      <a16:creationId xmlns:a16="http://schemas.microsoft.com/office/drawing/2014/main" id="{976CA7E0-E285-4727-94E2-55601A5659D4}"/>
                    </a:ext>
                  </a:extLst>
                </p:cNvPr>
                <p:cNvSpPr/>
                <p:nvPr/>
              </p:nvSpPr>
              <p:spPr>
                <a:xfrm>
                  <a:off x="2527796" y="1934161"/>
                  <a:ext cx="34636" cy="34636"/>
                </a:xfrm>
                <a:custGeom>
                  <a:avLst/>
                  <a:gdLst>
                    <a:gd name="connsiteX0" fmla="*/ 0 w 34636"/>
                    <a:gd name="connsiteY0" fmla="*/ 0 h 34636"/>
                    <a:gd name="connsiteX1" fmla="*/ 38966 w 34636"/>
                    <a:gd name="connsiteY1" fmla="*/ 38966 h 34636"/>
                  </a:gdLst>
                  <a:ahLst/>
                  <a:cxnLst>
                    <a:cxn ang="0">
                      <a:pos x="connsiteX0" y="connsiteY0"/>
                    </a:cxn>
                    <a:cxn ang="0">
                      <a:pos x="connsiteX1" y="connsiteY1"/>
                    </a:cxn>
                  </a:cxnLst>
                  <a:rect l="l" t="t" r="r" b="b"/>
                  <a:pathLst>
                    <a:path w="34636" h="34636">
                      <a:moveTo>
                        <a:pt x="0" y="0"/>
                      </a:moveTo>
                      <a:lnTo>
                        <a:pt x="38966" y="38966"/>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35" name="Freeform: Shape 134">
                  <a:extLst>
                    <a:ext uri="{FF2B5EF4-FFF2-40B4-BE49-F238E27FC236}">
                      <a16:creationId xmlns:a16="http://schemas.microsoft.com/office/drawing/2014/main" id="{2358AD9D-C928-4089-A037-24C2E0FB7BB7}"/>
                    </a:ext>
                  </a:extLst>
                </p:cNvPr>
                <p:cNvSpPr/>
                <p:nvPr/>
              </p:nvSpPr>
              <p:spPr>
                <a:xfrm>
                  <a:off x="2571092" y="1891731"/>
                  <a:ext cx="34636" cy="34636"/>
                </a:xfrm>
                <a:custGeom>
                  <a:avLst/>
                  <a:gdLst>
                    <a:gd name="connsiteX0" fmla="*/ 0 w 34636"/>
                    <a:gd name="connsiteY0" fmla="*/ 0 h 34636"/>
                    <a:gd name="connsiteX1" fmla="*/ 38100 w 34636"/>
                    <a:gd name="connsiteY1" fmla="*/ 38100 h 34636"/>
                  </a:gdLst>
                  <a:ahLst/>
                  <a:cxnLst>
                    <a:cxn ang="0">
                      <a:pos x="connsiteX0" y="connsiteY0"/>
                    </a:cxn>
                    <a:cxn ang="0">
                      <a:pos x="connsiteX1" y="connsiteY1"/>
                    </a:cxn>
                  </a:cxnLst>
                  <a:rect l="l" t="t" r="r" b="b"/>
                  <a:pathLst>
                    <a:path w="34636" h="34636">
                      <a:moveTo>
                        <a:pt x="0" y="0"/>
                      </a:moveTo>
                      <a:lnTo>
                        <a:pt x="38100" y="3810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36" name="Freeform: Shape 135">
                  <a:extLst>
                    <a:ext uri="{FF2B5EF4-FFF2-40B4-BE49-F238E27FC236}">
                      <a16:creationId xmlns:a16="http://schemas.microsoft.com/office/drawing/2014/main" id="{A3EF4459-63EE-4D91-B1FC-434040DF0C6E}"/>
                    </a:ext>
                  </a:extLst>
                </p:cNvPr>
                <p:cNvSpPr/>
                <p:nvPr/>
              </p:nvSpPr>
              <p:spPr>
                <a:xfrm>
                  <a:off x="2213471" y="2193934"/>
                  <a:ext cx="147205" cy="147205"/>
                </a:xfrm>
                <a:custGeom>
                  <a:avLst/>
                  <a:gdLst>
                    <a:gd name="connsiteX0" fmla="*/ 149802 w 147204"/>
                    <a:gd name="connsiteY0" fmla="*/ 0 h 147204"/>
                    <a:gd name="connsiteX1" fmla="*/ 0 w 147204"/>
                    <a:gd name="connsiteY1" fmla="*/ 149802 h 147204"/>
                  </a:gdLst>
                  <a:ahLst/>
                  <a:cxnLst>
                    <a:cxn ang="0">
                      <a:pos x="connsiteX0" y="connsiteY0"/>
                    </a:cxn>
                    <a:cxn ang="0">
                      <a:pos x="connsiteX1" y="connsiteY1"/>
                    </a:cxn>
                  </a:cxnLst>
                  <a:rect l="l" t="t" r="r" b="b"/>
                  <a:pathLst>
                    <a:path w="147204" h="147204">
                      <a:moveTo>
                        <a:pt x="149802" y="0"/>
                      </a:moveTo>
                      <a:lnTo>
                        <a:pt x="0" y="149802"/>
                      </a:lnTo>
                    </a:path>
                  </a:pathLst>
                </a:custGeom>
                <a:ln w="11509" cap="flat">
                  <a:solidFill>
                    <a:schemeClr val="accent4"/>
                  </a:solidFill>
                  <a:prstDash val="solid"/>
                  <a:miter/>
                </a:ln>
              </p:spPr>
              <p:txBody>
                <a:bodyPr rtlCol="0" anchor="ctr"/>
                <a:lstStyle/>
                <a:p>
                  <a:endParaRPr lang="en-ZA" sz="1600" dirty="0">
                    <a:latin typeface="+mn-lt"/>
                  </a:endParaRPr>
                </a:p>
              </p:txBody>
            </p:sp>
          </p:grpSp>
        </p:grpSp>
        <p:cxnSp>
          <p:nvCxnSpPr>
            <p:cNvPr id="14" name="Straight Connector 13">
              <a:extLst>
                <a:ext uri="{FF2B5EF4-FFF2-40B4-BE49-F238E27FC236}">
                  <a16:creationId xmlns:a16="http://schemas.microsoft.com/office/drawing/2014/main" id="{2147E37C-3C13-423D-8E0E-E065C1527F36}"/>
                </a:ext>
              </a:extLst>
            </p:cNvPr>
            <p:cNvCxnSpPr>
              <a:cxnSpLocks/>
            </p:cNvCxnSpPr>
            <p:nvPr/>
          </p:nvCxnSpPr>
          <p:spPr>
            <a:xfrm>
              <a:off x="1943132" y="2232919"/>
              <a:ext cx="3521121" cy="0"/>
            </a:xfrm>
            <a:prstGeom prst="line">
              <a:avLst/>
            </a:prstGeom>
            <a:ln>
              <a:solidFill>
                <a:srgbClr val="3B473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3C9B02C-BDB0-45F4-8B4D-8B807EB51F96}"/>
                </a:ext>
              </a:extLst>
            </p:cNvPr>
            <p:cNvSpPr txBox="1"/>
            <p:nvPr/>
          </p:nvSpPr>
          <p:spPr>
            <a:xfrm>
              <a:off x="2291784" y="1701012"/>
              <a:ext cx="3123862" cy="492443"/>
            </a:xfrm>
            <a:prstGeom prst="rect">
              <a:avLst/>
            </a:prstGeom>
          </p:spPr>
          <p:txBody>
            <a:bodyPr vert="horz" wrap="square" lIns="0" tIns="0" rIns="0" bIns="0" rtlCol="0" anchor="b" anchorCtr="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3"/>
                  </a:solidFill>
                </a:rPr>
                <a:t>Accelerate African involvement in clinical development</a:t>
              </a:r>
              <a:endParaRPr lang="en-GB" b="1" dirty="0">
                <a:solidFill>
                  <a:schemeClr val="accent3"/>
                </a:solidFill>
              </a:endParaRPr>
            </a:p>
          </p:txBody>
        </p:sp>
      </p:grpSp>
      <p:sp>
        <p:nvSpPr>
          <p:cNvPr id="7" name="TrackerNum 7">
            <a:extLst>
              <a:ext uri="{FF2B5EF4-FFF2-40B4-BE49-F238E27FC236}">
                <a16:creationId xmlns:a16="http://schemas.microsoft.com/office/drawing/2014/main" id="{A2E415FB-7270-41D5-AE31-300D250A8BE0}"/>
              </a:ext>
            </a:extLst>
          </p:cNvPr>
          <p:cNvSpPr>
            <a:spLocks/>
          </p:cNvSpPr>
          <p:nvPr>
            <p:custDataLst>
              <p:tags r:id="rId4"/>
            </p:custDataLst>
          </p:nvPr>
        </p:nvSpPr>
        <p:spPr>
          <a:xfrm>
            <a:off x="4283655" y="1277163"/>
            <a:ext cx="270517" cy="271577"/>
          </a:xfrm>
          <a:prstGeom prst="ellipse">
            <a:avLst/>
          </a:prstGeom>
          <a:gradFill>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gra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1600" b="1" dirty="0">
                <a:solidFill>
                  <a:schemeClr val="bg1"/>
                </a:solidFill>
              </a:rPr>
              <a:t>2</a:t>
            </a:r>
          </a:p>
        </p:txBody>
      </p:sp>
      <p:grpSp>
        <p:nvGrpSpPr>
          <p:cNvPr id="21" name="Group 20">
            <a:extLst>
              <a:ext uri="{FF2B5EF4-FFF2-40B4-BE49-F238E27FC236}">
                <a16:creationId xmlns:a16="http://schemas.microsoft.com/office/drawing/2014/main" id="{B39DE147-46A0-4D14-A215-40CDC4ACD7E8}"/>
              </a:ext>
            </a:extLst>
          </p:cNvPr>
          <p:cNvGrpSpPr/>
          <p:nvPr/>
        </p:nvGrpSpPr>
        <p:grpSpPr>
          <a:xfrm>
            <a:off x="4283655" y="1975902"/>
            <a:ext cx="3424698" cy="984885"/>
            <a:chOff x="4908292" y="1847416"/>
            <a:chExt cx="3438112" cy="984885"/>
          </a:xfrm>
        </p:grpSpPr>
        <p:sp>
          <p:nvSpPr>
            <p:cNvPr id="3" name="TextBox 2">
              <a:extLst>
                <a:ext uri="{FF2B5EF4-FFF2-40B4-BE49-F238E27FC236}">
                  <a16:creationId xmlns:a16="http://schemas.microsoft.com/office/drawing/2014/main" id="{5EF23BE8-5776-4026-A2DD-682CBBB3B6B3}"/>
                </a:ext>
              </a:extLst>
            </p:cNvPr>
            <p:cNvSpPr txBox="1">
              <a:spLocks/>
            </p:cNvSpPr>
            <p:nvPr/>
          </p:nvSpPr>
          <p:spPr>
            <a:xfrm>
              <a:off x="5566853" y="1847416"/>
              <a:ext cx="2779551" cy="9848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ZA" b="1" dirty="0">
                  <a:solidFill>
                    <a:schemeClr val="accent3"/>
                  </a:solidFill>
                </a:rPr>
                <a:t>Access, financing and procurement</a:t>
              </a:r>
              <a:r>
                <a:rPr lang="en-ZA" dirty="0">
                  <a:solidFill>
                    <a:srgbClr val="000000"/>
                  </a:solidFill>
                </a:rPr>
                <a:t> – </a:t>
              </a:r>
              <a:r>
                <a:rPr lang="en-US" dirty="0">
                  <a:solidFill>
                    <a:srgbClr val="000000"/>
                  </a:solidFill>
                </a:rPr>
                <a:t>secure timely, sufficient and equitable doses for all Member States</a:t>
              </a:r>
              <a:endParaRPr lang="en-US" dirty="0"/>
            </a:p>
          </p:txBody>
        </p:sp>
        <p:grpSp>
          <p:nvGrpSpPr>
            <p:cNvPr id="49" name="CustomIcon">
              <a:extLst>
                <a:ext uri="{FF2B5EF4-FFF2-40B4-BE49-F238E27FC236}">
                  <a16:creationId xmlns:a16="http://schemas.microsoft.com/office/drawing/2014/main" id="{FAD97885-2538-4AEF-A6B5-A7C7AE93879A}"/>
                </a:ext>
              </a:extLst>
            </p:cNvPr>
            <p:cNvGrpSpPr/>
            <p:nvPr/>
          </p:nvGrpSpPr>
          <p:grpSpPr>
            <a:xfrm>
              <a:off x="4908292" y="1847416"/>
              <a:ext cx="554182" cy="554182"/>
              <a:chOff x="7295596" y="2942558"/>
              <a:chExt cx="554182" cy="554182"/>
            </a:xfrm>
          </p:grpSpPr>
          <p:sp>
            <p:nvSpPr>
              <p:cNvPr id="50" name="Freeform: Shape 49">
                <a:extLst>
                  <a:ext uri="{FF2B5EF4-FFF2-40B4-BE49-F238E27FC236}">
                    <a16:creationId xmlns:a16="http://schemas.microsoft.com/office/drawing/2014/main" id="{2DA37B1B-042D-4496-9CC7-4B08510EDAEE}"/>
                  </a:ext>
                </a:extLst>
              </p:cNvPr>
              <p:cNvSpPr/>
              <p:nvPr/>
            </p:nvSpPr>
            <p:spPr>
              <a:xfrm>
                <a:off x="7630703" y="3080238"/>
                <a:ext cx="8659" cy="398318"/>
              </a:xfrm>
              <a:custGeom>
                <a:avLst/>
                <a:gdLst>
                  <a:gd name="connsiteX0" fmla="*/ 0 w 0"/>
                  <a:gd name="connsiteY0" fmla="*/ 0 h 398318"/>
                  <a:gd name="connsiteX1" fmla="*/ 0 w 0"/>
                  <a:gd name="connsiteY1" fmla="*/ 406112 h 398318"/>
                </a:gdLst>
                <a:ahLst/>
                <a:cxnLst>
                  <a:cxn ang="0">
                    <a:pos x="connsiteX0" y="connsiteY0"/>
                  </a:cxn>
                  <a:cxn ang="0">
                    <a:pos x="connsiteX1" y="connsiteY1"/>
                  </a:cxn>
                </a:cxnLst>
                <a:rect l="l" t="t" r="r" b="b"/>
                <a:pathLst>
                  <a:path h="398318">
                    <a:moveTo>
                      <a:pt x="0" y="0"/>
                    </a:moveTo>
                    <a:lnTo>
                      <a:pt x="0" y="406112"/>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51" name="Freeform: Shape 50">
                <a:extLst>
                  <a:ext uri="{FF2B5EF4-FFF2-40B4-BE49-F238E27FC236}">
                    <a16:creationId xmlns:a16="http://schemas.microsoft.com/office/drawing/2014/main" id="{B87355B6-4144-46A9-AFE7-470F7A37E5B5}"/>
                  </a:ext>
                </a:extLst>
              </p:cNvPr>
              <p:cNvSpPr/>
              <p:nvPr/>
            </p:nvSpPr>
            <p:spPr>
              <a:xfrm>
                <a:off x="7531123" y="3282860"/>
                <a:ext cx="294409" cy="8659"/>
              </a:xfrm>
              <a:custGeom>
                <a:avLst/>
                <a:gdLst>
                  <a:gd name="connsiteX0" fmla="*/ 0 w 294409"/>
                  <a:gd name="connsiteY0" fmla="*/ 0 h 0"/>
                  <a:gd name="connsiteX1" fmla="*/ 302202 w 294409"/>
                  <a:gd name="connsiteY1" fmla="*/ 0 h 0"/>
                </a:gdLst>
                <a:ahLst/>
                <a:cxnLst>
                  <a:cxn ang="0">
                    <a:pos x="connsiteX0" y="connsiteY0"/>
                  </a:cxn>
                  <a:cxn ang="0">
                    <a:pos x="connsiteX1" y="connsiteY1"/>
                  </a:cxn>
                </a:cxnLst>
                <a:rect l="l" t="t" r="r" b="b"/>
                <a:pathLst>
                  <a:path w="294409">
                    <a:moveTo>
                      <a:pt x="0" y="0"/>
                    </a:moveTo>
                    <a:lnTo>
                      <a:pt x="302202"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52" name="Freeform: Shape 51">
                <a:extLst>
                  <a:ext uri="{FF2B5EF4-FFF2-40B4-BE49-F238E27FC236}">
                    <a16:creationId xmlns:a16="http://schemas.microsoft.com/office/drawing/2014/main" id="{CA65EBF2-504A-4557-878B-31CAB099370F}"/>
                  </a:ext>
                </a:extLst>
              </p:cNvPr>
              <p:cNvSpPr/>
              <p:nvPr/>
            </p:nvSpPr>
            <p:spPr>
              <a:xfrm>
                <a:off x="7630703" y="3080238"/>
                <a:ext cx="112568" cy="398318"/>
              </a:xfrm>
              <a:custGeom>
                <a:avLst/>
                <a:gdLst>
                  <a:gd name="connsiteX0" fmla="*/ 0 w 112568"/>
                  <a:gd name="connsiteY0" fmla="*/ 0 h 398318"/>
                  <a:gd name="connsiteX1" fmla="*/ 114300 w 112568"/>
                  <a:gd name="connsiteY1" fmla="*/ 201757 h 398318"/>
                  <a:gd name="connsiteX2" fmla="*/ 0 w 112568"/>
                  <a:gd name="connsiteY2" fmla="*/ 406112 h 398318"/>
                </a:gdLst>
                <a:ahLst/>
                <a:cxnLst>
                  <a:cxn ang="0">
                    <a:pos x="connsiteX0" y="connsiteY0"/>
                  </a:cxn>
                  <a:cxn ang="0">
                    <a:pos x="connsiteX1" y="connsiteY1"/>
                  </a:cxn>
                  <a:cxn ang="0">
                    <a:pos x="connsiteX2" y="connsiteY2"/>
                  </a:cxn>
                </a:cxnLst>
                <a:rect l="l" t="t" r="r" b="b"/>
                <a:pathLst>
                  <a:path w="112568" h="398318">
                    <a:moveTo>
                      <a:pt x="0" y="0"/>
                    </a:moveTo>
                    <a:cubicBezTo>
                      <a:pt x="61480" y="0"/>
                      <a:pt x="114300" y="89189"/>
                      <a:pt x="114300" y="201757"/>
                    </a:cubicBezTo>
                    <a:cubicBezTo>
                      <a:pt x="114300" y="314325"/>
                      <a:pt x="62345" y="406112"/>
                      <a:pt x="0" y="406112"/>
                    </a:cubicBez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53" name="Freeform: Shape 52">
                <a:extLst>
                  <a:ext uri="{FF2B5EF4-FFF2-40B4-BE49-F238E27FC236}">
                    <a16:creationId xmlns:a16="http://schemas.microsoft.com/office/drawing/2014/main" id="{D098E21E-0645-486E-A831-2CE7CDE1D68F}"/>
                  </a:ext>
                </a:extLst>
              </p:cNvPr>
              <p:cNvSpPr/>
              <p:nvPr/>
            </p:nvSpPr>
            <p:spPr>
              <a:xfrm>
                <a:off x="7630703" y="3139985"/>
                <a:ext cx="138546" cy="34636"/>
              </a:xfrm>
              <a:custGeom>
                <a:avLst/>
                <a:gdLst>
                  <a:gd name="connsiteX0" fmla="*/ 144607 w 138545"/>
                  <a:gd name="connsiteY0" fmla="*/ 0 h 34636"/>
                  <a:gd name="connsiteX1" fmla="*/ 0 w 138545"/>
                  <a:gd name="connsiteY1" fmla="*/ 41564 h 34636"/>
                </a:gdLst>
                <a:ahLst/>
                <a:cxnLst>
                  <a:cxn ang="0">
                    <a:pos x="connsiteX0" y="connsiteY0"/>
                  </a:cxn>
                  <a:cxn ang="0">
                    <a:pos x="connsiteX1" y="connsiteY1"/>
                  </a:cxn>
                </a:cxnLst>
                <a:rect l="l" t="t" r="r" b="b"/>
                <a:pathLst>
                  <a:path w="138545" h="34636">
                    <a:moveTo>
                      <a:pt x="144607" y="0"/>
                    </a:moveTo>
                    <a:cubicBezTo>
                      <a:pt x="128155" y="23380"/>
                      <a:pt x="69273" y="41564"/>
                      <a:pt x="0" y="41564"/>
                    </a:cubicBez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54" name="Freeform: Shape 53">
                <a:extLst>
                  <a:ext uri="{FF2B5EF4-FFF2-40B4-BE49-F238E27FC236}">
                    <a16:creationId xmlns:a16="http://schemas.microsoft.com/office/drawing/2014/main" id="{9AC78353-15FE-435B-AAFB-CBC22D1FBEAB}"/>
                  </a:ext>
                </a:extLst>
              </p:cNvPr>
              <p:cNvSpPr/>
              <p:nvPr/>
            </p:nvSpPr>
            <p:spPr>
              <a:xfrm>
                <a:off x="7357941" y="2950351"/>
                <a:ext cx="95250" cy="95250"/>
              </a:xfrm>
              <a:custGeom>
                <a:avLst/>
                <a:gdLst>
                  <a:gd name="connsiteX0" fmla="*/ 102177 w 95250"/>
                  <a:gd name="connsiteY0" fmla="*/ 51089 h 95250"/>
                  <a:gd name="connsiteX1" fmla="*/ 51089 w 95250"/>
                  <a:gd name="connsiteY1" fmla="*/ 102177 h 95250"/>
                  <a:gd name="connsiteX2" fmla="*/ 0 w 95250"/>
                  <a:gd name="connsiteY2" fmla="*/ 51089 h 95250"/>
                  <a:gd name="connsiteX3" fmla="*/ 51089 w 95250"/>
                  <a:gd name="connsiteY3" fmla="*/ 0 h 95250"/>
                  <a:gd name="connsiteX4" fmla="*/ 102177 w 95250"/>
                  <a:gd name="connsiteY4" fmla="*/ 51089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102177" y="51089"/>
                    </a:moveTo>
                    <a:cubicBezTo>
                      <a:pt x="102177" y="79304"/>
                      <a:pt x="79304" y="102177"/>
                      <a:pt x="51089" y="102177"/>
                    </a:cubicBezTo>
                    <a:cubicBezTo>
                      <a:pt x="22873" y="102177"/>
                      <a:pt x="0" y="79304"/>
                      <a:pt x="0" y="51089"/>
                    </a:cubicBezTo>
                    <a:cubicBezTo>
                      <a:pt x="0" y="22873"/>
                      <a:pt x="22873" y="0"/>
                      <a:pt x="51089" y="0"/>
                    </a:cubicBezTo>
                    <a:cubicBezTo>
                      <a:pt x="79304" y="0"/>
                      <a:pt x="102177" y="22873"/>
                      <a:pt x="102177" y="51089"/>
                    </a:cubicBezTo>
                    <a:close/>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55" name="Freeform: Shape 54">
                <a:extLst>
                  <a:ext uri="{FF2B5EF4-FFF2-40B4-BE49-F238E27FC236}">
                    <a16:creationId xmlns:a16="http://schemas.microsoft.com/office/drawing/2014/main" id="{B0949EED-555A-4FD7-AD26-2DC65AB5B863}"/>
                  </a:ext>
                </a:extLst>
              </p:cNvPr>
              <p:cNvSpPr/>
              <p:nvPr/>
            </p:nvSpPr>
            <p:spPr>
              <a:xfrm>
                <a:off x="7311182" y="3078506"/>
                <a:ext cx="277091" cy="277091"/>
              </a:xfrm>
              <a:custGeom>
                <a:avLst/>
                <a:gdLst>
                  <a:gd name="connsiteX0" fmla="*/ 43295 w 277091"/>
                  <a:gd name="connsiteY0" fmla="*/ 64077 h 277091"/>
                  <a:gd name="connsiteX1" fmla="*/ 4330 w 277091"/>
                  <a:gd name="connsiteY1" fmla="*/ 277957 h 277091"/>
                  <a:gd name="connsiteX2" fmla="*/ 193098 w 277091"/>
                  <a:gd name="connsiteY2" fmla="*/ 277957 h 277091"/>
                  <a:gd name="connsiteX3" fmla="*/ 149802 w 277091"/>
                  <a:gd name="connsiteY3" fmla="*/ 66675 h 277091"/>
                  <a:gd name="connsiteX4" fmla="*/ 257175 w 277091"/>
                  <a:gd name="connsiteY4" fmla="*/ 122959 h 277091"/>
                  <a:gd name="connsiteX5" fmla="*/ 281421 w 277091"/>
                  <a:gd name="connsiteY5" fmla="*/ 77932 h 277091"/>
                  <a:gd name="connsiteX6" fmla="*/ 154998 w 277091"/>
                  <a:gd name="connsiteY6" fmla="*/ 6061 h 277091"/>
                  <a:gd name="connsiteX7" fmla="*/ 133350 w 277091"/>
                  <a:gd name="connsiteY7" fmla="*/ 0 h 277091"/>
                  <a:gd name="connsiteX8" fmla="*/ 47625 w 277091"/>
                  <a:gd name="connsiteY8" fmla="*/ 0 h 277091"/>
                  <a:gd name="connsiteX9" fmla="*/ 0 w 277091"/>
                  <a:gd name="connsiteY9" fmla="*/ 47625 h 277091"/>
                  <a:gd name="connsiteX10" fmla="*/ 0 w 277091"/>
                  <a:gd name="connsiteY10" fmla="*/ 165389 h 277091"/>
                  <a:gd name="connsiteX11" fmla="*/ 25111 w 277091"/>
                  <a:gd name="connsiteY11" fmla="*/ 165389 h 277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091" h="277091">
                    <a:moveTo>
                      <a:pt x="43295" y="64077"/>
                    </a:moveTo>
                    <a:lnTo>
                      <a:pt x="4330" y="277957"/>
                    </a:lnTo>
                    <a:lnTo>
                      <a:pt x="193098" y="277957"/>
                    </a:lnTo>
                    <a:lnTo>
                      <a:pt x="149802" y="66675"/>
                    </a:lnTo>
                    <a:lnTo>
                      <a:pt x="257175" y="122959"/>
                    </a:lnTo>
                    <a:lnTo>
                      <a:pt x="281421" y="77932"/>
                    </a:lnTo>
                    <a:lnTo>
                      <a:pt x="154998" y="6061"/>
                    </a:lnTo>
                    <a:cubicBezTo>
                      <a:pt x="148071" y="1732"/>
                      <a:pt x="141143" y="0"/>
                      <a:pt x="133350" y="0"/>
                    </a:cubicBezTo>
                    <a:lnTo>
                      <a:pt x="47625" y="0"/>
                    </a:lnTo>
                    <a:cubicBezTo>
                      <a:pt x="20782" y="0"/>
                      <a:pt x="0" y="21648"/>
                      <a:pt x="0" y="47625"/>
                    </a:cubicBezTo>
                    <a:lnTo>
                      <a:pt x="0" y="165389"/>
                    </a:lnTo>
                    <a:lnTo>
                      <a:pt x="25111" y="165389"/>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56" name="Freeform: Shape 55">
                <a:extLst>
                  <a:ext uri="{FF2B5EF4-FFF2-40B4-BE49-F238E27FC236}">
                    <a16:creationId xmlns:a16="http://schemas.microsoft.com/office/drawing/2014/main" id="{C4012FAD-6671-4355-B0BC-8D16AA27DDDC}"/>
                  </a:ext>
                </a:extLst>
              </p:cNvPr>
              <p:cNvSpPr/>
              <p:nvPr/>
            </p:nvSpPr>
            <p:spPr>
              <a:xfrm>
                <a:off x="7354478" y="3356463"/>
                <a:ext cx="103909" cy="129886"/>
              </a:xfrm>
              <a:custGeom>
                <a:avLst/>
                <a:gdLst>
                  <a:gd name="connsiteX0" fmla="*/ 0 w 103909"/>
                  <a:gd name="connsiteY0" fmla="*/ 0 h 129886"/>
                  <a:gd name="connsiteX1" fmla="*/ 0 w 103909"/>
                  <a:gd name="connsiteY1" fmla="*/ 131618 h 129886"/>
                  <a:gd name="connsiteX2" fmla="*/ 109970 w 103909"/>
                  <a:gd name="connsiteY2" fmla="*/ 131618 h 129886"/>
                  <a:gd name="connsiteX3" fmla="*/ 109970 w 103909"/>
                  <a:gd name="connsiteY3" fmla="*/ 0 h 129886"/>
                </a:gdLst>
                <a:ahLst/>
                <a:cxnLst>
                  <a:cxn ang="0">
                    <a:pos x="connsiteX0" y="connsiteY0"/>
                  </a:cxn>
                  <a:cxn ang="0">
                    <a:pos x="connsiteX1" y="connsiteY1"/>
                  </a:cxn>
                  <a:cxn ang="0">
                    <a:pos x="connsiteX2" y="connsiteY2"/>
                  </a:cxn>
                  <a:cxn ang="0">
                    <a:pos x="connsiteX3" y="connsiteY3"/>
                  </a:cxn>
                </a:cxnLst>
                <a:rect l="l" t="t" r="r" b="b"/>
                <a:pathLst>
                  <a:path w="103909" h="129886">
                    <a:moveTo>
                      <a:pt x="0" y="0"/>
                    </a:moveTo>
                    <a:lnTo>
                      <a:pt x="0" y="131618"/>
                    </a:lnTo>
                    <a:lnTo>
                      <a:pt x="109970" y="131618"/>
                    </a:lnTo>
                    <a:lnTo>
                      <a:pt x="109970" y="0"/>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57" name="Freeform: Shape 56">
                <a:extLst>
                  <a:ext uri="{FF2B5EF4-FFF2-40B4-BE49-F238E27FC236}">
                    <a16:creationId xmlns:a16="http://schemas.microsoft.com/office/drawing/2014/main" id="{2CB341DF-CDF9-4203-8858-121A43F7AA27}"/>
                  </a:ext>
                </a:extLst>
              </p:cNvPr>
              <p:cNvSpPr/>
              <p:nvPr/>
            </p:nvSpPr>
            <p:spPr>
              <a:xfrm>
                <a:off x="7409896" y="3356463"/>
                <a:ext cx="8659" cy="129886"/>
              </a:xfrm>
              <a:custGeom>
                <a:avLst/>
                <a:gdLst>
                  <a:gd name="connsiteX0" fmla="*/ 0 w 0"/>
                  <a:gd name="connsiteY0" fmla="*/ 131618 h 129886"/>
                  <a:gd name="connsiteX1" fmla="*/ 0 w 0"/>
                  <a:gd name="connsiteY1" fmla="*/ 0 h 129886"/>
                </a:gdLst>
                <a:ahLst/>
                <a:cxnLst>
                  <a:cxn ang="0">
                    <a:pos x="connsiteX0" y="connsiteY0"/>
                  </a:cxn>
                  <a:cxn ang="0">
                    <a:pos x="connsiteX1" y="connsiteY1"/>
                  </a:cxn>
                </a:cxnLst>
                <a:rect l="l" t="t" r="r" b="b"/>
                <a:pathLst>
                  <a:path h="129886">
                    <a:moveTo>
                      <a:pt x="0" y="131618"/>
                    </a:moveTo>
                    <a:lnTo>
                      <a:pt x="0"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58" name="Freeform: Shape 57">
                <a:extLst>
                  <a:ext uri="{FF2B5EF4-FFF2-40B4-BE49-F238E27FC236}">
                    <a16:creationId xmlns:a16="http://schemas.microsoft.com/office/drawing/2014/main" id="{9FAAD106-9A5D-48DD-93CC-A851EC671090}"/>
                  </a:ext>
                </a:extLst>
              </p:cNvPr>
              <p:cNvSpPr/>
              <p:nvPr/>
            </p:nvSpPr>
            <p:spPr>
              <a:xfrm>
                <a:off x="7535453" y="3386770"/>
                <a:ext cx="233796" cy="34636"/>
              </a:xfrm>
              <a:custGeom>
                <a:avLst/>
                <a:gdLst>
                  <a:gd name="connsiteX0" fmla="*/ 0 w 233795"/>
                  <a:gd name="connsiteY0" fmla="*/ 12989 h 34636"/>
                  <a:gd name="connsiteX1" fmla="*/ 33770 w 233795"/>
                  <a:gd name="connsiteY1" fmla="*/ 5195 h 34636"/>
                  <a:gd name="connsiteX2" fmla="*/ 33770 w 233795"/>
                  <a:gd name="connsiteY2" fmla="*/ 5195 h 34636"/>
                  <a:gd name="connsiteX3" fmla="*/ 96116 w 233795"/>
                  <a:gd name="connsiteY3" fmla="*/ 0 h 34636"/>
                  <a:gd name="connsiteX4" fmla="*/ 239857 w 233795"/>
                  <a:gd name="connsiteY4" fmla="*/ 38966 h 34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795" h="34636">
                    <a:moveTo>
                      <a:pt x="0" y="12989"/>
                    </a:moveTo>
                    <a:cubicBezTo>
                      <a:pt x="10391" y="9525"/>
                      <a:pt x="21648" y="6927"/>
                      <a:pt x="33770" y="5195"/>
                    </a:cubicBezTo>
                    <a:lnTo>
                      <a:pt x="33770" y="5195"/>
                    </a:lnTo>
                    <a:cubicBezTo>
                      <a:pt x="52820" y="1732"/>
                      <a:pt x="74468" y="0"/>
                      <a:pt x="96116" y="0"/>
                    </a:cubicBezTo>
                    <a:cubicBezTo>
                      <a:pt x="162791" y="0"/>
                      <a:pt x="221673" y="16452"/>
                      <a:pt x="239857" y="38966"/>
                    </a:cubicBez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59" name="Freeform: Shape 58">
                <a:extLst>
                  <a:ext uri="{FF2B5EF4-FFF2-40B4-BE49-F238E27FC236}">
                    <a16:creationId xmlns:a16="http://schemas.microsoft.com/office/drawing/2014/main" id="{11FDA665-7B93-4C17-9F53-B158725878CB}"/>
                  </a:ext>
                </a:extLst>
              </p:cNvPr>
              <p:cNvSpPr/>
              <p:nvPr/>
            </p:nvSpPr>
            <p:spPr>
              <a:xfrm>
                <a:off x="7513805" y="3079926"/>
                <a:ext cx="311727" cy="398318"/>
              </a:xfrm>
              <a:custGeom>
                <a:avLst/>
                <a:gdLst>
                  <a:gd name="connsiteX0" fmla="*/ 0 w 311727"/>
                  <a:gd name="connsiteY0" fmla="*/ 369189 h 398318"/>
                  <a:gd name="connsiteX1" fmla="*/ 6061 w 311727"/>
                  <a:gd name="connsiteY1" fmla="*/ 373519 h 398318"/>
                  <a:gd name="connsiteX2" fmla="*/ 41564 w 311727"/>
                  <a:gd name="connsiteY2" fmla="*/ 392569 h 398318"/>
                  <a:gd name="connsiteX3" fmla="*/ 41564 w 311727"/>
                  <a:gd name="connsiteY3" fmla="*/ 392569 h 398318"/>
                  <a:gd name="connsiteX4" fmla="*/ 226868 w 311727"/>
                  <a:gd name="connsiteY4" fmla="*/ 373519 h 398318"/>
                  <a:gd name="connsiteX5" fmla="*/ 287482 w 311727"/>
                  <a:gd name="connsiteY5" fmla="*/ 92964 h 398318"/>
                  <a:gd name="connsiteX6" fmla="*/ 55418 w 311727"/>
                  <a:gd name="connsiteY6" fmla="*/ 8971 h 3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727" h="398318">
                    <a:moveTo>
                      <a:pt x="0" y="369189"/>
                    </a:moveTo>
                    <a:cubicBezTo>
                      <a:pt x="1732" y="370921"/>
                      <a:pt x="4330" y="371787"/>
                      <a:pt x="6061" y="373519"/>
                    </a:cubicBezTo>
                    <a:cubicBezTo>
                      <a:pt x="17318" y="381312"/>
                      <a:pt x="29441" y="387373"/>
                      <a:pt x="41564" y="392569"/>
                    </a:cubicBezTo>
                    <a:lnTo>
                      <a:pt x="41564" y="392569"/>
                    </a:lnTo>
                    <a:cubicBezTo>
                      <a:pt x="102177" y="415948"/>
                      <a:pt x="170584" y="410753"/>
                      <a:pt x="226868" y="373519"/>
                    </a:cubicBezTo>
                    <a:cubicBezTo>
                      <a:pt x="321252" y="312905"/>
                      <a:pt x="348096" y="186482"/>
                      <a:pt x="287482" y="92964"/>
                    </a:cubicBezTo>
                    <a:cubicBezTo>
                      <a:pt x="237259" y="14166"/>
                      <a:pt x="141143" y="-17006"/>
                      <a:pt x="55418" y="8971"/>
                    </a:cubicBezTo>
                  </a:path>
                </a:pathLst>
              </a:custGeom>
              <a:noFill/>
              <a:ln w="11509" cap="flat">
                <a:solidFill>
                  <a:schemeClr val="accent4"/>
                </a:solidFill>
                <a:prstDash val="solid"/>
                <a:miter/>
              </a:ln>
            </p:spPr>
            <p:txBody>
              <a:bodyPr rtlCol="0" anchor="ctr"/>
              <a:lstStyle/>
              <a:p>
                <a:endParaRPr lang="en-ZA" sz="1600" dirty="0">
                  <a:latin typeface="+mn-lt"/>
                </a:endParaRPr>
              </a:p>
            </p:txBody>
          </p:sp>
        </p:grpSp>
      </p:grpSp>
      <p:grpSp>
        <p:nvGrpSpPr>
          <p:cNvPr id="28" name="Group 27">
            <a:extLst>
              <a:ext uri="{FF2B5EF4-FFF2-40B4-BE49-F238E27FC236}">
                <a16:creationId xmlns:a16="http://schemas.microsoft.com/office/drawing/2014/main" id="{0B34F99C-B6AC-42C4-86AA-CD7B4AB1E611}"/>
              </a:ext>
            </a:extLst>
          </p:cNvPr>
          <p:cNvGrpSpPr/>
          <p:nvPr/>
        </p:nvGrpSpPr>
        <p:grpSpPr>
          <a:xfrm>
            <a:off x="4292280" y="3301507"/>
            <a:ext cx="3416073" cy="738664"/>
            <a:chOff x="4279124" y="3834356"/>
            <a:chExt cx="3416073" cy="738664"/>
          </a:xfrm>
        </p:grpSpPr>
        <p:sp>
          <p:nvSpPr>
            <p:cNvPr id="5" name="TextBox 4">
              <a:extLst>
                <a:ext uri="{FF2B5EF4-FFF2-40B4-BE49-F238E27FC236}">
                  <a16:creationId xmlns:a16="http://schemas.microsoft.com/office/drawing/2014/main" id="{8D9F5A18-1B52-4509-B3A0-A1442206596C}"/>
                </a:ext>
              </a:extLst>
            </p:cNvPr>
            <p:cNvSpPr txBox="1">
              <a:spLocks/>
            </p:cNvSpPr>
            <p:nvPr/>
          </p:nvSpPr>
          <p:spPr>
            <a:xfrm>
              <a:off x="4926491" y="3834356"/>
              <a:ext cx="2768706" cy="73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ZA" b="1" dirty="0">
                  <a:solidFill>
                    <a:schemeClr val="accent3"/>
                  </a:solidFill>
                </a:rPr>
                <a:t>Manufacturing</a:t>
              </a:r>
              <a:r>
                <a:rPr lang="en-ZA" dirty="0">
                  <a:solidFill>
                    <a:srgbClr val="000000"/>
                  </a:solidFill>
                </a:rPr>
                <a:t> – </a:t>
              </a:r>
              <a:r>
                <a:rPr lang="en-US" dirty="0">
                  <a:solidFill>
                    <a:srgbClr val="000000"/>
                  </a:solidFill>
                </a:rPr>
                <a:t>scale-up African vaccine manufacturing capacity to produce of COVID-19 vaccines in the longer-term</a:t>
              </a:r>
              <a:endParaRPr lang="en-US" dirty="0"/>
            </a:p>
          </p:txBody>
        </p:sp>
        <p:grpSp>
          <p:nvGrpSpPr>
            <p:cNvPr id="60" name="CustomIcon">
              <a:extLst>
                <a:ext uri="{FF2B5EF4-FFF2-40B4-BE49-F238E27FC236}">
                  <a16:creationId xmlns:a16="http://schemas.microsoft.com/office/drawing/2014/main" id="{67B8BBCC-875F-4EAE-925B-234041C8DC2E}"/>
                </a:ext>
              </a:extLst>
            </p:cNvPr>
            <p:cNvGrpSpPr/>
            <p:nvPr/>
          </p:nvGrpSpPr>
          <p:grpSpPr>
            <a:xfrm>
              <a:off x="4279124" y="3854272"/>
              <a:ext cx="534769" cy="523009"/>
              <a:chOff x="7304255" y="4106820"/>
              <a:chExt cx="536864" cy="523009"/>
            </a:xfrm>
          </p:grpSpPr>
          <p:sp>
            <p:nvSpPr>
              <p:cNvPr id="61" name="Freeform: Shape 60">
                <a:extLst>
                  <a:ext uri="{FF2B5EF4-FFF2-40B4-BE49-F238E27FC236}">
                    <a16:creationId xmlns:a16="http://schemas.microsoft.com/office/drawing/2014/main" id="{76664162-23EC-41C3-BCB6-25D7A65D89B4}"/>
                  </a:ext>
                </a:extLst>
              </p:cNvPr>
              <p:cNvSpPr/>
              <p:nvPr/>
            </p:nvSpPr>
            <p:spPr>
              <a:xfrm>
                <a:off x="7693048" y="4213327"/>
                <a:ext cx="86591" cy="8659"/>
              </a:xfrm>
              <a:custGeom>
                <a:avLst/>
                <a:gdLst>
                  <a:gd name="connsiteX0" fmla="*/ 0 w 86590"/>
                  <a:gd name="connsiteY0" fmla="*/ 0 h 0"/>
                  <a:gd name="connsiteX1" fmla="*/ 86591 w 86590"/>
                  <a:gd name="connsiteY1" fmla="*/ 0 h 0"/>
                </a:gdLst>
                <a:ahLst/>
                <a:cxnLst>
                  <a:cxn ang="0">
                    <a:pos x="connsiteX0" y="connsiteY0"/>
                  </a:cxn>
                  <a:cxn ang="0">
                    <a:pos x="connsiteX1" y="connsiteY1"/>
                  </a:cxn>
                </a:cxnLst>
                <a:rect l="l" t="t" r="r" b="b"/>
                <a:pathLst>
                  <a:path w="86590">
                    <a:moveTo>
                      <a:pt x="0" y="0"/>
                    </a:moveTo>
                    <a:lnTo>
                      <a:pt x="86591"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62" name="Freeform: Shape 61">
                <a:extLst>
                  <a:ext uri="{FF2B5EF4-FFF2-40B4-BE49-F238E27FC236}">
                    <a16:creationId xmlns:a16="http://schemas.microsoft.com/office/drawing/2014/main" id="{EDDF1E40-9D82-4E96-905D-15DB03CDE4CF}"/>
                  </a:ext>
                </a:extLst>
              </p:cNvPr>
              <p:cNvSpPr/>
              <p:nvPr/>
            </p:nvSpPr>
            <p:spPr>
              <a:xfrm>
                <a:off x="7693048" y="4106820"/>
                <a:ext cx="86591" cy="337705"/>
              </a:xfrm>
              <a:custGeom>
                <a:avLst/>
                <a:gdLst>
                  <a:gd name="connsiteX0" fmla="*/ 0 w 86590"/>
                  <a:gd name="connsiteY0" fmla="*/ 344632 h 337704"/>
                  <a:gd name="connsiteX1" fmla="*/ 0 w 86590"/>
                  <a:gd name="connsiteY1" fmla="*/ 0 h 337704"/>
                  <a:gd name="connsiteX2" fmla="*/ 86591 w 86590"/>
                  <a:gd name="connsiteY2" fmla="*/ 0 h 337704"/>
                  <a:gd name="connsiteX3" fmla="*/ 86591 w 86590"/>
                  <a:gd name="connsiteY3" fmla="*/ 344632 h 337704"/>
                </a:gdLst>
                <a:ahLst/>
                <a:cxnLst>
                  <a:cxn ang="0">
                    <a:pos x="connsiteX0" y="connsiteY0"/>
                  </a:cxn>
                  <a:cxn ang="0">
                    <a:pos x="connsiteX1" y="connsiteY1"/>
                  </a:cxn>
                  <a:cxn ang="0">
                    <a:pos x="connsiteX2" y="connsiteY2"/>
                  </a:cxn>
                  <a:cxn ang="0">
                    <a:pos x="connsiteX3" y="connsiteY3"/>
                  </a:cxn>
                </a:cxnLst>
                <a:rect l="l" t="t" r="r" b="b"/>
                <a:pathLst>
                  <a:path w="86590" h="337704">
                    <a:moveTo>
                      <a:pt x="0" y="344632"/>
                    </a:moveTo>
                    <a:lnTo>
                      <a:pt x="0" y="0"/>
                    </a:lnTo>
                    <a:lnTo>
                      <a:pt x="86591" y="0"/>
                    </a:lnTo>
                    <a:lnTo>
                      <a:pt x="86591" y="344632"/>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63" name="Freeform: Shape 62">
                <a:extLst>
                  <a:ext uri="{FF2B5EF4-FFF2-40B4-BE49-F238E27FC236}">
                    <a16:creationId xmlns:a16="http://schemas.microsoft.com/office/drawing/2014/main" id="{C19941FB-5668-42ED-AFA3-3DA01298AC86}"/>
                  </a:ext>
                </a:extLst>
              </p:cNvPr>
              <p:cNvSpPr/>
              <p:nvPr/>
            </p:nvSpPr>
            <p:spPr>
              <a:xfrm>
                <a:off x="7435874" y="4241902"/>
                <a:ext cx="207818" cy="207818"/>
              </a:xfrm>
              <a:custGeom>
                <a:avLst/>
                <a:gdLst>
                  <a:gd name="connsiteX0" fmla="*/ 209550 w 207818"/>
                  <a:gd name="connsiteY0" fmla="*/ 104775 h 207818"/>
                  <a:gd name="connsiteX1" fmla="*/ 104775 w 207818"/>
                  <a:gd name="connsiteY1" fmla="*/ 209550 h 207818"/>
                  <a:gd name="connsiteX2" fmla="*/ 0 w 207818"/>
                  <a:gd name="connsiteY2" fmla="*/ 104775 h 207818"/>
                  <a:gd name="connsiteX3" fmla="*/ 104775 w 207818"/>
                  <a:gd name="connsiteY3" fmla="*/ 0 h 207818"/>
                  <a:gd name="connsiteX4" fmla="*/ 209550 w 207818"/>
                  <a:gd name="connsiteY4" fmla="*/ 104775 h 207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818" h="207818">
                    <a:moveTo>
                      <a:pt x="209550" y="104775"/>
                    </a:moveTo>
                    <a:cubicBezTo>
                      <a:pt x="209550" y="162641"/>
                      <a:pt x="162641" y="209550"/>
                      <a:pt x="104775" y="209550"/>
                    </a:cubicBezTo>
                    <a:cubicBezTo>
                      <a:pt x="46909" y="209550"/>
                      <a:pt x="0" y="162641"/>
                      <a:pt x="0" y="104775"/>
                    </a:cubicBezTo>
                    <a:cubicBezTo>
                      <a:pt x="0" y="46909"/>
                      <a:pt x="46909" y="0"/>
                      <a:pt x="104775" y="0"/>
                    </a:cubicBezTo>
                    <a:cubicBezTo>
                      <a:pt x="162641" y="0"/>
                      <a:pt x="209550" y="46909"/>
                      <a:pt x="209550" y="104775"/>
                    </a:cubicBezTo>
                    <a:close/>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64" name="Freeform: Shape 63">
                <a:extLst>
                  <a:ext uri="{FF2B5EF4-FFF2-40B4-BE49-F238E27FC236}">
                    <a16:creationId xmlns:a16="http://schemas.microsoft.com/office/drawing/2014/main" id="{7A02FBEC-998B-4023-8B30-0DBFA28FA301}"/>
                  </a:ext>
                </a:extLst>
              </p:cNvPr>
              <p:cNvSpPr/>
              <p:nvPr/>
            </p:nvSpPr>
            <p:spPr>
              <a:xfrm>
                <a:off x="7437605" y="4346677"/>
                <a:ext cx="199159" cy="8659"/>
              </a:xfrm>
              <a:custGeom>
                <a:avLst/>
                <a:gdLst>
                  <a:gd name="connsiteX0" fmla="*/ 0 w 199159"/>
                  <a:gd name="connsiteY0" fmla="*/ 0 h 0"/>
                  <a:gd name="connsiteX1" fmla="*/ 205221 w 199159"/>
                  <a:gd name="connsiteY1" fmla="*/ 0 h 0"/>
                </a:gdLst>
                <a:ahLst/>
                <a:cxnLst>
                  <a:cxn ang="0">
                    <a:pos x="connsiteX0" y="connsiteY0"/>
                  </a:cxn>
                  <a:cxn ang="0">
                    <a:pos x="connsiteX1" y="connsiteY1"/>
                  </a:cxn>
                </a:cxnLst>
                <a:rect l="l" t="t" r="r" b="b"/>
                <a:pathLst>
                  <a:path w="199159">
                    <a:moveTo>
                      <a:pt x="0" y="0"/>
                    </a:moveTo>
                    <a:lnTo>
                      <a:pt x="205221"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65" name="Freeform: Shape 64">
                <a:extLst>
                  <a:ext uri="{FF2B5EF4-FFF2-40B4-BE49-F238E27FC236}">
                    <a16:creationId xmlns:a16="http://schemas.microsoft.com/office/drawing/2014/main" id="{D422AB1B-B176-4ED7-AC8F-879398634955}"/>
                  </a:ext>
                </a:extLst>
              </p:cNvPr>
              <p:cNvSpPr/>
              <p:nvPr/>
            </p:nvSpPr>
            <p:spPr>
              <a:xfrm>
                <a:off x="7365735" y="4170031"/>
                <a:ext cx="147205" cy="277091"/>
              </a:xfrm>
              <a:custGeom>
                <a:avLst/>
                <a:gdLst>
                  <a:gd name="connsiteX0" fmla="*/ 0 w 147204"/>
                  <a:gd name="connsiteY0" fmla="*/ 281421 h 277091"/>
                  <a:gd name="connsiteX1" fmla="*/ 0 w 147204"/>
                  <a:gd name="connsiteY1" fmla="*/ 0 h 277091"/>
                  <a:gd name="connsiteX2" fmla="*/ 150668 w 147204"/>
                  <a:gd name="connsiteY2" fmla="*/ 0 h 277091"/>
                  <a:gd name="connsiteX3" fmla="*/ 150668 w 147204"/>
                  <a:gd name="connsiteY3" fmla="*/ 40698 h 277091"/>
                </a:gdLst>
                <a:ahLst/>
                <a:cxnLst>
                  <a:cxn ang="0">
                    <a:pos x="connsiteX0" y="connsiteY0"/>
                  </a:cxn>
                  <a:cxn ang="0">
                    <a:pos x="connsiteX1" y="connsiteY1"/>
                  </a:cxn>
                  <a:cxn ang="0">
                    <a:pos x="connsiteX2" y="connsiteY2"/>
                  </a:cxn>
                  <a:cxn ang="0">
                    <a:pos x="connsiteX3" y="connsiteY3"/>
                  </a:cxn>
                </a:cxnLst>
                <a:rect l="l" t="t" r="r" b="b"/>
                <a:pathLst>
                  <a:path w="147204" h="277091">
                    <a:moveTo>
                      <a:pt x="0" y="281421"/>
                    </a:moveTo>
                    <a:lnTo>
                      <a:pt x="0" y="0"/>
                    </a:lnTo>
                    <a:lnTo>
                      <a:pt x="150668" y="0"/>
                    </a:lnTo>
                    <a:lnTo>
                      <a:pt x="150668" y="40698"/>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66" name="Freeform: Shape 65">
                <a:extLst>
                  <a:ext uri="{FF2B5EF4-FFF2-40B4-BE49-F238E27FC236}">
                    <a16:creationId xmlns:a16="http://schemas.microsoft.com/office/drawing/2014/main" id="{F8CA95C4-3463-4725-B21C-5896B8E25F02}"/>
                  </a:ext>
                </a:extLst>
              </p:cNvPr>
              <p:cNvSpPr/>
              <p:nvPr/>
            </p:nvSpPr>
            <p:spPr>
              <a:xfrm>
                <a:off x="7338026" y="4451452"/>
                <a:ext cx="467591" cy="164523"/>
              </a:xfrm>
              <a:custGeom>
                <a:avLst/>
                <a:gdLst>
                  <a:gd name="connsiteX0" fmla="*/ 469323 w 467591"/>
                  <a:gd name="connsiteY0" fmla="*/ 169718 h 164522"/>
                  <a:gd name="connsiteX1" fmla="*/ 469323 w 467591"/>
                  <a:gd name="connsiteY1" fmla="*/ 0 h 164522"/>
                  <a:gd name="connsiteX2" fmla="*/ 0 w 467591"/>
                  <a:gd name="connsiteY2" fmla="*/ 0 h 164522"/>
                  <a:gd name="connsiteX3" fmla="*/ 0 w 467591"/>
                  <a:gd name="connsiteY3" fmla="*/ 169718 h 164522"/>
                </a:gdLst>
                <a:ahLst/>
                <a:cxnLst>
                  <a:cxn ang="0">
                    <a:pos x="connsiteX0" y="connsiteY0"/>
                  </a:cxn>
                  <a:cxn ang="0">
                    <a:pos x="connsiteX1" y="connsiteY1"/>
                  </a:cxn>
                  <a:cxn ang="0">
                    <a:pos x="connsiteX2" y="connsiteY2"/>
                  </a:cxn>
                  <a:cxn ang="0">
                    <a:pos x="connsiteX3" y="connsiteY3"/>
                  </a:cxn>
                </a:cxnLst>
                <a:rect l="l" t="t" r="r" b="b"/>
                <a:pathLst>
                  <a:path w="467591" h="164522">
                    <a:moveTo>
                      <a:pt x="469323" y="169718"/>
                    </a:moveTo>
                    <a:lnTo>
                      <a:pt x="469323" y="0"/>
                    </a:lnTo>
                    <a:lnTo>
                      <a:pt x="0" y="0"/>
                    </a:lnTo>
                    <a:lnTo>
                      <a:pt x="0" y="169718"/>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67" name="Freeform: Shape 66">
                <a:extLst>
                  <a:ext uri="{FF2B5EF4-FFF2-40B4-BE49-F238E27FC236}">
                    <a16:creationId xmlns:a16="http://schemas.microsoft.com/office/drawing/2014/main" id="{CF198011-D991-4AC0-A7A9-775B8BF3A534}"/>
                  </a:ext>
                </a:extLst>
              </p:cNvPr>
              <p:cNvSpPr/>
              <p:nvPr/>
            </p:nvSpPr>
            <p:spPr>
              <a:xfrm>
                <a:off x="7492157" y="4553629"/>
                <a:ext cx="155864" cy="60614"/>
              </a:xfrm>
              <a:custGeom>
                <a:avLst/>
                <a:gdLst>
                  <a:gd name="connsiteX0" fmla="*/ 0 w 155863"/>
                  <a:gd name="connsiteY0" fmla="*/ 67541 h 60613"/>
                  <a:gd name="connsiteX1" fmla="*/ 0 w 155863"/>
                  <a:gd name="connsiteY1" fmla="*/ 0 h 60613"/>
                  <a:gd name="connsiteX2" fmla="*/ 161059 w 155863"/>
                  <a:gd name="connsiteY2" fmla="*/ 0 h 60613"/>
                  <a:gd name="connsiteX3" fmla="*/ 161059 w 155863"/>
                  <a:gd name="connsiteY3" fmla="*/ 67541 h 60613"/>
                </a:gdLst>
                <a:ahLst/>
                <a:cxnLst>
                  <a:cxn ang="0">
                    <a:pos x="connsiteX0" y="connsiteY0"/>
                  </a:cxn>
                  <a:cxn ang="0">
                    <a:pos x="connsiteX1" y="connsiteY1"/>
                  </a:cxn>
                  <a:cxn ang="0">
                    <a:pos x="connsiteX2" y="connsiteY2"/>
                  </a:cxn>
                  <a:cxn ang="0">
                    <a:pos x="connsiteX3" y="connsiteY3"/>
                  </a:cxn>
                </a:cxnLst>
                <a:rect l="l" t="t" r="r" b="b"/>
                <a:pathLst>
                  <a:path w="155863" h="60613">
                    <a:moveTo>
                      <a:pt x="0" y="67541"/>
                    </a:moveTo>
                    <a:lnTo>
                      <a:pt x="0" y="0"/>
                    </a:lnTo>
                    <a:lnTo>
                      <a:pt x="161059" y="0"/>
                    </a:lnTo>
                    <a:lnTo>
                      <a:pt x="161059" y="67541"/>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68" name="Freeform: Shape 67">
                <a:extLst>
                  <a:ext uri="{FF2B5EF4-FFF2-40B4-BE49-F238E27FC236}">
                    <a16:creationId xmlns:a16="http://schemas.microsoft.com/office/drawing/2014/main" id="{DB3F5930-695F-4454-A96B-8FBC51F1817A}"/>
                  </a:ext>
                </a:extLst>
              </p:cNvPr>
              <p:cNvSpPr/>
              <p:nvPr/>
            </p:nvSpPr>
            <p:spPr>
              <a:xfrm>
                <a:off x="7304255" y="4621170"/>
                <a:ext cx="536864" cy="8659"/>
              </a:xfrm>
              <a:custGeom>
                <a:avLst/>
                <a:gdLst>
                  <a:gd name="connsiteX0" fmla="*/ 0 w 536863"/>
                  <a:gd name="connsiteY0" fmla="*/ 0 h 0"/>
                  <a:gd name="connsiteX1" fmla="*/ 536864 w 536863"/>
                  <a:gd name="connsiteY1" fmla="*/ 0 h 0"/>
                </a:gdLst>
                <a:ahLst/>
                <a:cxnLst>
                  <a:cxn ang="0">
                    <a:pos x="connsiteX0" y="connsiteY0"/>
                  </a:cxn>
                  <a:cxn ang="0">
                    <a:pos x="connsiteX1" y="connsiteY1"/>
                  </a:cxn>
                </a:cxnLst>
                <a:rect l="l" t="t" r="r" b="b"/>
                <a:pathLst>
                  <a:path w="536863">
                    <a:moveTo>
                      <a:pt x="0" y="0"/>
                    </a:moveTo>
                    <a:lnTo>
                      <a:pt x="536864"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69" name="Freeform: Shape 68">
                <a:extLst>
                  <a:ext uri="{FF2B5EF4-FFF2-40B4-BE49-F238E27FC236}">
                    <a16:creationId xmlns:a16="http://schemas.microsoft.com/office/drawing/2014/main" id="{BE0084EE-926B-4C31-B247-EE2918490A39}"/>
                  </a:ext>
                </a:extLst>
              </p:cNvPr>
              <p:cNvSpPr/>
              <p:nvPr/>
            </p:nvSpPr>
            <p:spPr>
              <a:xfrm>
                <a:off x="7383053" y="4502541"/>
                <a:ext cx="51955" cy="8659"/>
              </a:xfrm>
              <a:custGeom>
                <a:avLst/>
                <a:gdLst>
                  <a:gd name="connsiteX0" fmla="*/ 0 w 51954"/>
                  <a:gd name="connsiteY0" fmla="*/ 0 h 0"/>
                  <a:gd name="connsiteX1" fmla="*/ 58882 w 51954"/>
                  <a:gd name="connsiteY1" fmla="*/ 0 h 0"/>
                </a:gdLst>
                <a:ahLst/>
                <a:cxnLst>
                  <a:cxn ang="0">
                    <a:pos x="connsiteX0" y="connsiteY0"/>
                  </a:cxn>
                  <a:cxn ang="0">
                    <a:pos x="connsiteX1" y="connsiteY1"/>
                  </a:cxn>
                </a:cxnLst>
                <a:rect l="l" t="t" r="r" b="b"/>
                <a:pathLst>
                  <a:path w="51954">
                    <a:moveTo>
                      <a:pt x="0" y="0"/>
                    </a:moveTo>
                    <a:lnTo>
                      <a:pt x="58882"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70" name="Freeform: Shape 69">
                <a:extLst>
                  <a:ext uri="{FF2B5EF4-FFF2-40B4-BE49-F238E27FC236}">
                    <a16:creationId xmlns:a16="http://schemas.microsoft.com/office/drawing/2014/main" id="{04BDE41C-8FC8-43D3-AD7C-C27A9B4879E9}"/>
                  </a:ext>
                </a:extLst>
              </p:cNvPr>
              <p:cNvSpPr/>
              <p:nvPr/>
            </p:nvSpPr>
            <p:spPr>
              <a:xfrm>
                <a:off x="7489560" y="4502541"/>
                <a:ext cx="51955" cy="8659"/>
              </a:xfrm>
              <a:custGeom>
                <a:avLst/>
                <a:gdLst>
                  <a:gd name="connsiteX0" fmla="*/ 0 w 51954"/>
                  <a:gd name="connsiteY0" fmla="*/ 0 h 0"/>
                  <a:gd name="connsiteX1" fmla="*/ 58882 w 51954"/>
                  <a:gd name="connsiteY1" fmla="*/ 0 h 0"/>
                </a:gdLst>
                <a:ahLst/>
                <a:cxnLst>
                  <a:cxn ang="0">
                    <a:pos x="connsiteX0" y="connsiteY0"/>
                  </a:cxn>
                  <a:cxn ang="0">
                    <a:pos x="connsiteX1" y="connsiteY1"/>
                  </a:cxn>
                </a:cxnLst>
                <a:rect l="l" t="t" r="r" b="b"/>
                <a:pathLst>
                  <a:path w="51954">
                    <a:moveTo>
                      <a:pt x="0" y="0"/>
                    </a:moveTo>
                    <a:lnTo>
                      <a:pt x="58882"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71" name="Freeform: Shape 70">
                <a:extLst>
                  <a:ext uri="{FF2B5EF4-FFF2-40B4-BE49-F238E27FC236}">
                    <a16:creationId xmlns:a16="http://schemas.microsoft.com/office/drawing/2014/main" id="{932844C2-DCE6-47CF-8E9E-A968120655E3}"/>
                  </a:ext>
                </a:extLst>
              </p:cNvPr>
              <p:cNvSpPr/>
              <p:nvPr/>
            </p:nvSpPr>
            <p:spPr>
              <a:xfrm>
                <a:off x="7596932" y="4502541"/>
                <a:ext cx="51955" cy="8659"/>
              </a:xfrm>
              <a:custGeom>
                <a:avLst/>
                <a:gdLst>
                  <a:gd name="connsiteX0" fmla="*/ 0 w 51954"/>
                  <a:gd name="connsiteY0" fmla="*/ 0 h 0"/>
                  <a:gd name="connsiteX1" fmla="*/ 58882 w 51954"/>
                  <a:gd name="connsiteY1" fmla="*/ 0 h 0"/>
                </a:gdLst>
                <a:ahLst/>
                <a:cxnLst>
                  <a:cxn ang="0">
                    <a:pos x="connsiteX0" y="connsiteY0"/>
                  </a:cxn>
                  <a:cxn ang="0">
                    <a:pos x="connsiteX1" y="connsiteY1"/>
                  </a:cxn>
                </a:cxnLst>
                <a:rect l="l" t="t" r="r" b="b"/>
                <a:pathLst>
                  <a:path w="51954">
                    <a:moveTo>
                      <a:pt x="0" y="0"/>
                    </a:moveTo>
                    <a:lnTo>
                      <a:pt x="58882"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72" name="Freeform: Shape 71">
                <a:extLst>
                  <a:ext uri="{FF2B5EF4-FFF2-40B4-BE49-F238E27FC236}">
                    <a16:creationId xmlns:a16="http://schemas.microsoft.com/office/drawing/2014/main" id="{16416E6F-0DF7-40CF-9B24-8C9D45FA049F}"/>
                  </a:ext>
                </a:extLst>
              </p:cNvPr>
              <p:cNvSpPr/>
              <p:nvPr/>
            </p:nvSpPr>
            <p:spPr>
              <a:xfrm>
                <a:off x="7703439" y="4502541"/>
                <a:ext cx="51955" cy="8659"/>
              </a:xfrm>
              <a:custGeom>
                <a:avLst/>
                <a:gdLst>
                  <a:gd name="connsiteX0" fmla="*/ 0 w 51954"/>
                  <a:gd name="connsiteY0" fmla="*/ 0 h 0"/>
                  <a:gd name="connsiteX1" fmla="*/ 58882 w 51954"/>
                  <a:gd name="connsiteY1" fmla="*/ 0 h 0"/>
                </a:gdLst>
                <a:ahLst/>
                <a:cxnLst>
                  <a:cxn ang="0">
                    <a:pos x="connsiteX0" y="connsiteY0"/>
                  </a:cxn>
                  <a:cxn ang="0">
                    <a:pos x="connsiteX1" y="connsiteY1"/>
                  </a:cxn>
                </a:cxnLst>
                <a:rect l="l" t="t" r="r" b="b"/>
                <a:pathLst>
                  <a:path w="51954">
                    <a:moveTo>
                      <a:pt x="0" y="0"/>
                    </a:moveTo>
                    <a:lnTo>
                      <a:pt x="58882" y="0"/>
                    </a:lnTo>
                  </a:path>
                </a:pathLst>
              </a:custGeom>
              <a:ln w="11509" cap="flat">
                <a:solidFill>
                  <a:schemeClr val="accent4"/>
                </a:solidFill>
                <a:prstDash val="solid"/>
                <a:miter/>
              </a:ln>
            </p:spPr>
            <p:txBody>
              <a:bodyPr rtlCol="0" anchor="ctr"/>
              <a:lstStyle/>
              <a:p>
                <a:endParaRPr lang="en-ZA" sz="1600" dirty="0">
                  <a:latin typeface="+mn-lt"/>
                </a:endParaRPr>
              </a:p>
            </p:txBody>
          </p:sp>
        </p:grpSp>
      </p:grpSp>
      <p:cxnSp>
        <p:nvCxnSpPr>
          <p:cNvPr id="108" name="Straight Connector 107">
            <a:extLst>
              <a:ext uri="{FF2B5EF4-FFF2-40B4-BE49-F238E27FC236}">
                <a16:creationId xmlns:a16="http://schemas.microsoft.com/office/drawing/2014/main" id="{860AF53A-FB9F-4B56-99BE-FEFBB87ECA6B}"/>
              </a:ext>
            </a:extLst>
          </p:cNvPr>
          <p:cNvCxnSpPr>
            <a:cxnSpLocks/>
          </p:cNvCxnSpPr>
          <p:nvPr/>
        </p:nvCxnSpPr>
        <p:spPr>
          <a:xfrm>
            <a:off x="4283655" y="1818479"/>
            <a:ext cx="3424698" cy="0"/>
          </a:xfrm>
          <a:prstGeom prst="line">
            <a:avLst/>
          </a:prstGeom>
          <a:ln>
            <a:solidFill>
              <a:srgbClr val="3B473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D38F065-BD17-495D-871D-CC1E51F85BB4}"/>
              </a:ext>
            </a:extLst>
          </p:cNvPr>
          <p:cNvSpPr txBox="1"/>
          <p:nvPr/>
        </p:nvSpPr>
        <p:spPr>
          <a:xfrm>
            <a:off x="4623877" y="1286571"/>
            <a:ext cx="3084476" cy="492443"/>
          </a:xfrm>
          <a:prstGeom prst="rect">
            <a:avLst/>
          </a:prstGeom>
        </p:spPr>
        <p:txBody>
          <a:bodyPr vert="horz" wrap="square" lIns="0" tIns="0" rIns="0" bIns="0" rtlCol="0" anchor="b" anchorCtr="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3"/>
                </a:solidFill>
              </a:rPr>
              <a:t>Ensure Africa’s access to sufficient vaccine supply</a:t>
            </a:r>
            <a:endParaRPr lang="en-GB" b="1" dirty="0">
              <a:solidFill>
                <a:schemeClr val="accent3"/>
              </a:solidFill>
            </a:endParaRPr>
          </a:p>
        </p:txBody>
      </p:sp>
      <p:sp>
        <p:nvSpPr>
          <p:cNvPr id="31" name="TrackerNum 7">
            <a:extLst>
              <a:ext uri="{FF2B5EF4-FFF2-40B4-BE49-F238E27FC236}">
                <a16:creationId xmlns:a16="http://schemas.microsoft.com/office/drawing/2014/main" id="{9B22D81A-ED2A-451D-BFFD-960CECA57668}"/>
              </a:ext>
            </a:extLst>
          </p:cNvPr>
          <p:cNvSpPr>
            <a:spLocks/>
          </p:cNvSpPr>
          <p:nvPr>
            <p:custDataLst>
              <p:tags r:id="rId5"/>
            </p:custDataLst>
          </p:nvPr>
        </p:nvSpPr>
        <p:spPr>
          <a:xfrm>
            <a:off x="8231437" y="1277169"/>
            <a:ext cx="270517" cy="271577"/>
          </a:xfrm>
          <a:prstGeom prst="ellipse">
            <a:avLst/>
          </a:prstGeom>
          <a:gradFill>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gra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1600" b="1" dirty="0">
                <a:solidFill>
                  <a:schemeClr val="bg1"/>
                </a:solidFill>
              </a:rPr>
              <a:t>3</a:t>
            </a:r>
          </a:p>
        </p:txBody>
      </p:sp>
      <p:grpSp>
        <p:nvGrpSpPr>
          <p:cNvPr id="17" name="Group 16">
            <a:extLst>
              <a:ext uri="{FF2B5EF4-FFF2-40B4-BE49-F238E27FC236}">
                <a16:creationId xmlns:a16="http://schemas.microsoft.com/office/drawing/2014/main" id="{1E3FFEE2-C998-4289-B20B-9521B6E0E5C2}"/>
              </a:ext>
            </a:extLst>
          </p:cNvPr>
          <p:cNvGrpSpPr/>
          <p:nvPr/>
        </p:nvGrpSpPr>
        <p:grpSpPr>
          <a:xfrm>
            <a:off x="8231437" y="1975902"/>
            <a:ext cx="3424698" cy="738664"/>
            <a:chOff x="8488493" y="1847416"/>
            <a:chExt cx="3438112" cy="738664"/>
          </a:xfrm>
        </p:grpSpPr>
        <p:sp>
          <p:nvSpPr>
            <p:cNvPr id="8" name="TextBox 7">
              <a:extLst>
                <a:ext uri="{FF2B5EF4-FFF2-40B4-BE49-F238E27FC236}">
                  <a16:creationId xmlns:a16="http://schemas.microsoft.com/office/drawing/2014/main" id="{5B845641-00CF-4D11-918C-76DD65EDE8C1}"/>
                </a:ext>
              </a:extLst>
            </p:cNvPr>
            <p:cNvSpPr txBox="1">
              <a:spLocks/>
            </p:cNvSpPr>
            <p:nvPr/>
          </p:nvSpPr>
          <p:spPr>
            <a:xfrm>
              <a:off x="9195075" y="1847416"/>
              <a:ext cx="2731530" cy="73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ZA" b="1" dirty="0">
                  <a:solidFill>
                    <a:schemeClr val="accent3"/>
                  </a:solidFill>
                </a:rPr>
                <a:t>Regulatory</a:t>
              </a:r>
              <a:r>
                <a:rPr lang="en-ZA" dirty="0">
                  <a:solidFill>
                    <a:srgbClr val="000000"/>
                  </a:solidFill>
                </a:rPr>
                <a:t> – enable rapid regulatory decisions and ongoing safety monitoring</a:t>
              </a:r>
              <a:endParaRPr lang="en-US" dirty="0"/>
            </a:p>
          </p:txBody>
        </p:sp>
        <p:grpSp>
          <p:nvGrpSpPr>
            <p:cNvPr id="73" name="CustomIcon">
              <a:extLst>
                <a:ext uri="{FF2B5EF4-FFF2-40B4-BE49-F238E27FC236}">
                  <a16:creationId xmlns:a16="http://schemas.microsoft.com/office/drawing/2014/main" id="{96BF3971-9ED8-4209-8B47-296490E79B71}"/>
                </a:ext>
              </a:extLst>
            </p:cNvPr>
            <p:cNvGrpSpPr/>
            <p:nvPr/>
          </p:nvGrpSpPr>
          <p:grpSpPr>
            <a:xfrm>
              <a:off x="8488493" y="1847416"/>
              <a:ext cx="536864" cy="510886"/>
              <a:chOff x="12454984" y="3180234"/>
              <a:chExt cx="536864" cy="510886"/>
            </a:xfrm>
          </p:grpSpPr>
          <p:sp>
            <p:nvSpPr>
              <p:cNvPr id="74" name="Freeform: Shape 73">
                <a:extLst>
                  <a:ext uri="{FF2B5EF4-FFF2-40B4-BE49-F238E27FC236}">
                    <a16:creationId xmlns:a16="http://schemas.microsoft.com/office/drawing/2014/main" id="{C92A650E-5A7C-4727-936F-4177ED4D86DE}"/>
                  </a:ext>
                </a:extLst>
              </p:cNvPr>
              <p:cNvSpPr/>
              <p:nvPr/>
            </p:nvSpPr>
            <p:spPr>
              <a:xfrm>
                <a:off x="12535514" y="3422688"/>
                <a:ext cx="372341" cy="268432"/>
              </a:xfrm>
              <a:custGeom>
                <a:avLst/>
                <a:gdLst>
                  <a:gd name="connsiteX0" fmla="*/ 375805 w 372341"/>
                  <a:gd name="connsiteY0" fmla="*/ 268432 h 268431"/>
                  <a:gd name="connsiteX1" fmla="*/ 375805 w 372341"/>
                  <a:gd name="connsiteY1" fmla="*/ 71005 h 268431"/>
                  <a:gd name="connsiteX2" fmla="*/ 375805 w 372341"/>
                  <a:gd name="connsiteY2" fmla="*/ 0 h 268431"/>
                  <a:gd name="connsiteX3" fmla="*/ 0 w 372341"/>
                  <a:gd name="connsiteY3" fmla="*/ 0 h 268431"/>
                  <a:gd name="connsiteX4" fmla="*/ 0 w 372341"/>
                  <a:gd name="connsiteY4" fmla="*/ 71005 h 268431"/>
                  <a:gd name="connsiteX5" fmla="*/ 0 w 372341"/>
                  <a:gd name="connsiteY5" fmla="*/ 268432 h 26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2341" h="268431">
                    <a:moveTo>
                      <a:pt x="375805" y="268432"/>
                    </a:moveTo>
                    <a:lnTo>
                      <a:pt x="375805" y="71005"/>
                    </a:lnTo>
                    <a:lnTo>
                      <a:pt x="375805" y="0"/>
                    </a:lnTo>
                    <a:lnTo>
                      <a:pt x="0" y="0"/>
                    </a:lnTo>
                    <a:lnTo>
                      <a:pt x="0" y="71005"/>
                    </a:lnTo>
                    <a:lnTo>
                      <a:pt x="0" y="268432"/>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75" name="Freeform: Shape 74">
                <a:extLst>
                  <a:ext uri="{FF2B5EF4-FFF2-40B4-BE49-F238E27FC236}">
                    <a16:creationId xmlns:a16="http://schemas.microsoft.com/office/drawing/2014/main" id="{4BDC4CC4-2F70-4DD1-A3D5-F7E28D3CF7C1}"/>
                  </a:ext>
                </a:extLst>
              </p:cNvPr>
              <p:cNvSpPr/>
              <p:nvPr/>
            </p:nvSpPr>
            <p:spPr>
              <a:xfrm>
                <a:off x="12553698" y="3359477"/>
                <a:ext cx="337705" cy="8659"/>
              </a:xfrm>
              <a:custGeom>
                <a:avLst/>
                <a:gdLst>
                  <a:gd name="connsiteX0" fmla="*/ 0 w 337704"/>
                  <a:gd name="connsiteY0" fmla="*/ 0 h 0"/>
                  <a:gd name="connsiteX1" fmla="*/ 339436 w 337704"/>
                  <a:gd name="connsiteY1" fmla="*/ 0 h 0"/>
                </a:gdLst>
                <a:ahLst/>
                <a:cxnLst>
                  <a:cxn ang="0">
                    <a:pos x="connsiteX0" y="connsiteY0"/>
                  </a:cxn>
                  <a:cxn ang="0">
                    <a:pos x="connsiteX1" y="connsiteY1"/>
                  </a:cxn>
                </a:cxnLst>
                <a:rect l="l" t="t" r="r" b="b"/>
                <a:pathLst>
                  <a:path w="337704">
                    <a:moveTo>
                      <a:pt x="0" y="0"/>
                    </a:moveTo>
                    <a:lnTo>
                      <a:pt x="339436"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76" name="Freeform: Shape 75">
                <a:extLst>
                  <a:ext uri="{FF2B5EF4-FFF2-40B4-BE49-F238E27FC236}">
                    <a16:creationId xmlns:a16="http://schemas.microsoft.com/office/drawing/2014/main" id="{080EFEE3-DD2E-4B8B-BF3E-82464E353A5A}"/>
                  </a:ext>
                </a:extLst>
              </p:cNvPr>
              <p:cNvSpPr/>
              <p:nvPr/>
            </p:nvSpPr>
            <p:spPr>
              <a:xfrm>
                <a:off x="12597859" y="3233920"/>
                <a:ext cx="251114" cy="121227"/>
              </a:xfrm>
              <a:custGeom>
                <a:avLst/>
                <a:gdLst>
                  <a:gd name="connsiteX0" fmla="*/ 251114 w 251113"/>
                  <a:gd name="connsiteY0" fmla="*/ 125557 h 121227"/>
                  <a:gd name="connsiteX1" fmla="*/ 125557 w 251113"/>
                  <a:gd name="connsiteY1" fmla="*/ 0 h 121227"/>
                  <a:gd name="connsiteX2" fmla="*/ 0 w 251113"/>
                  <a:gd name="connsiteY2" fmla="*/ 125557 h 121227"/>
                </a:gdLst>
                <a:ahLst/>
                <a:cxnLst>
                  <a:cxn ang="0">
                    <a:pos x="connsiteX0" y="connsiteY0"/>
                  </a:cxn>
                  <a:cxn ang="0">
                    <a:pos x="connsiteX1" y="connsiteY1"/>
                  </a:cxn>
                  <a:cxn ang="0">
                    <a:pos x="connsiteX2" y="connsiteY2"/>
                  </a:cxn>
                </a:cxnLst>
                <a:rect l="l" t="t" r="r" b="b"/>
                <a:pathLst>
                  <a:path w="251113" h="121227">
                    <a:moveTo>
                      <a:pt x="251114" y="125557"/>
                    </a:moveTo>
                    <a:cubicBezTo>
                      <a:pt x="251114" y="56284"/>
                      <a:pt x="194830" y="0"/>
                      <a:pt x="125557" y="0"/>
                    </a:cubicBezTo>
                    <a:cubicBezTo>
                      <a:pt x="56284" y="0"/>
                      <a:pt x="0" y="56284"/>
                      <a:pt x="0" y="125557"/>
                    </a:cubicBez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77" name="Freeform: Shape 76">
                <a:extLst>
                  <a:ext uri="{FF2B5EF4-FFF2-40B4-BE49-F238E27FC236}">
                    <a16:creationId xmlns:a16="http://schemas.microsoft.com/office/drawing/2014/main" id="{A4E82D9C-A1B0-4002-8406-BBE27EAC78D4}"/>
                  </a:ext>
                </a:extLst>
              </p:cNvPr>
              <p:cNvSpPr/>
              <p:nvPr/>
            </p:nvSpPr>
            <p:spPr>
              <a:xfrm>
                <a:off x="12597859" y="3359477"/>
                <a:ext cx="8659" cy="60614"/>
              </a:xfrm>
              <a:custGeom>
                <a:avLst/>
                <a:gdLst>
                  <a:gd name="connsiteX0" fmla="*/ 0 w 0"/>
                  <a:gd name="connsiteY0" fmla="*/ 63211 h 60613"/>
                  <a:gd name="connsiteX1" fmla="*/ 0 w 0"/>
                  <a:gd name="connsiteY1" fmla="*/ 0 h 60613"/>
                </a:gdLst>
                <a:ahLst/>
                <a:cxnLst>
                  <a:cxn ang="0">
                    <a:pos x="connsiteX0" y="connsiteY0"/>
                  </a:cxn>
                  <a:cxn ang="0">
                    <a:pos x="connsiteX1" y="connsiteY1"/>
                  </a:cxn>
                </a:cxnLst>
                <a:rect l="l" t="t" r="r" b="b"/>
                <a:pathLst>
                  <a:path h="60613">
                    <a:moveTo>
                      <a:pt x="0" y="63211"/>
                    </a:moveTo>
                    <a:lnTo>
                      <a:pt x="0"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78" name="Freeform: Shape 77">
                <a:extLst>
                  <a:ext uri="{FF2B5EF4-FFF2-40B4-BE49-F238E27FC236}">
                    <a16:creationId xmlns:a16="http://schemas.microsoft.com/office/drawing/2014/main" id="{A39796A4-98A6-46E3-82CE-F2AE71182BD0}"/>
                  </a:ext>
                </a:extLst>
              </p:cNvPr>
              <p:cNvSpPr/>
              <p:nvPr/>
            </p:nvSpPr>
            <p:spPr>
              <a:xfrm>
                <a:off x="12848973" y="3359477"/>
                <a:ext cx="8659" cy="60614"/>
              </a:xfrm>
              <a:custGeom>
                <a:avLst/>
                <a:gdLst>
                  <a:gd name="connsiteX0" fmla="*/ 0 w 0"/>
                  <a:gd name="connsiteY0" fmla="*/ 63211 h 60613"/>
                  <a:gd name="connsiteX1" fmla="*/ 0 w 0"/>
                  <a:gd name="connsiteY1" fmla="*/ 0 h 60613"/>
                </a:gdLst>
                <a:ahLst/>
                <a:cxnLst>
                  <a:cxn ang="0">
                    <a:pos x="connsiteX0" y="connsiteY0"/>
                  </a:cxn>
                  <a:cxn ang="0">
                    <a:pos x="connsiteX1" y="connsiteY1"/>
                  </a:cxn>
                </a:cxnLst>
                <a:rect l="l" t="t" r="r" b="b"/>
                <a:pathLst>
                  <a:path h="60613">
                    <a:moveTo>
                      <a:pt x="0" y="63211"/>
                    </a:moveTo>
                    <a:lnTo>
                      <a:pt x="0"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79" name="Freeform: Shape 78">
                <a:extLst>
                  <a:ext uri="{FF2B5EF4-FFF2-40B4-BE49-F238E27FC236}">
                    <a16:creationId xmlns:a16="http://schemas.microsoft.com/office/drawing/2014/main" id="{7667B990-68D2-48DB-89C0-5E7FCFD34695}"/>
                  </a:ext>
                </a:extLst>
              </p:cNvPr>
              <p:cNvSpPr/>
              <p:nvPr/>
            </p:nvSpPr>
            <p:spPr>
              <a:xfrm>
                <a:off x="12723416" y="3180234"/>
                <a:ext cx="8659" cy="51955"/>
              </a:xfrm>
              <a:custGeom>
                <a:avLst/>
                <a:gdLst>
                  <a:gd name="connsiteX0" fmla="*/ 0 w 0"/>
                  <a:gd name="connsiteY0" fmla="*/ 54552 h 51954"/>
                  <a:gd name="connsiteX1" fmla="*/ 0 w 0"/>
                  <a:gd name="connsiteY1" fmla="*/ 0 h 51954"/>
                </a:gdLst>
                <a:ahLst/>
                <a:cxnLst>
                  <a:cxn ang="0">
                    <a:pos x="connsiteX0" y="connsiteY0"/>
                  </a:cxn>
                  <a:cxn ang="0">
                    <a:pos x="connsiteX1" y="connsiteY1"/>
                  </a:cxn>
                </a:cxnLst>
                <a:rect l="l" t="t" r="r" b="b"/>
                <a:pathLst>
                  <a:path h="51954">
                    <a:moveTo>
                      <a:pt x="0" y="54552"/>
                    </a:moveTo>
                    <a:lnTo>
                      <a:pt x="0"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80" name="Freeform: Shape 79">
                <a:extLst>
                  <a:ext uri="{FF2B5EF4-FFF2-40B4-BE49-F238E27FC236}">
                    <a16:creationId xmlns:a16="http://schemas.microsoft.com/office/drawing/2014/main" id="{5E79ED4C-AE97-4C66-BE0A-A15A89FB66A9}"/>
                  </a:ext>
                </a:extLst>
              </p:cNvPr>
              <p:cNvSpPr/>
              <p:nvPr/>
            </p:nvSpPr>
            <p:spPr>
              <a:xfrm>
                <a:off x="12616043" y="3493693"/>
                <a:ext cx="8659" cy="129886"/>
              </a:xfrm>
              <a:custGeom>
                <a:avLst/>
                <a:gdLst>
                  <a:gd name="connsiteX0" fmla="*/ 0 w 0"/>
                  <a:gd name="connsiteY0" fmla="*/ 0 h 129886"/>
                  <a:gd name="connsiteX1" fmla="*/ 0 w 0"/>
                  <a:gd name="connsiteY1" fmla="*/ 134216 h 129886"/>
                </a:gdLst>
                <a:ahLst/>
                <a:cxnLst>
                  <a:cxn ang="0">
                    <a:pos x="connsiteX0" y="connsiteY0"/>
                  </a:cxn>
                  <a:cxn ang="0">
                    <a:pos x="connsiteX1" y="connsiteY1"/>
                  </a:cxn>
                </a:cxnLst>
                <a:rect l="l" t="t" r="r" b="b"/>
                <a:pathLst>
                  <a:path h="129886">
                    <a:moveTo>
                      <a:pt x="0" y="0"/>
                    </a:moveTo>
                    <a:lnTo>
                      <a:pt x="0" y="134216"/>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81" name="Freeform: Shape 80">
                <a:extLst>
                  <a:ext uri="{FF2B5EF4-FFF2-40B4-BE49-F238E27FC236}">
                    <a16:creationId xmlns:a16="http://schemas.microsoft.com/office/drawing/2014/main" id="{7501A083-F28A-4ECC-B84D-DB88614A0D20}"/>
                  </a:ext>
                </a:extLst>
              </p:cNvPr>
              <p:cNvSpPr/>
              <p:nvPr/>
            </p:nvSpPr>
            <p:spPr>
              <a:xfrm>
                <a:off x="12687914" y="3493693"/>
                <a:ext cx="8659" cy="129886"/>
              </a:xfrm>
              <a:custGeom>
                <a:avLst/>
                <a:gdLst>
                  <a:gd name="connsiteX0" fmla="*/ 0 w 0"/>
                  <a:gd name="connsiteY0" fmla="*/ 0 h 129886"/>
                  <a:gd name="connsiteX1" fmla="*/ 0 w 0"/>
                  <a:gd name="connsiteY1" fmla="*/ 134216 h 129886"/>
                </a:gdLst>
                <a:ahLst/>
                <a:cxnLst>
                  <a:cxn ang="0">
                    <a:pos x="connsiteX0" y="connsiteY0"/>
                  </a:cxn>
                  <a:cxn ang="0">
                    <a:pos x="connsiteX1" y="connsiteY1"/>
                  </a:cxn>
                </a:cxnLst>
                <a:rect l="l" t="t" r="r" b="b"/>
                <a:pathLst>
                  <a:path h="129886">
                    <a:moveTo>
                      <a:pt x="0" y="0"/>
                    </a:moveTo>
                    <a:lnTo>
                      <a:pt x="0" y="134216"/>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82" name="Freeform: Shape 81">
                <a:extLst>
                  <a:ext uri="{FF2B5EF4-FFF2-40B4-BE49-F238E27FC236}">
                    <a16:creationId xmlns:a16="http://schemas.microsoft.com/office/drawing/2014/main" id="{BAA04BEC-8D3A-4B80-8577-CE1B34C35262}"/>
                  </a:ext>
                </a:extLst>
              </p:cNvPr>
              <p:cNvSpPr/>
              <p:nvPr/>
            </p:nvSpPr>
            <p:spPr>
              <a:xfrm>
                <a:off x="12758918" y="3493693"/>
                <a:ext cx="8659" cy="129886"/>
              </a:xfrm>
              <a:custGeom>
                <a:avLst/>
                <a:gdLst>
                  <a:gd name="connsiteX0" fmla="*/ 0 w 0"/>
                  <a:gd name="connsiteY0" fmla="*/ 0 h 129886"/>
                  <a:gd name="connsiteX1" fmla="*/ 0 w 0"/>
                  <a:gd name="connsiteY1" fmla="*/ 134216 h 129886"/>
                </a:gdLst>
                <a:ahLst/>
                <a:cxnLst>
                  <a:cxn ang="0">
                    <a:pos x="connsiteX0" y="connsiteY0"/>
                  </a:cxn>
                  <a:cxn ang="0">
                    <a:pos x="connsiteX1" y="connsiteY1"/>
                  </a:cxn>
                </a:cxnLst>
                <a:rect l="l" t="t" r="r" b="b"/>
                <a:pathLst>
                  <a:path h="129886">
                    <a:moveTo>
                      <a:pt x="0" y="0"/>
                    </a:moveTo>
                    <a:lnTo>
                      <a:pt x="0" y="134216"/>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83" name="Freeform: Shape 82">
                <a:extLst>
                  <a:ext uri="{FF2B5EF4-FFF2-40B4-BE49-F238E27FC236}">
                    <a16:creationId xmlns:a16="http://schemas.microsoft.com/office/drawing/2014/main" id="{F53EBA9C-E6E6-4F76-B19A-8D7CC22C1F3B}"/>
                  </a:ext>
                </a:extLst>
              </p:cNvPr>
              <p:cNvSpPr/>
              <p:nvPr/>
            </p:nvSpPr>
            <p:spPr>
              <a:xfrm>
                <a:off x="12830789" y="3493693"/>
                <a:ext cx="8659" cy="129886"/>
              </a:xfrm>
              <a:custGeom>
                <a:avLst/>
                <a:gdLst>
                  <a:gd name="connsiteX0" fmla="*/ 0 w 0"/>
                  <a:gd name="connsiteY0" fmla="*/ 0 h 129886"/>
                  <a:gd name="connsiteX1" fmla="*/ 0 w 0"/>
                  <a:gd name="connsiteY1" fmla="*/ 134216 h 129886"/>
                </a:gdLst>
                <a:ahLst/>
                <a:cxnLst>
                  <a:cxn ang="0">
                    <a:pos x="connsiteX0" y="connsiteY0"/>
                  </a:cxn>
                  <a:cxn ang="0">
                    <a:pos x="connsiteX1" y="connsiteY1"/>
                  </a:cxn>
                </a:cxnLst>
                <a:rect l="l" t="t" r="r" b="b"/>
                <a:pathLst>
                  <a:path h="129886">
                    <a:moveTo>
                      <a:pt x="0" y="0"/>
                    </a:moveTo>
                    <a:lnTo>
                      <a:pt x="0" y="134216"/>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84" name="Freeform: Shape 83">
                <a:extLst>
                  <a:ext uri="{FF2B5EF4-FFF2-40B4-BE49-F238E27FC236}">
                    <a16:creationId xmlns:a16="http://schemas.microsoft.com/office/drawing/2014/main" id="{96C78A64-EC7A-47BC-8C19-DCC00772B2F4}"/>
                  </a:ext>
                </a:extLst>
              </p:cNvPr>
              <p:cNvSpPr/>
              <p:nvPr/>
            </p:nvSpPr>
            <p:spPr>
              <a:xfrm>
                <a:off x="12454984" y="3493693"/>
                <a:ext cx="536864" cy="190500"/>
              </a:xfrm>
              <a:custGeom>
                <a:avLst/>
                <a:gdLst>
                  <a:gd name="connsiteX0" fmla="*/ 80530 w 536863"/>
                  <a:gd name="connsiteY0" fmla="*/ 0 h 190500"/>
                  <a:gd name="connsiteX1" fmla="*/ 0 w 536863"/>
                  <a:gd name="connsiteY1" fmla="*/ 0 h 190500"/>
                  <a:gd name="connsiteX2" fmla="*/ 0 w 536863"/>
                  <a:gd name="connsiteY2" fmla="*/ 197427 h 190500"/>
                  <a:gd name="connsiteX3" fmla="*/ 536864 w 536863"/>
                  <a:gd name="connsiteY3" fmla="*/ 197427 h 190500"/>
                  <a:gd name="connsiteX4" fmla="*/ 536864 w 536863"/>
                  <a:gd name="connsiteY4" fmla="*/ 0 h 190500"/>
                  <a:gd name="connsiteX5" fmla="*/ 456334 w 536863"/>
                  <a:gd name="connsiteY5"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863" h="190500">
                    <a:moveTo>
                      <a:pt x="80530" y="0"/>
                    </a:moveTo>
                    <a:lnTo>
                      <a:pt x="0" y="0"/>
                    </a:lnTo>
                    <a:lnTo>
                      <a:pt x="0" y="197427"/>
                    </a:lnTo>
                    <a:lnTo>
                      <a:pt x="536864" y="197427"/>
                    </a:lnTo>
                    <a:lnTo>
                      <a:pt x="536864" y="0"/>
                    </a:lnTo>
                    <a:lnTo>
                      <a:pt x="456334" y="0"/>
                    </a:lnTo>
                  </a:path>
                </a:pathLst>
              </a:custGeom>
              <a:noFill/>
              <a:ln w="11509" cap="flat">
                <a:solidFill>
                  <a:schemeClr val="accent4"/>
                </a:solidFill>
                <a:prstDash val="solid"/>
                <a:miter/>
              </a:ln>
            </p:spPr>
            <p:txBody>
              <a:bodyPr rtlCol="0" anchor="ctr"/>
              <a:lstStyle/>
              <a:p>
                <a:endParaRPr lang="en-ZA" sz="1600" dirty="0">
                  <a:latin typeface="+mn-lt"/>
                </a:endParaRPr>
              </a:p>
            </p:txBody>
          </p:sp>
        </p:grpSp>
      </p:grpSp>
      <p:grpSp>
        <p:nvGrpSpPr>
          <p:cNvPr id="19" name="Group 18">
            <a:extLst>
              <a:ext uri="{FF2B5EF4-FFF2-40B4-BE49-F238E27FC236}">
                <a16:creationId xmlns:a16="http://schemas.microsoft.com/office/drawing/2014/main" id="{24EA5272-AD55-4FC9-840A-A2117B167D11}"/>
              </a:ext>
            </a:extLst>
          </p:cNvPr>
          <p:cNvGrpSpPr/>
          <p:nvPr/>
        </p:nvGrpSpPr>
        <p:grpSpPr>
          <a:xfrm>
            <a:off x="8231437" y="3301507"/>
            <a:ext cx="3424698" cy="738664"/>
            <a:chOff x="8488493" y="3781471"/>
            <a:chExt cx="3438112" cy="738664"/>
          </a:xfrm>
        </p:grpSpPr>
        <p:sp>
          <p:nvSpPr>
            <p:cNvPr id="9" name="TextBox 8">
              <a:extLst>
                <a:ext uri="{FF2B5EF4-FFF2-40B4-BE49-F238E27FC236}">
                  <a16:creationId xmlns:a16="http://schemas.microsoft.com/office/drawing/2014/main" id="{3D8787EF-129B-42D6-B72F-50FD93DC9530}"/>
                </a:ext>
              </a:extLst>
            </p:cNvPr>
            <p:cNvSpPr txBox="1">
              <a:spLocks/>
            </p:cNvSpPr>
            <p:nvPr/>
          </p:nvSpPr>
          <p:spPr>
            <a:xfrm>
              <a:off x="9195075" y="3781471"/>
              <a:ext cx="2731530" cy="73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ZA" b="1" dirty="0">
                  <a:solidFill>
                    <a:schemeClr val="accent3"/>
                  </a:solidFill>
                </a:rPr>
                <a:t>Delivery </a:t>
              </a:r>
              <a:r>
                <a:rPr lang="en-ZA" dirty="0">
                  <a:solidFill>
                    <a:srgbClr val="303D24"/>
                  </a:solidFill>
                </a:rPr>
                <a:t>–</a:t>
              </a:r>
              <a:r>
                <a:rPr lang="en-ZA" b="1" dirty="0">
                  <a:solidFill>
                    <a:schemeClr val="accent3"/>
                  </a:solidFill>
                </a:rPr>
                <a:t> </a:t>
              </a:r>
              <a:r>
                <a:rPr lang="en-US" dirty="0">
                  <a:solidFill>
                    <a:srgbClr val="000000"/>
                  </a:solidFill>
                </a:rPr>
                <a:t>ensure effective  supply chains and immunization activities</a:t>
              </a:r>
              <a:endParaRPr lang="en-US" dirty="0"/>
            </a:p>
          </p:txBody>
        </p:sp>
        <p:grpSp>
          <p:nvGrpSpPr>
            <p:cNvPr id="85" name="CustomIcon">
              <a:extLst>
                <a:ext uri="{FF2B5EF4-FFF2-40B4-BE49-F238E27FC236}">
                  <a16:creationId xmlns:a16="http://schemas.microsoft.com/office/drawing/2014/main" id="{D3FA80BF-80CF-4AA3-8DCF-D13F4853C91B}"/>
                </a:ext>
              </a:extLst>
            </p:cNvPr>
            <p:cNvGrpSpPr/>
            <p:nvPr/>
          </p:nvGrpSpPr>
          <p:grpSpPr>
            <a:xfrm>
              <a:off x="8488493" y="3781471"/>
              <a:ext cx="554182" cy="554182"/>
              <a:chOff x="12446325" y="4272738"/>
              <a:chExt cx="554182" cy="554182"/>
            </a:xfrm>
          </p:grpSpPr>
          <p:sp>
            <p:nvSpPr>
              <p:cNvPr id="86" name="Freeform: Shape 85">
                <a:extLst>
                  <a:ext uri="{FF2B5EF4-FFF2-40B4-BE49-F238E27FC236}">
                    <a16:creationId xmlns:a16="http://schemas.microsoft.com/office/drawing/2014/main" id="{4E143F1C-6692-4E2F-AC1F-C094DF745B90}"/>
                  </a:ext>
                </a:extLst>
              </p:cNvPr>
              <p:cNvSpPr/>
              <p:nvPr/>
            </p:nvSpPr>
            <p:spPr>
              <a:xfrm>
                <a:off x="12454984" y="4331620"/>
                <a:ext cx="536864" cy="363682"/>
              </a:xfrm>
              <a:custGeom>
                <a:avLst/>
                <a:gdLst>
                  <a:gd name="connsiteX0" fmla="*/ 64077 w 536863"/>
                  <a:gd name="connsiteY0" fmla="*/ 367146 h 363681"/>
                  <a:gd name="connsiteX1" fmla="*/ 24245 w 536863"/>
                  <a:gd name="connsiteY1" fmla="*/ 367146 h 363681"/>
                  <a:gd name="connsiteX2" fmla="*/ 0 w 536863"/>
                  <a:gd name="connsiteY2" fmla="*/ 342900 h 363681"/>
                  <a:gd name="connsiteX3" fmla="*/ 0 w 536863"/>
                  <a:gd name="connsiteY3" fmla="*/ 0 h 363681"/>
                  <a:gd name="connsiteX4" fmla="*/ 249382 w 536863"/>
                  <a:gd name="connsiteY4" fmla="*/ 0 h 363681"/>
                  <a:gd name="connsiteX5" fmla="*/ 249382 w 536863"/>
                  <a:gd name="connsiteY5" fmla="*/ 206952 h 363681"/>
                  <a:gd name="connsiteX6" fmla="*/ 450273 w 536863"/>
                  <a:gd name="connsiteY6" fmla="*/ 206952 h 363681"/>
                  <a:gd name="connsiteX7" fmla="*/ 536864 w 536863"/>
                  <a:gd name="connsiteY7" fmla="*/ 291811 h 363681"/>
                  <a:gd name="connsiteX8" fmla="*/ 536864 w 536863"/>
                  <a:gd name="connsiteY8" fmla="*/ 343766 h 363681"/>
                  <a:gd name="connsiteX9" fmla="*/ 512618 w 536863"/>
                  <a:gd name="connsiteY9" fmla="*/ 368011 h 363681"/>
                  <a:gd name="connsiteX10" fmla="*/ 501362 w 536863"/>
                  <a:gd name="connsiteY10" fmla="*/ 368011 h 36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6863" h="363681">
                    <a:moveTo>
                      <a:pt x="64077" y="367146"/>
                    </a:moveTo>
                    <a:lnTo>
                      <a:pt x="24245" y="367146"/>
                    </a:lnTo>
                    <a:cubicBezTo>
                      <a:pt x="10391" y="367146"/>
                      <a:pt x="0" y="355889"/>
                      <a:pt x="0" y="342900"/>
                    </a:cubicBezTo>
                    <a:lnTo>
                      <a:pt x="0" y="0"/>
                    </a:lnTo>
                    <a:lnTo>
                      <a:pt x="249382" y="0"/>
                    </a:lnTo>
                    <a:lnTo>
                      <a:pt x="249382" y="206952"/>
                    </a:lnTo>
                    <a:lnTo>
                      <a:pt x="450273" y="206952"/>
                    </a:lnTo>
                    <a:cubicBezTo>
                      <a:pt x="450273" y="206952"/>
                      <a:pt x="526473" y="213014"/>
                      <a:pt x="536864" y="291811"/>
                    </a:cubicBezTo>
                    <a:lnTo>
                      <a:pt x="536864" y="343766"/>
                    </a:lnTo>
                    <a:cubicBezTo>
                      <a:pt x="536864" y="357621"/>
                      <a:pt x="525607" y="368011"/>
                      <a:pt x="512618" y="368011"/>
                    </a:cubicBezTo>
                    <a:lnTo>
                      <a:pt x="501362" y="368011"/>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87" name="Freeform: Shape 86">
                <a:extLst>
                  <a:ext uri="{FF2B5EF4-FFF2-40B4-BE49-F238E27FC236}">
                    <a16:creationId xmlns:a16="http://schemas.microsoft.com/office/drawing/2014/main" id="{1C7A96C0-C8E3-4854-BB29-32B4F1589714}"/>
                  </a:ext>
                </a:extLst>
              </p:cNvPr>
              <p:cNvSpPr/>
              <p:nvPr/>
            </p:nvSpPr>
            <p:spPr>
              <a:xfrm>
                <a:off x="12675791" y="4698765"/>
                <a:ext cx="121227" cy="8659"/>
              </a:xfrm>
              <a:custGeom>
                <a:avLst/>
                <a:gdLst>
                  <a:gd name="connsiteX0" fmla="*/ 122959 w 121227"/>
                  <a:gd name="connsiteY0" fmla="*/ 0 h 0"/>
                  <a:gd name="connsiteX1" fmla="*/ 0 w 121227"/>
                  <a:gd name="connsiteY1" fmla="*/ 0 h 0"/>
                </a:gdLst>
                <a:ahLst/>
                <a:cxnLst>
                  <a:cxn ang="0">
                    <a:pos x="connsiteX0" y="connsiteY0"/>
                  </a:cxn>
                  <a:cxn ang="0">
                    <a:pos x="connsiteX1" y="connsiteY1"/>
                  </a:cxn>
                </a:cxnLst>
                <a:rect l="l" t="t" r="r" b="b"/>
                <a:pathLst>
                  <a:path w="121227">
                    <a:moveTo>
                      <a:pt x="122959" y="0"/>
                    </a:moveTo>
                    <a:lnTo>
                      <a:pt x="0"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88" name="Freeform: Shape 87">
                <a:extLst>
                  <a:ext uri="{FF2B5EF4-FFF2-40B4-BE49-F238E27FC236}">
                    <a16:creationId xmlns:a16="http://schemas.microsoft.com/office/drawing/2014/main" id="{292690B5-1EE6-48BD-9CD2-41F697BF3B04}"/>
                  </a:ext>
                </a:extLst>
              </p:cNvPr>
              <p:cNvSpPr/>
              <p:nvPr/>
            </p:nvSpPr>
            <p:spPr>
              <a:xfrm>
                <a:off x="12704366" y="4407820"/>
                <a:ext cx="199159" cy="129886"/>
              </a:xfrm>
              <a:custGeom>
                <a:avLst/>
                <a:gdLst>
                  <a:gd name="connsiteX0" fmla="*/ 0 w 199159"/>
                  <a:gd name="connsiteY0" fmla="*/ 0 h 129886"/>
                  <a:gd name="connsiteX1" fmla="*/ 122093 w 199159"/>
                  <a:gd name="connsiteY1" fmla="*/ 0 h 129886"/>
                  <a:gd name="connsiteX2" fmla="*/ 200891 w 199159"/>
                  <a:gd name="connsiteY2" fmla="*/ 129886 h 129886"/>
                </a:gdLst>
                <a:ahLst/>
                <a:cxnLst>
                  <a:cxn ang="0">
                    <a:pos x="connsiteX0" y="connsiteY0"/>
                  </a:cxn>
                  <a:cxn ang="0">
                    <a:pos x="connsiteX1" y="connsiteY1"/>
                  </a:cxn>
                  <a:cxn ang="0">
                    <a:pos x="connsiteX2" y="connsiteY2"/>
                  </a:cxn>
                </a:cxnLst>
                <a:rect l="l" t="t" r="r" b="b"/>
                <a:pathLst>
                  <a:path w="199159" h="129886">
                    <a:moveTo>
                      <a:pt x="0" y="0"/>
                    </a:moveTo>
                    <a:lnTo>
                      <a:pt x="122093" y="0"/>
                    </a:lnTo>
                    <a:lnTo>
                      <a:pt x="200891" y="129886"/>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89" name="Freeform: Shape 88">
                <a:extLst>
                  <a:ext uri="{FF2B5EF4-FFF2-40B4-BE49-F238E27FC236}">
                    <a16:creationId xmlns:a16="http://schemas.microsoft.com/office/drawing/2014/main" id="{2B99A90A-F44B-4F38-B7EF-79291213ADD4}"/>
                  </a:ext>
                </a:extLst>
              </p:cNvPr>
              <p:cNvSpPr/>
              <p:nvPr/>
            </p:nvSpPr>
            <p:spPr>
              <a:xfrm>
                <a:off x="12518195" y="4611309"/>
                <a:ext cx="155864" cy="155864"/>
              </a:xfrm>
              <a:custGeom>
                <a:avLst/>
                <a:gdLst>
                  <a:gd name="connsiteX0" fmla="*/ 157596 w 155863"/>
                  <a:gd name="connsiteY0" fmla="*/ 78798 h 155863"/>
                  <a:gd name="connsiteX1" fmla="*/ 78798 w 155863"/>
                  <a:gd name="connsiteY1" fmla="*/ 157596 h 155863"/>
                  <a:gd name="connsiteX2" fmla="*/ 0 w 155863"/>
                  <a:gd name="connsiteY2" fmla="*/ 78798 h 155863"/>
                  <a:gd name="connsiteX3" fmla="*/ 78798 w 155863"/>
                  <a:gd name="connsiteY3" fmla="*/ 0 h 155863"/>
                  <a:gd name="connsiteX4" fmla="*/ 157596 w 155863"/>
                  <a:gd name="connsiteY4" fmla="*/ 78798 h 15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863" h="155863">
                    <a:moveTo>
                      <a:pt x="157596" y="78798"/>
                    </a:moveTo>
                    <a:cubicBezTo>
                      <a:pt x="157596" y="122317"/>
                      <a:pt x="122317" y="157596"/>
                      <a:pt x="78798" y="157596"/>
                    </a:cubicBezTo>
                    <a:cubicBezTo>
                      <a:pt x="35279" y="157596"/>
                      <a:pt x="0" y="122317"/>
                      <a:pt x="0" y="78798"/>
                    </a:cubicBezTo>
                    <a:cubicBezTo>
                      <a:pt x="0" y="35279"/>
                      <a:pt x="35279" y="0"/>
                      <a:pt x="78798" y="0"/>
                    </a:cubicBezTo>
                    <a:cubicBezTo>
                      <a:pt x="122317" y="0"/>
                      <a:pt x="157596" y="35279"/>
                      <a:pt x="157596" y="78798"/>
                    </a:cubicBezTo>
                    <a:close/>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90" name="Freeform: Shape 89">
                <a:extLst>
                  <a:ext uri="{FF2B5EF4-FFF2-40B4-BE49-F238E27FC236}">
                    <a16:creationId xmlns:a16="http://schemas.microsoft.com/office/drawing/2014/main" id="{5F07773B-6F59-4BF7-9A67-8302689EDA60}"/>
                  </a:ext>
                </a:extLst>
              </p:cNvPr>
              <p:cNvSpPr/>
              <p:nvPr/>
            </p:nvSpPr>
            <p:spPr>
              <a:xfrm>
                <a:off x="12798750" y="4611309"/>
                <a:ext cx="155864" cy="155864"/>
              </a:xfrm>
              <a:custGeom>
                <a:avLst/>
                <a:gdLst>
                  <a:gd name="connsiteX0" fmla="*/ 157596 w 155863"/>
                  <a:gd name="connsiteY0" fmla="*/ 78798 h 155863"/>
                  <a:gd name="connsiteX1" fmla="*/ 78798 w 155863"/>
                  <a:gd name="connsiteY1" fmla="*/ 157596 h 155863"/>
                  <a:gd name="connsiteX2" fmla="*/ 0 w 155863"/>
                  <a:gd name="connsiteY2" fmla="*/ 78798 h 155863"/>
                  <a:gd name="connsiteX3" fmla="*/ 78798 w 155863"/>
                  <a:gd name="connsiteY3" fmla="*/ 0 h 155863"/>
                  <a:gd name="connsiteX4" fmla="*/ 157596 w 155863"/>
                  <a:gd name="connsiteY4" fmla="*/ 78798 h 155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863" h="155863">
                    <a:moveTo>
                      <a:pt x="157596" y="78798"/>
                    </a:moveTo>
                    <a:cubicBezTo>
                      <a:pt x="157596" y="122317"/>
                      <a:pt x="122317" y="157596"/>
                      <a:pt x="78798" y="157596"/>
                    </a:cubicBezTo>
                    <a:cubicBezTo>
                      <a:pt x="35279" y="157596"/>
                      <a:pt x="0" y="122317"/>
                      <a:pt x="0" y="78798"/>
                    </a:cubicBezTo>
                    <a:cubicBezTo>
                      <a:pt x="0" y="35279"/>
                      <a:pt x="35279" y="0"/>
                      <a:pt x="78798" y="0"/>
                    </a:cubicBezTo>
                    <a:cubicBezTo>
                      <a:pt x="122317" y="0"/>
                      <a:pt x="157596" y="35279"/>
                      <a:pt x="157596" y="78798"/>
                    </a:cubicBezTo>
                    <a:close/>
                  </a:path>
                </a:pathLst>
              </a:custGeom>
              <a:noFill/>
              <a:ln w="11509" cap="flat">
                <a:solidFill>
                  <a:schemeClr val="accent4"/>
                </a:solidFill>
                <a:prstDash val="solid"/>
                <a:miter/>
              </a:ln>
            </p:spPr>
            <p:txBody>
              <a:bodyPr rtlCol="0" anchor="ctr"/>
              <a:lstStyle/>
              <a:p>
                <a:endParaRPr lang="en-ZA" sz="1600" dirty="0">
                  <a:latin typeface="+mn-lt"/>
                </a:endParaRPr>
              </a:p>
            </p:txBody>
          </p:sp>
        </p:grpSp>
      </p:grpSp>
      <p:grpSp>
        <p:nvGrpSpPr>
          <p:cNvPr id="20" name="Group 19">
            <a:extLst>
              <a:ext uri="{FF2B5EF4-FFF2-40B4-BE49-F238E27FC236}">
                <a16:creationId xmlns:a16="http://schemas.microsoft.com/office/drawing/2014/main" id="{F74A6426-60D0-4047-A7FC-3B4629AB013C}"/>
              </a:ext>
            </a:extLst>
          </p:cNvPr>
          <p:cNvGrpSpPr/>
          <p:nvPr/>
        </p:nvGrpSpPr>
        <p:grpSpPr>
          <a:xfrm>
            <a:off x="8231437" y="4668532"/>
            <a:ext cx="3606499" cy="738664"/>
            <a:chOff x="8488493" y="5098037"/>
            <a:chExt cx="3620625" cy="738664"/>
          </a:xfrm>
        </p:grpSpPr>
        <p:sp>
          <p:nvSpPr>
            <p:cNvPr id="10" name="TextBox 9">
              <a:extLst>
                <a:ext uri="{FF2B5EF4-FFF2-40B4-BE49-F238E27FC236}">
                  <a16:creationId xmlns:a16="http://schemas.microsoft.com/office/drawing/2014/main" id="{D4682701-2902-41EB-93B4-0D8C225F3221}"/>
                </a:ext>
              </a:extLst>
            </p:cNvPr>
            <p:cNvSpPr txBox="1">
              <a:spLocks/>
            </p:cNvSpPr>
            <p:nvPr/>
          </p:nvSpPr>
          <p:spPr>
            <a:xfrm>
              <a:off x="9195075" y="5098037"/>
              <a:ext cx="2914043" cy="73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ZA" b="1" dirty="0">
                  <a:solidFill>
                    <a:schemeClr val="accent3"/>
                  </a:solidFill>
                </a:rPr>
                <a:t>Uptake </a:t>
              </a:r>
              <a:r>
                <a:rPr lang="en-US" dirty="0">
                  <a:solidFill>
                    <a:srgbClr val="000000"/>
                  </a:solidFill>
                </a:rPr>
                <a:t>– engage communities to maximize vaccine acceptance and uptake</a:t>
              </a:r>
              <a:endParaRPr lang="en-US" dirty="0"/>
            </a:p>
          </p:txBody>
        </p:sp>
        <p:grpSp>
          <p:nvGrpSpPr>
            <p:cNvPr id="102" name="CustomIcon">
              <a:extLst>
                <a:ext uri="{FF2B5EF4-FFF2-40B4-BE49-F238E27FC236}">
                  <a16:creationId xmlns:a16="http://schemas.microsoft.com/office/drawing/2014/main" id="{F3F22633-013B-47EE-BFEC-CB5080014BDE}"/>
                </a:ext>
              </a:extLst>
            </p:cNvPr>
            <p:cNvGrpSpPr/>
            <p:nvPr/>
          </p:nvGrpSpPr>
          <p:grpSpPr>
            <a:xfrm>
              <a:off x="8488493" y="5098037"/>
              <a:ext cx="554182" cy="554182"/>
              <a:chOff x="12446325" y="5202408"/>
              <a:chExt cx="554182" cy="554182"/>
            </a:xfrm>
          </p:grpSpPr>
          <p:sp>
            <p:nvSpPr>
              <p:cNvPr id="103" name="Freeform: Shape 102">
                <a:extLst>
                  <a:ext uri="{FF2B5EF4-FFF2-40B4-BE49-F238E27FC236}">
                    <a16:creationId xmlns:a16="http://schemas.microsoft.com/office/drawing/2014/main" id="{1D6B4B9C-AED4-4DB7-9018-A3E5056A8166}"/>
                  </a:ext>
                </a:extLst>
              </p:cNvPr>
              <p:cNvSpPr/>
              <p:nvPr/>
            </p:nvSpPr>
            <p:spPr>
              <a:xfrm>
                <a:off x="12723416" y="5211067"/>
                <a:ext cx="8659" cy="225136"/>
              </a:xfrm>
              <a:custGeom>
                <a:avLst/>
                <a:gdLst>
                  <a:gd name="connsiteX0" fmla="*/ 0 w 0"/>
                  <a:gd name="connsiteY0" fmla="*/ 232930 h 225136"/>
                  <a:gd name="connsiteX1" fmla="*/ 0 w 0"/>
                  <a:gd name="connsiteY1" fmla="*/ 0 h 225136"/>
                </a:gdLst>
                <a:ahLst/>
                <a:cxnLst>
                  <a:cxn ang="0">
                    <a:pos x="connsiteX0" y="connsiteY0"/>
                  </a:cxn>
                  <a:cxn ang="0">
                    <a:pos x="connsiteX1" y="connsiteY1"/>
                  </a:cxn>
                </a:cxnLst>
                <a:rect l="l" t="t" r="r" b="b"/>
                <a:pathLst>
                  <a:path h="225136">
                    <a:moveTo>
                      <a:pt x="0" y="232930"/>
                    </a:moveTo>
                    <a:lnTo>
                      <a:pt x="0"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04" name="Freeform: Shape 103">
                <a:extLst>
                  <a:ext uri="{FF2B5EF4-FFF2-40B4-BE49-F238E27FC236}">
                    <a16:creationId xmlns:a16="http://schemas.microsoft.com/office/drawing/2014/main" id="{A09645C0-1FFB-42DF-A80F-190CD518289C}"/>
                  </a:ext>
                </a:extLst>
              </p:cNvPr>
              <p:cNvSpPr/>
              <p:nvPr/>
            </p:nvSpPr>
            <p:spPr>
              <a:xfrm>
                <a:off x="12669730" y="5658742"/>
                <a:ext cx="103909" cy="8659"/>
              </a:xfrm>
              <a:custGeom>
                <a:avLst/>
                <a:gdLst>
                  <a:gd name="connsiteX0" fmla="*/ 0 w 103909"/>
                  <a:gd name="connsiteY0" fmla="*/ 0 h 0"/>
                  <a:gd name="connsiteX1" fmla="*/ 107373 w 103909"/>
                  <a:gd name="connsiteY1" fmla="*/ 0 h 0"/>
                </a:gdLst>
                <a:ahLst/>
                <a:cxnLst>
                  <a:cxn ang="0">
                    <a:pos x="connsiteX0" y="connsiteY0"/>
                  </a:cxn>
                  <a:cxn ang="0">
                    <a:pos x="connsiteX1" y="connsiteY1"/>
                  </a:cxn>
                </a:cxnLst>
                <a:rect l="l" t="t" r="r" b="b"/>
                <a:pathLst>
                  <a:path w="103909">
                    <a:moveTo>
                      <a:pt x="0" y="0"/>
                    </a:moveTo>
                    <a:lnTo>
                      <a:pt x="107373" y="0"/>
                    </a:lnTo>
                  </a:path>
                </a:pathLst>
              </a:custGeom>
              <a:ln w="11509" cap="flat">
                <a:solidFill>
                  <a:schemeClr val="accent4"/>
                </a:solidFill>
                <a:prstDash val="solid"/>
                <a:miter/>
              </a:ln>
            </p:spPr>
            <p:txBody>
              <a:bodyPr rtlCol="0" anchor="ctr"/>
              <a:lstStyle/>
              <a:p>
                <a:endParaRPr lang="en-ZA" sz="1600" dirty="0">
                  <a:latin typeface="+mn-lt"/>
                </a:endParaRPr>
              </a:p>
            </p:txBody>
          </p:sp>
          <p:sp>
            <p:nvSpPr>
              <p:cNvPr id="105" name="Freeform: Shape 104">
                <a:extLst>
                  <a:ext uri="{FF2B5EF4-FFF2-40B4-BE49-F238E27FC236}">
                    <a16:creationId xmlns:a16="http://schemas.microsoft.com/office/drawing/2014/main" id="{9A2EAECF-F78E-4CEE-92ED-939F193B88F6}"/>
                  </a:ext>
                </a:extLst>
              </p:cNvPr>
              <p:cNvSpPr/>
              <p:nvPr/>
            </p:nvSpPr>
            <p:spPr>
              <a:xfrm>
                <a:off x="12634227" y="5211067"/>
                <a:ext cx="173182" cy="86591"/>
              </a:xfrm>
              <a:custGeom>
                <a:avLst/>
                <a:gdLst>
                  <a:gd name="connsiteX0" fmla="*/ 0 w 173181"/>
                  <a:gd name="connsiteY0" fmla="*/ 89189 h 86590"/>
                  <a:gd name="connsiteX1" fmla="*/ 89189 w 173181"/>
                  <a:gd name="connsiteY1" fmla="*/ 0 h 86590"/>
                  <a:gd name="connsiteX2" fmla="*/ 178377 w 173181"/>
                  <a:gd name="connsiteY2" fmla="*/ 89189 h 86590"/>
                </a:gdLst>
                <a:ahLst/>
                <a:cxnLst>
                  <a:cxn ang="0">
                    <a:pos x="connsiteX0" y="connsiteY0"/>
                  </a:cxn>
                  <a:cxn ang="0">
                    <a:pos x="connsiteX1" y="connsiteY1"/>
                  </a:cxn>
                  <a:cxn ang="0">
                    <a:pos x="connsiteX2" y="connsiteY2"/>
                  </a:cxn>
                </a:cxnLst>
                <a:rect l="l" t="t" r="r" b="b"/>
                <a:pathLst>
                  <a:path w="173181" h="86590">
                    <a:moveTo>
                      <a:pt x="0" y="89189"/>
                    </a:moveTo>
                    <a:lnTo>
                      <a:pt x="89189" y="0"/>
                    </a:lnTo>
                    <a:lnTo>
                      <a:pt x="178377" y="89189"/>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106" name="Freeform: Shape 105">
                <a:extLst>
                  <a:ext uri="{FF2B5EF4-FFF2-40B4-BE49-F238E27FC236}">
                    <a16:creationId xmlns:a16="http://schemas.microsoft.com/office/drawing/2014/main" id="{18893D7A-577D-42F4-AEAD-3B657EA71A12}"/>
                  </a:ext>
                </a:extLst>
              </p:cNvPr>
              <p:cNvSpPr/>
              <p:nvPr/>
            </p:nvSpPr>
            <p:spPr>
              <a:xfrm>
                <a:off x="12473168" y="5372126"/>
                <a:ext cx="493568" cy="372341"/>
              </a:xfrm>
              <a:custGeom>
                <a:avLst/>
                <a:gdLst>
                  <a:gd name="connsiteX0" fmla="*/ 402648 w 493568"/>
                  <a:gd name="connsiteY0" fmla="*/ 0 h 372341"/>
                  <a:gd name="connsiteX1" fmla="*/ 500496 w 493568"/>
                  <a:gd name="connsiteY1" fmla="*/ 0 h 372341"/>
                  <a:gd name="connsiteX2" fmla="*/ 500496 w 493568"/>
                  <a:gd name="connsiteY2" fmla="*/ 375805 h 372341"/>
                  <a:gd name="connsiteX3" fmla="*/ 0 w 493568"/>
                  <a:gd name="connsiteY3" fmla="*/ 375805 h 372341"/>
                  <a:gd name="connsiteX4" fmla="*/ 0 w 493568"/>
                  <a:gd name="connsiteY4" fmla="*/ 0 h 372341"/>
                  <a:gd name="connsiteX5" fmla="*/ 97848 w 493568"/>
                  <a:gd name="connsiteY5" fmla="*/ 0 h 37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568" h="372341">
                    <a:moveTo>
                      <a:pt x="402648" y="0"/>
                    </a:moveTo>
                    <a:lnTo>
                      <a:pt x="500496" y="0"/>
                    </a:lnTo>
                    <a:lnTo>
                      <a:pt x="500496" y="375805"/>
                    </a:lnTo>
                    <a:lnTo>
                      <a:pt x="0" y="375805"/>
                    </a:lnTo>
                    <a:lnTo>
                      <a:pt x="0" y="0"/>
                    </a:lnTo>
                    <a:lnTo>
                      <a:pt x="97848" y="0"/>
                    </a:lnTo>
                  </a:path>
                </a:pathLst>
              </a:custGeom>
              <a:noFill/>
              <a:ln w="11509" cap="flat">
                <a:solidFill>
                  <a:schemeClr val="accent4"/>
                </a:solidFill>
                <a:prstDash val="solid"/>
                <a:miter/>
              </a:ln>
            </p:spPr>
            <p:txBody>
              <a:bodyPr rtlCol="0" anchor="ctr"/>
              <a:lstStyle/>
              <a:p>
                <a:endParaRPr lang="en-ZA" sz="1600" dirty="0">
                  <a:latin typeface="+mn-lt"/>
                </a:endParaRPr>
              </a:p>
            </p:txBody>
          </p:sp>
          <p:sp>
            <p:nvSpPr>
              <p:cNvPr id="107" name="Freeform: Shape 106">
                <a:extLst>
                  <a:ext uri="{FF2B5EF4-FFF2-40B4-BE49-F238E27FC236}">
                    <a16:creationId xmlns:a16="http://schemas.microsoft.com/office/drawing/2014/main" id="{A3573A71-BBEE-4F8E-BBFB-F9079B473D00}"/>
                  </a:ext>
                </a:extLst>
              </p:cNvPr>
              <p:cNvSpPr/>
              <p:nvPr/>
            </p:nvSpPr>
            <p:spPr>
              <a:xfrm>
                <a:off x="12473168" y="5568688"/>
                <a:ext cx="493568" cy="8659"/>
              </a:xfrm>
              <a:custGeom>
                <a:avLst/>
                <a:gdLst>
                  <a:gd name="connsiteX0" fmla="*/ 0 w 493568"/>
                  <a:gd name="connsiteY0" fmla="*/ 0 h 0"/>
                  <a:gd name="connsiteX1" fmla="*/ 500496 w 493568"/>
                  <a:gd name="connsiteY1" fmla="*/ 0 h 0"/>
                </a:gdLst>
                <a:ahLst/>
                <a:cxnLst>
                  <a:cxn ang="0">
                    <a:pos x="connsiteX0" y="connsiteY0"/>
                  </a:cxn>
                  <a:cxn ang="0">
                    <a:pos x="connsiteX1" y="connsiteY1"/>
                  </a:cxn>
                </a:cxnLst>
                <a:rect l="l" t="t" r="r" b="b"/>
                <a:pathLst>
                  <a:path w="493568">
                    <a:moveTo>
                      <a:pt x="0" y="0"/>
                    </a:moveTo>
                    <a:lnTo>
                      <a:pt x="500496" y="0"/>
                    </a:lnTo>
                  </a:path>
                </a:pathLst>
              </a:custGeom>
              <a:ln w="11509" cap="flat">
                <a:solidFill>
                  <a:schemeClr val="accent4"/>
                </a:solidFill>
                <a:prstDash val="solid"/>
                <a:miter/>
              </a:ln>
            </p:spPr>
            <p:txBody>
              <a:bodyPr rtlCol="0" anchor="ctr"/>
              <a:lstStyle/>
              <a:p>
                <a:endParaRPr lang="en-ZA" sz="1600" dirty="0">
                  <a:latin typeface="+mn-lt"/>
                </a:endParaRPr>
              </a:p>
            </p:txBody>
          </p:sp>
        </p:grpSp>
      </p:grpSp>
      <p:cxnSp>
        <p:nvCxnSpPr>
          <p:cNvPr id="115" name="Straight Connector 114">
            <a:extLst>
              <a:ext uri="{FF2B5EF4-FFF2-40B4-BE49-F238E27FC236}">
                <a16:creationId xmlns:a16="http://schemas.microsoft.com/office/drawing/2014/main" id="{3B28563E-1CE0-45C2-B71E-2D763A8FEFA3}"/>
              </a:ext>
            </a:extLst>
          </p:cNvPr>
          <p:cNvCxnSpPr>
            <a:cxnSpLocks/>
          </p:cNvCxnSpPr>
          <p:nvPr/>
        </p:nvCxnSpPr>
        <p:spPr>
          <a:xfrm>
            <a:off x="8231437" y="1818479"/>
            <a:ext cx="3424698" cy="0"/>
          </a:xfrm>
          <a:prstGeom prst="line">
            <a:avLst/>
          </a:prstGeom>
          <a:ln>
            <a:solidFill>
              <a:srgbClr val="3B473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6F1D27E-729B-450C-A820-96AD125E85EC}"/>
              </a:ext>
            </a:extLst>
          </p:cNvPr>
          <p:cNvSpPr txBox="1"/>
          <p:nvPr/>
        </p:nvSpPr>
        <p:spPr>
          <a:xfrm>
            <a:off x="8565642" y="1286570"/>
            <a:ext cx="3090494" cy="492443"/>
          </a:xfrm>
          <a:prstGeom prst="rect">
            <a:avLst/>
          </a:prstGeom>
        </p:spPr>
        <p:txBody>
          <a:bodyPr vert="horz" wrap="square" lIns="0" tIns="0" rIns="0" bIns="0" rtlCol="0" anchor="b" anchorCtr="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accent3"/>
                </a:solidFill>
              </a:rPr>
              <a:t>Prepare for at-scale delivery of the vaccine in Africa</a:t>
            </a:r>
            <a:endParaRPr lang="en-GB" b="1" dirty="0">
              <a:solidFill>
                <a:schemeClr val="accent3"/>
              </a:solidFill>
            </a:endParaRPr>
          </a:p>
        </p:txBody>
      </p:sp>
    </p:spTree>
    <p:extLst>
      <p:ext uri="{BB962C8B-B14F-4D97-AF65-F5344CB8AC3E}">
        <p14:creationId xmlns:p14="http://schemas.microsoft.com/office/powerpoint/2010/main" val="34795920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76F5B4A7-9834-41B0-9358-CB8182F5D2B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28" imgW="395" imgH="394" progId="TCLayout.ActiveDocument.1">
                  <p:embed/>
                </p:oleObj>
              </mc:Choice>
              <mc:Fallback>
                <p:oleObj name="think-cell Slide" r:id="rId28" imgW="395" imgH="394"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2B499D18-0C12-412A-BBCD-4BEDEE91D497}"/>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ZA" sz="2400" dirty="0">
              <a:solidFill>
                <a:schemeClr val="tx1"/>
              </a:solidFill>
              <a:latin typeface="Arial" panose="020B0604020202020204" pitchFamily="34" charset="0"/>
              <a:ea typeface="+mj-ea"/>
              <a:cs typeface="+mj-cs"/>
              <a:sym typeface="Arial" panose="020B0604020202020204" pitchFamily="34" charset="0"/>
            </a:endParaRPr>
          </a:p>
        </p:txBody>
      </p:sp>
      <p:grpSp>
        <p:nvGrpSpPr>
          <p:cNvPr id="56" name="Group 55">
            <a:extLst>
              <a:ext uri="{FF2B5EF4-FFF2-40B4-BE49-F238E27FC236}">
                <a16:creationId xmlns:a16="http://schemas.microsoft.com/office/drawing/2014/main" id="{E7CC5AB5-62E2-4462-8A6E-DC504461B575}"/>
              </a:ext>
            </a:extLst>
          </p:cNvPr>
          <p:cNvGrpSpPr/>
          <p:nvPr/>
        </p:nvGrpSpPr>
        <p:grpSpPr>
          <a:xfrm>
            <a:off x="14288" y="1570416"/>
            <a:ext cx="12177712" cy="5287584"/>
            <a:chOff x="14288" y="884617"/>
            <a:chExt cx="12177712" cy="5287584"/>
          </a:xfrm>
        </p:grpSpPr>
        <p:pic>
          <p:nvPicPr>
            <p:cNvPr id="753671" name="Picture 7">
              <a:extLst>
                <a:ext uri="{FF2B5EF4-FFF2-40B4-BE49-F238E27FC236}">
                  <a16:creationId xmlns:a16="http://schemas.microsoft.com/office/drawing/2014/main" id="{47B9C90E-F946-4D1A-88AD-AC45F2FCC30A}"/>
                </a:ext>
              </a:extLst>
            </p:cNvPr>
            <p:cNvPicPr>
              <a:picLocks noChangeArrowheads="1"/>
            </p:cNvPicPr>
            <p:nvPr/>
          </p:nvPicPr>
          <p:blipFill rotWithShape="1">
            <a:blip r:embed="rId30">
              <a:extLst>
                <a:ext uri="{28A0092B-C50C-407E-A947-70E740481C1C}">
                  <a14:useLocalDpi xmlns:a14="http://schemas.microsoft.com/office/drawing/2010/main" val="0"/>
                </a:ext>
              </a:extLst>
            </a:blip>
            <a:srcRect t="31556" b="13074"/>
            <a:stretch/>
          </p:blipFill>
          <p:spPr bwMode="auto">
            <a:xfrm>
              <a:off x="14288" y="884617"/>
              <a:ext cx="12177712" cy="5287584"/>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1F617CEC-9A77-4614-9D25-DDCB557DB93E}"/>
                </a:ext>
              </a:extLst>
            </p:cNvPr>
            <p:cNvSpPr>
              <a:spLocks/>
            </p:cNvSpPr>
            <p:nvPr/>
          </p:nvSpPr>
          <p:spPr>
            <a:xfrm>
              <a:off x="14288" y="884617"/>
              <a:ext cx="12177712" cy="5287584"/>
            </a:xfrm>
            <a:prstGeom prst="rect">
              <a:avLst/>
            </a:prstGeom>
            <a:gradFill flip="none" rotWithShape="1">
              <a:gsLst>
                <a:gs pos="100000">
                  <a:schemeClr val="bg1">
                    <a:alpha val="86000"/>
                  </a:schemeClr>
                </a:gs>
                <a:gs pos="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2" name="Title 1">
            <a:extLst>
              <a:ext uri="{FF2B5EF4-FFF2-40B4-BE49-F238E27FC236}">
                <a16:creationId xmlns:a16="http://schemas.microsoft.com/office/drawing/2014/main" id="{B7848C26-43F4-4D1D-88FA-495AA8B828B2}"/>
              </a:ext>
            </a:extLst>
          </p:cNvPr>
          <p:cNvSpPr>
            <a:spLocks noGrp="1"/>
          </p:cNvSpPr>
          <p:nvPr>
            <p:ph type="title"/>
          </p:nvPr>
        </p:nvSpPr>
        <p:spPr bwMode="auto">
          <a:xfrm>
            <a:off x="233259" y="433461"/>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nchorCtr="0">
            <a:spAutoFit/>
          </a:bodyPr>
          <a:lstStyle/>
          <a:p>
            <a:r>
              <a:rPr lang="en-ZA" dirty="0"/>
              <a:t>Fully vaccinating the entire African population is expected to cost $23-35 B</a:t>
            </a:r>
          </a:p>
        </p:txBody>
      </p:sp>
      <p:graphicFrame>
        <p:nvGraphicFramePr>
          <p:cNvPr id="44" name="Chart 43">
            <a:extLst>
              <a:ext uri="{FF2B5EF4-FFF2-40B4-BE49-F238E27FC236}">
                <a16:creationId xmlns:a16="http://schemas.microsoft.com/office/drawing/2014/main" id="{9DDCFF47-9F2C-41DA-A524-BB353758EE59}"/>
              </a:ext>
            </a:extLst>
          </p:cNvPr>
          <p:cNvGraphicFramePr/>
          <p:nvPr>
            <p:custDataLst>
              <p:tags r:id="rId4"/>
            </p:custDataLst>
            <p:extLst/>
          </p:nvPr>
        </p:nvGraphicFramePr>
        <p:xfrm>
          <a:off x="8575675" y="2833688"/>
          <a:ext cx="3427413" cy="2886075"/>
        </p:xfrm>
        <a:graphic>
          <a:graphicData uri="http://schemas.openxmlformats.org/drawingml/2006/chart">
            <c:chart xmlns:c="http://schemas.openxmlformats.org/drawingml/2006/chart" xmlns:r="http://schemas.openxmlformats.org/officeDocument/2006/relationships" r:id="rId31"/>
          </a:graphicData>
        </a:graphic>
      </p:graphicFrame>
      <p:cxnSp>
        <p:nvCxnSpPr>
          <p:cNvPr id="10" name="Straight Connector 9">
            <a:extLst>
              <a:ext uri="{FF2B5EF4-FFF2-40B4-BE49-F238E27FC236}">
                <a16:creationId xmlns:a16="http://schemas.microsoft.com/office/drawing/2014/main" id="{12C477A5-854A-4E9C-8987-1964365613A7}"/>
              </a:ext>
            </a:extLst>
          </p:cNvPr>
          <p:cNvCxnSpPr/>
          <p:nvPr>
            <p:custDataLst>
              <p:tags r:id="rId5"/>
            </p:custDataLst>
          </p:nvPr>
        </p:nvCxnSpPr>
        <p:spPr bwMode="auto">
          <a:xfrm>
            <a:off x="10987088" y="2916238"/>
            <a:ext cx="777875" cy="0"/>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FD84741-1BB5-4163-B7FC-6991FD4B63C8}"/>
              </a:ext>
            </a:extLst>
          </p:cNvPr>
          <p:cNvCxnSpPr/>
          <p:nvPr>
            <p:custDataLst>
              <p:tags r:id="rId6"/>
            </p:custDataLst>
          </p:nvPr>
        </p:nvCxnSpPr>
        <p:spPr bwMode="auto">
          <a:xfrm>
            <a:off x="10987088" y="2916238"/>
            <a:ext cx="0" cy="933450"/>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92FAAAB-4179-4788-B8D0-767CB70DB790}"/>
              </a:ext>
            </a:extLst>
          </p:cNvPr>
          <p:cNvCxnSpPr/>
          <p:nvPr>
            <p:custDataLst>
              <p:tags r:id="rId7"/>
            </p:custDataLst>
          </p:nvPr>
        </p:nvCxnSpPr>
        <p:spPr bwMode="auto">
          <a:xfrm>
            <a:off x="11764963" y="2916238"/>
            <a:ext cx="0" cy="933450"/>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DF99B00-46A1-4BF7-87FE-66CFFE2C1AEC}"/>
              </a:ext>
            </a:extLst>
          </p:cNvPr>
          <p:cNvCxnSpPr/>
          <p:nvPr>
            <p:custDataLst>
              <p:tags r:id="rId8"/>
            </p:custDataLst>
          </p:nvPr>
        </p:nvCxnSpPr>
        <p:spPr bwMode="auto">
          <a:xfrm>
            <a:off x="9899650" y="4005263"/>
            <a:ext cx="777875" cy="0"/>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37FD48D-DC88-4366-A0F8-7A691C27F0C1}"/>
              </a:ext>
            </a:extLst>
          </p:cNvPr>
          <p:cNvCxnSpPr/>
          <p:nvPr>
            <p:custDataLst>
              <p:tags r:id="rId9"/>
            </p:custDataLst>
          </p:nvPr>
        </p:nvCxnSpPr>
        <p:spPr bwMode="auto">
          <a:xfrm>
            <a:off x="9899650" y="4005262"/>
            <a:ext cx="0" cy="387350"/>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87115EA-9894-4149-804F-0605B1B6960E}"/>
              </a:ext>
            </a:extLst>
          </p:cNvPr>
          <p:cNvCxnSpPr/>
          <p:nvPr>
            <p:custDataLst>
              <p:tags r:id="rId10"/>
            </p:custDataLst>
          </p:nvPr>
        </p:nvCxnSpPr>
        <p:spPr bwMode="auto">
          <a:xfrm>
            <a:off x="10677525" y="4005262"/>
            <a:ext cx="0" cy="387350"/>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9296E1A-488E-4118-A7B2-8D2C97B32F25}"/>
              </a:ext>
            </a:extLst>
          </p:cNvPr>
          <p:cNvCxnSpPr/>
          <p:nvPr>
            <p:custDataLst>
              <p:tags r:id="rId11"/>
            </p:custDataLst>
          </p:nvPr>
        </p:nvCxnSpPr>
        <p:spPr bwMode="auto">
          <a:xfrm>
            <a:off x="9590088" y="5092700"/>
            <a:ext cx="0" cy="155575"/>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6B12357-96D5-4337-B13C-40F34F46921B}"/>
              </a:ext>
            </a:extLst>
          </p:cNvPr>
          <p:cNvCxnSpPr/>
          <p:nvPr>
            <p:custDataLst>
              <p:tags r:id="rId12"/>
            </p:custDataLst>
          </p:nvPr>
        </p:nvCxnSpPr>
        <p:spPr bwMode="auto">
          <a:xfrm>
            <a:off x="8812213" y="5092700"/>
            <a:ext cx="777875" cy="0"/>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38D76E9-D4A2-4D6F-BFB2-991C60CF1C68}"/>
              </a:ext>
            </a:extLst>
          </p:cNvPr>
          <p:cNvCxnSpPr/>
          <p:nvPr>
            <p:custDataLst>
              <p:tags r:id="rId13"/>
            </p:custDataLst>
          </p:nvPr>
        </p:nvCxnSpPr>
        <p:spPr bwMode="auto">
          <a:xfrm>
            <a:off x="8812213" y="5092700"/>
            <a:ext cx="0" cy="155575"/>
          </a:xfrm>
          <a:prstGeom prst="line">
            <a:avLst/>
          </a:prstGeom>
          <a:ln w="952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Text Placeholder 2">
            <a:extLst>
              <a:ext uri="{FF2B5EF4-FFF2-40B4-BE49-F238E27FC236}">
                <a16:creationId xmlns:a16="http://schemas.microsoft.com/office/drawing/2014/main" id="{1DD1DE47-7000-4D10-8487-BCC62C3C3816}"/>
              </a:ext>
            </a:extLst>
          </p:cNvPr>
          <p:cNvSpPr>
            <a:spLocks noGrp="1"/>
          </p:cNvSpPr>
          <p:nvPr>
            <p:custDataLst>
              <p:tags r:id="rId14"/>
            </p:custDataLst>
          </p:nvPr>
        </p:nvSpPr>
        <p:spPr bwMode="gray">
          <a:xfrm>
            <a:off x="11215688" y="2616200"/>
            <a:ext cx="320675"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fld id="{92591699-B4AC-4A7D-A5B1-3F0112084237}" type="datetime'''''''''''''''''''''3''''5'''''''''''''''''''">
              <a:rPr lang="en-ZA" altLang="en-US" sz="1800" smtClean="0">
                <a:sym typeface="+mn-lt"/>
              </a:rPr>
              <a:pPr/>
              <a:t>35</a:t>
            </a:fld>
            <a:endParaRPr lang="en-ZA" sz="1800" dirty="0">
              <a:sym typeface="+mn-lt"/>
            </a:endParaRPr>
          </a:p>
        </p:txBody>
      </p:sp>
      <p:sp>
        <p:nvSpPr>
          <p:cNvPr id="68" name="Text Placeholder 2">
            <a:extLst>
              <a:ext uri="{FF2B5EF4-FFF2-40B4-BE49-F238E27FC236}">
                <a16:creationId xmlns:a16="http://schemas.microsoft.com/office/drawing/2014/main" id="{9E3FDA26-0960-4D1A-97BC-5082A7BCE006}"/>
              </a:ext>
            </a:extLst>
          </p:cNvPr>
          <p:cNvSpPr>
            <a:spLocks noGrp="1"/>
          </p:cNvSpPr>
          <p:nvPr>
            <p:custDataLst>
              <p:tags r:id="rId15"/>
            </p:custDataLst>
          </p:nvPr>
        </p:nvSpPr>
        <p:spPr bwMode="auto">
          <a:xfrm>
            <a:off x="10053638" y="5713412"/>
            <a:ext cx="4699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r>
              <a:rPr lang="en-ZA" altLang="en-US" sz="1800" dirty="0">
                <a:sym typeface="+mn-lt"/>
              </a:rPr>
              <a:t>60%</a:t>
            </a:r>
            <a:endParaRPr lang="en-ZA" sz="1800" dirty="0">
              <a:sym typeface="+mn-lt"/>
            </a:endParaRPr>
          </a:p>
        </p:txBody>
      </p:sp>
      <p:sp>
        <p:nvSpPr>
          <p:cNvPr id="67" name="Text Placeholder 2">
            <a:extLst>
              <a:ext uri="{FF2B5EF4-FFF2-40B4-BE49-F238E27FC236}">
                <a16:creationId xmlns:a16="http://schemas.microsoft.com/office/drawing/2014/main" id="{193217EB-A09C-43FC-AB57-2F46E494A597}"/>
              </a:ext>
            </a:extLst>
          </p:cNvPr>
          <p:cNvSpPr>
            <a:spLocks noGrp="1"/>
          </p:cNvSpPr>
          <p:nvPr>
            <p:custDataLst>
              <p:tags r:id="rId16"/>
            </p:custDataLst>
          </p:nvPr>
        </p:nvSpPr>
        <p:spPr bwMode="auto">
          <a:xfrm>
            <a:off x="8966200" y="5713412"/>
            <a:ext cx="4699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r>
              <a:rPr lang="en-ZA" altLang="en-US" sz="1800" dirty="0">
                <a:sym typeface="+mn-lt"/>
              </a:rPr>
              <a:t>20%</a:t>
            </a:r>
            <a:endParaRPr lang="en-ZA" sz="1800" dirty="0">
              <a:sym typeface="+mn-lt"/>
            </a:endParaRPr>
          </a:p>
        </p:txBody>
      </p:sp>
      <p:sp>
        <p:nvSpPr>
          <p:cNvPr id="73" name="Text Placeholder 2">
            <a:extLst>
              <a:ext uri="{FF2B5EF4-FFF2-40B4-BE49-F238E27FC236}">
                <a16:creationId xmlns:a16="http://schemas.microsoft.com/office/drawing/2014/main" id="{1D843AD6-9188-4AF4-AE3F-A690994E966D}"/>
              </a:ext>
            </a:extLst>
          </p:cNvPr>
          <p:cNvSpPr>
            <a:spLocks noGrp="1"/>
          </p:cNvSpPr>
          <p:nvPr>
            <p:custDataLst>
              <p:tags r:id="rId17"/>
            </p:custDataLst>
          </p:nvPr>
        </p:nvSpPr>
        <p:spPr bwMode="auto">
          <a:xfrm>
            <a:off x="11077575" y="5713413"/>
            <a:ext cx="5969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r>
              <a:rPr lang="en-ZA" altLang="en-US" sz="1800" dirty="0">
                <a:sym typeface="+mn-lt"/>
              </a:rPr>
              <a:t>100%</a:t>
            </a:r>
            <a:endParaRPr lang="en-ZA" sz="1800" dirty="0">
              <a:sym typeface="+mn-lt"/>
            </a:endParaRPr>
          </a:p>
        </p:txBody>
      </p:sp>
      <p:sp>
        <p:nvSpPr>
          <p:cNvPr id="59" name="Text Placeholder 2">
            <a:extLst>
              <a:ext uri="{FF2B5EF4-FFF2-40B4-BE49-F238E27FC236}">
                <a16:creationId xmlns:a16="http://schemas.microsoft.com/office/drawing/2014/main" id="{11892F08-F8AA-41D8-AEA7-8D1D84D2303B}"/>
              </a:ext>
            </a:extLst>
          </p:cNvPr>
          <p:cNvSpPr>
            <a:spLocks noGrp="1"/>
          </p:cNvSpPr>
          <p:nvPr>
            <p:custDataLst>
              <p:tags r:id="rId18"/>
            </p:custDataLst>
          </p:nvPr>
        </p:nvSpPr>
        <p:spPr bwMode="gray">
          <a:xfrm>
            <a:off x="9104313" y="4792663"/>
            <a:ext cx="193675"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fld id="{A70EFFD8-15E9-4833-9DEA-8BA870289B69}" type="datetime'7'''''''''''''''''''''''''''''''''''''''''">
              <a:rPr lang="en-ZA" altLang="en-US" sz="1800" smtClean="0">
                <a:sym typeface="+mn-lt"/>
              </a:rPr>
              <a:pPr/>
              <a:t>7</a:t>
            </a:fld>
            <a:endParaRPr lang="en-ZA" sz="1800" dirty="0">
              <a:sym typeface="+mn-lt"/>
            </a:endParaRPr>
          </a:p>
        </p:txBody>
      </p:sp>
      <p:sp>
        <p:nvSpPr>
          <p:cNvPr id="64" name="Text Placeholder 2">
            <a:extLst>
              <a:ext uri="{FF2B5EF4-FFF2-40B4-BE49-F238E27FC236}">
                <a16:creationId xmlns:a16="http://schemas.microsoft.com/office/drawing/2014/main" id="{BA81B61F-1506-44F9-89D3-1BD1530D4190}"/>
              </a:ext>
            </a:extLst>
          </p:cNvPr>
          <p:cNvSpPr>
            <a:spLocks noGrp="1"/>
          </p:cNvSpPr>
          <p:nvPr>
            <p:custDataLst>
              <p:tags r:id="rId19"/>
            </p:custDataLst>
          </p:nvPr>
        </p:nvSpPr>
        <p:spPr bwMode="gray">
          <a:xfrm>
            <a:off x="10128250" y="3705225"/>
            <a:ext cx="320675"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algn="ctr"/>
            <a:fld id="{714BDA59-8945-4FB4-B001-A9684F606C74}" type="datetime'''''2''''''''''''''''''''''''''''1'''''''''''''''''''''''">
              <a:rPr lang="en-ZA" altLang="en-US" sz="1800" smtClean="0">
                <a:sym typeface="+mn-lt"/>
              </a:rPr>
              <a:pPr algn="ctr"/>
              <a:t>21</a:t>
            </a:fld>
            <a:endParaRPr lang="en-ZA" sz="1800" dirty="0">
              <a:sym typeface="+mn-lt"/>
            </a:endParaRPr>
          </a:p>
        </p:txBody>
      </p:sp>
      <p:sp>
        <p:nvSpPr>
          <p:cNvPr id="98" name="4. Footnote">
            <a:extLst>
              <a:ext uri="{FF2B5EF4-FFF2-40B4-BE49-F238E27FC236}">
                <a16:creationId xmlns:a16="http://schemas.microsoft.com/office/drawing/2014/main" id="{08E60CAD-8F42-44F3-B682-1F8D5732D789}"/>
              </a:ext>
            </a:extLst>
          </p:cNvPr>
          <p:cNvSpPr txBox="1">
            <a:spLocks noChangeArrowheads="1"/>
          </p:cNvSpPr>
          <p:nvPr/>
        </p:nvSpPr>
        <p:spPr bwMode="auto">
          <a:xfrm>
            <a:off x="1395309" y="6385824"/>
            <a:ext cx="905837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ZA" sz="1000" baseline="0" dirty="0">
                <a:solidFill>
                  <a:schemeClr val="tx1"/>
                </a:solidFill>
                <a:latin typeface="+mn-lt"/>
                <a:ea typeface="+mn-ea"/>
              </a:rPr>
              <a:t>1	Assumptions: 1.3 billion population, 2 dose regimen, country income group price tiering</a:t>
            </a:r>
            <a:r>
              <a:rPr lang="en-ZA" sz="1000" dirty="0">
                <a:latin typeface="+mn-lt"/>
              </a:rPr>
              <a:t>; wastage: 10% (lower bound), 20% (upper bound); delivery</a:t>
            </a:r>
            <a:r>
              <a:rPr lang="en-ZA" sz="1000" baseline="0" dirty="0">
                <a:solidFill>
                  <a:schemeClr val="tx1"/>
                </a:solidFill>
                <a:latin typeface="+mn-lt"/>
                <a:ea typeface="+mn-ea"/>
              </a:rPr>
              <a:t> $1.8/dose (lower bound), $3.5/dose (upper bound)</a:t>
            </a:r>
            <a:endParaRPr lang="en-US" sz="1000" baseline="0" dirty="0">
              <a:solidFill>
                <a:schemeClr val="tx1"/>
              </a:solidFill>
              <a:latin typeface="+mn-lt"/>
              <a:ea typeface="+mn-ea"/>
            </a:endParaRPr>
          </a:p>
        </p:txBody>
      </p:sp>
      <p:sp>
        <p:nvSpPr>
          <p:cNvPr id="3" name="Rectangle 2">
            <a:extLst>
              <a:ext uri="{FF2B5EF4-FFF2-40B4-BE49-F238E27FC236}">
                <a16:creationId xmlns:a16="http://schemas.microsoft.com/office/drawing/2014/main" id="{8CD505D7-6087-4660-BE6E-121C8C31AD48}"/>
              </a:ext>
            </a:extLst>
          </p:cNvPr>
          <p:cNvSpPr/>
          <p:nvPr>
            <p:custDataLst>
              <p:tags r:id="rId20"/>
            </p:custDataLst>
          </p:nvPr>
        </p:nvSpPr>
        <p:spPr bwMode="auto">
          <a:xfrm>
            <a:off x="9534525" y="1055688"/>
            <a:ext cx="165100" cy="165100"/>
          </a:xfrm>
          <a:prstGeom prst="rect">
            <a:avLst/>
          </a:prstGeom>
          <a:noFill/>
          <a:ln w="9525" cap="flat" cmpd="sng" algn="ctr">
            <a:solidFill>
              <a:schemeClr val="tx1"/>
            </a:solidFill>
            <a:prstDash val="lgDash"/>
            <a:round/>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5" name="Rectangle 4">
            <a:extLst>
              <a:ext uri="{FF2B5EF4-FFF2-40B4-BE49-F238E27FC236}">
                <a16:creationId xmlns:a16="http://schemas.microsoft.com/office/drawing/2014/main" id="{A4DACBD9-5E0D-451F-B8B2-62A9950F6C17}"/>
              </a:ext>
            </a:extLst>
          </p:cNvPr>
          <p:cNvSpPr/>
          <p:nvPr>
            <p:custDataLst>
              <p:tags r:id="rId21"/>
            </p:custDataLst>
          </p:nvPr>
        </p:nvSpPr>
        <p:spPr bwMode="auto">
          <a:xfrm>
            <a:off x="10728325" y="1055688"/>
            <a:ext cx="165100" cy="165100"/>
          </a:xfrm>
          <a:prstGeom prst="rect">
            <a:avLst/>
          </a:prstGeom>
          <a:solidFill>
            <a:schemeClr val="tx2"/>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71" name="Text Placeholder 2">
            <a:extLst>
              <a:ext uri="{FF2B5EF4-FFF2-40B4-BE49-F238E27FC236}">
                <a16:creationId xmlns:a16="http://schemas.microsoft.com/office/drawing/2014/main" id="{F01C9B1A-03FF-4FA6-93CF-E6EEA1351FAD}"/>
              </a:ext>
            </a:extLst>
          </p:cNvPr>
          <p:cNvSpPr>
            <a:spLocks noGrp="1"/>
          </p:cNvSpPr>
          <p:nvPr>
            <p:custDataLst>
              <p:tags r:id="rId22"/>
            </p:custDataLst>
          </p:nvPr>
        </p:nvSpPr>
        <p:spPr bwMode="auto">
          <a:xfrm>
            <a:off x="9750425" y="1054100"/>
            <a:ext cx="8763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r>
              <a:rPr lang="en-US" altLang="en-US" sz="1200" dirty="0">
                <a:sym typeface="+mn-lt"/>
              </a:rPr>
              <a:t>Upper bound</a:t>
            </a:r>
            <a:endParaRPr lang="en-US" sz="1200" dirty="0">
              <a:sym typeface="+mn-lt"/>
            </a:endParaRPr>
          </a:p>
        </p:txBody>
      </p:sp>
      <p:sp>
        <p:nvSpPr>
          <p:cNvPr id="70" name="Text Placeholder 2">
            <a:extLst>
              <a:ext uri="{FF2B5EF4-FFF2-40B4-BE49-F238E27FC236}">
                <a16:creationId xmlns:a16="http://schemas.microsoft.com/office/drawing/2014/main" id="{7CF44C1F-18FE-46C9-B98E-A268FE8440C7}"/>
              </a:ext>
            </a:extLst>
          </p:cNvPr>
          <p:cNvSpPr>
            <a:spLocks noGrp="1"/>
          </p:cNvSpPr>
          <p:nvPr>
            <p:custDataLst>
              <p:tags r:id="rId23"/>
            </p:custDataLst>
          </p:nvPr>
        </p:nvSpPr>
        <p:spPr bwMode="auto">
          <a:xfrm>
            <a:off x="10944225" y="1054100"/>
            <a:ext cx="8763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r>
              <a:rPr lang="en-US" altLang="en-US" sz="1200" dirty="0">
                <a:sym typeface="+mn-lt"/>
              </a:rPr>
              <a:t>Lower bound</a:t>
            </a:r>
            <a:endParaRPr lang="en-US" sz="1200" dirty="0">
              <a:sym typeface="+mn-lt"/>
            </a:endParaRPr>
          </a:p>
        </p:txBody>
      </p:sp>
      <p:sp>
        <p:nvSpPr>
          <p:cNvPr id="45" name="TextBox 44">
            <a:extLst>
              <a:ext uri="{FF2B5EF4-FFF2-40B4-BE49-F238E27FC236}">
                <a16:creationId xmlns:a16="http://schemas.microsoft.com/office/drawing/2014/main" id="{D326E7E0-52A0-486C-B304-978E6D649ACB}"/>
              </a:ext>
            </a:extLst>
          </p:cNvPr>
          <p:cNvSpPr txBox="1">
            <a:spLocks/>
          </p:cNvSpPr>
          <p:nvPr/>
        </p:nvSpPr>
        <p:spPr>
          <a:xfrm>
            <a:off x="8618643" y="1790100"/>
            <a:ext cx="3340100" cy="276225"/>
          </a:xfrm>
          <a:prstGeom prst="rect">
            <a:avLst/>
          </a:prstGeom>
        </p:spPr>
        <p:txBody>
          <a:bodyPr vert="horz" wrap="square" lIns="0" tIns="0" rIns="0" bIns="0" rtlCol="0" anchor="b" anchorCtr="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accent5"/>
                </a:solidFill>
              </a:rPr>
              <a:t>Indicative cost of vaccination</a:t>
            </a:r>
            <a:r>
              <a:rPr lang="en-US" sz="1800" b="1" baseline="30000" dirty="0">
                <a:solidFill>
                  <a:schemeClr val="accent5"/>
                </a:solidFill>
              </a:rPr>
              <a:t>1</a:t>
            </a:r>
          </a:p>
        </p:txBody>
      </p:sp>
      <p:sp>
        <p:nvSpPr>
          <p:cNvPr id="99" name="Freeform 15">
            <a:extLst>
              <a:ext uri="{FF2B5EF4-FFF2-40B4-BE49-F238E27FC236}">
                <a16:creationId xmlns:a16="http://schemas.microsoft.com/office/drawing/2014/main" id="{16E67CC9-760F-4F10-8495-1B271E8FCC2D}"/>
              </a:ext>
            </a:extLst>
          </p:cNvPr>
          <p:cNvSpPr>
            <a:spLocks noEditPoints="1"/>
          </p:cNvSpPr>
          <p:nvPr/>
        </p:nvSpPr>
        <p:spPr bwMode="auto">
          <a:xfrm>
            <a:off x="211513" y="1590201"/>
            <a:ext cx="3920538" cy="4359670"/>
          </a:xfrm>
          <a:custGeom>
            <a:avLst/>
            <a:gdLst>
              <a:gd name="T0" fmla="*/ 5009 w 9555"/>
              <a:gd name="T1" fmla="*/ 10568 h 10680"/>
              <a:gd name="T2" fmla="*/ 4930 w 9555"/>
              <a:gd name="T3" fmla="*/ 10319 h 10680"/>
              <a:gd name="T4" fmla="*/ 4562 w 9555"/>
              <a:gd name="T5" fmla="*/ 9524 h 10680"/>
              <a:gd name="T6" fmla="*/ 4361 w 9555"/>
              <a:gd name="T7" fmla="*/ 8697 h 10680"/>
              <a:gd name="T8" fmla="*/ 4179 w 9555"/>
              <a:gd name="T9" fmla="*/ 7506 h 10680"/>
              <a:gd name="T10" fmla="*/ 4258 w 9555"/>
              <a:gd name="T11" fmla="*/ 6884 h 10680"/>
              <a:gd name="T12" fmla="*/ 4074 w 9555"/>
              <a:gd name="T13" fmla="*/ 6243 h 10680"/>
              <a:gd name="T14" fmla="*/ 3761 w 9555"/>
              <a:gd name="T15" fmla="*/ 5366 h 10680"/>
              <a:gd name="T16" fmla="*/ 3431 w 9555"/>
              <a:gd name="T17" fmla="*/ 4923 h 10680"/>
              <a:gd name="T18" fmla="*/ 2879 w 9555"/>
              <a:gd name="T19" fmla="*/ 4640 h 10680"/>
              <a:gd name="T20" fmla="*/ 2207 w 9555"/>
              <a:gd name="T21" fmla="*/ 4861 h 10680"/>
              <a:gd name="T22" fmla="*/ 1255 w 9555"/>
              <a:gd name="T23" fmla="*/ 4903 h 10680"/>
              <a:gd name="T24" fmla="*/ 254 w 9555"/>
              <a:gd name="T25" fmla="*/ 3930 h 10680"/>
              <a:gd name="T26" fmla="*/ 0 w 9555"/>
              <a:gd name="T27" fmla="*/ 3451 h 10680"/>
              <a:gd name="T28" fmla="*/ 157 w 9555"/>
              <a:gd name="T29" fmla="*/ 2716 h 10680"/>
              <a:gd name="T30" fmla="*/ 262 w 9555"/>
              <a:gd name="T31" fmla="*/ 2166 h 10680"/>
              <a:gd name="T32" fmla="*/ 757 w 9555"/>
              <a:gd name="T33" fmla="*/ 1507 h 10680"/>
              <a:gd name="T34" fmla="*/ 1133 w 9555"/>
              <a:gd name="T35" fmla="*/ 913 h 10680"/>
              <a:gd name="T36" fmla="*/ 1617 w 9555"/>
              <a:gd name="T37" fmla="*/ 326 h 10680"/>
              <a:gd name="T38" fmla="*/ 2209 w 9555"/>
              <a:gd name="T39" fmla="*/ 341 h 10680"/>
              <a:gd name="T40" fmla="*/ 3277 w 9555"/>
              <a:gd name="T41" fmla="*/ 99 h 10680"/>
              <a:gd name="T42" fmla="*/ 3765 w 9555"/>
              <a:gd name="T43" fmla="*/ 0 h 10680"/>
              <a:gd name="T44" fmla="*/ 3943 w 9555"/>
              <a:gd name="T45" fmla="*/ 120 h 10680"/>
              <a:gd name="T46" fmla="*/ 4034 w 9555"/>
              <a:gd name="T47" fmla="*/ 685 h 10680"/>
              <a:gd name="T48" fmla="*/ 5019 w 9555"/>
              <a:gd name="T49" fmla="*/ 1104 h 10680"/>
              <a:gd name="T50" fmla="*/ 5330 w 9555"/>
              <a:gd name="T51" fmla="*/ 768 h 10680"/>
              <a:gd name="T52" fmla="*/ 5772 w 9555"/>
              <a:gd name="T53" fmla="*/ 893 h 10680"/>
              <a:gd name="T54" fmla="*/ 6677 w 9555"/>
              <a:gd name="T55" fmla="*/ 985 h 10680"/>
              <a:gd name="T56" fmla="*/ 7150 w 9555"/>
              <a:gd name="T57" fmla="*/ 1007 h 10680"/>
              <a:gd name="T58" fmla="*/ 7176 w 9555"/>
              <a:gd name="T59" fmla="*/ 1498 h 10680"/>
              <a:gd name="T60" fmla="*/ 6899 w 9555"/>
              <a:gd name="T61" fmla="*/ 1237 h 10680"/>
              <a:gd name="T62" fmla="*/ 7497 w 9555"/>
              <a:gd name="T63" fmla="*/ 2407 h 10680"/>
              <a:gd name="T64" fmla="*/ 7603 w 9555"/>
              <a:gd name="T65" fmla="*/ 2810 h 10680"/>
              <a:gd name="T66" fmla="*/ 7857 w 9555"/>
              <a:gd name="T67" fmla="*/ 3190 h 10680"/>
              <a:gd name="T68" fmla="*/ 8371 w 9555"/>
              <a:gd name="T69" fmla="*/ 3720 h 10680"/>
              <a:gd name="T70" fmla="*/ 8459 w 9555"/>
              <a:gd name="T71" fmla="*/ 3935 h 10680"/>
              <a:gd name="T72" fmla="*/ 8930 w 9555"/>
              <a:gd name="T73" fmla="*/ 3998 h 10680"/>
              <a:gd name="T74" fmla="*/ 9531 w 9555"/>
              <a:gd name="T75" fmla="*/ 3900 h 10680"/>
              <a:gd name="T76" fmla="*/ 8453 w 9555"/>
              <a:gd name="T77" fmla="*/ 5485 h 10680"/>
              <a:gd name="T78" fmla="*/ 7856 w 9555"/>
              <a:gd name="T79" fmla="*/ 6436 h 10680"/>
              <a:gd name="T80" fmla="*/ 8052 w 9555"/>
              <a:gd name="T81" fmla="*/ 7069 h 10680"/>
              <a:gd name="T82" fmla="*/ 7919 w 9555"/>
              <a:gd name="T83" fmla="*/ 7878 h 10680"/>
              <a:gd name="T84" fmla="*/ 7323 w 9555"/>
              <a:gd name="T85" fmla="*/ 8300 h 10680"/>
              <a:gd name="T86" fmla="*/ 7260 w 9555"/>
              <a:gd name="T87" fmla="*/ 8579 h 10680"/>
              <a:gd name="T88" fmla="*/ 7223 w 9555"/>
              <a:gd name="T89" fmla="*/ 9080 h 10680"/>
              <a:gd name="T90" fmla="*/ 6942 w 9555"/>
              <a:gd name="T91" fmla="*/ 9359 h 10680"/>
              <a:gd name="T92" fmla="*/ 6353 w 9555"/>
              <a:gd name="T93" fmla="*/ 10347 h 10680"/>
              <a:gd name="T94" fmla="*/ 5843 w 9555"/>
              <a:gd name="T95" fmla="*/ 10559 h 10680"/>
              <a:gd name="T96" fmla="*/ 5126 w 9555"/>
              <a:gd name="T97" fmla="*/ 10647 h 10680"/>
              <a:gd name="T98" fmla="*/ 8443 w 9555"/>
              <a:gd name="T99" fmla="*/ 8779 h 10680"/>
              <a:gd name="T100" fmla="*/ 8565 w 9555"/>
              <a:gd name="T101" fmla="*/ 8415 h 10680"/>
              <a:gd name="T102" fmla="*/ 8543 w 9555"/>
              <a:gd name="T103" fmla="*/ 7992 h 10680"/>
              <a:gd name="T104" fmla="*/ 9217 w 9555"/>
              <a:gd name="T105" fmla="*/ 7333 h 10680"/>
              <a:gd name="T106" fmla="*/ 9377 w 9555"/>
              <a:gd name="T107" fmla="*/ 7780 h 10680"/>
              <a:gd name="T108" fmla="*/ 9149 w 9555"/>
              <a:gd name="T109" fmla="*/ 8573 h 10680"/>
              <a:gd name="T110" fmla="*/ 8698 w 9555"/>
              <a:gd name="T111" fmla="*/ 9200 h 10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55" h="10680">
                <a:moveTo>
                  <a:pt x="5126" y="10647"/>
                </a:moveTo>
                <a:cubicBezTo>
                  <a:pt x="5109" y="10637"/>
                  <a:pt x="5079" y="10615"/>
                  <a:pt x="5059" y="10596"/>
                </a:cubicBezTo>
                <a:cubicBezTo>
                  <a:pt x="5039" y="10578"/>
                  <a:pt x="5017" y="10565"/>
                  <a:pt x="5009" y="10568"/>
                </a:cubicBezTo>
                <a:cubicBezTo>
                  <a:pt x="5001" y="10571"/>
                  <a:pt x="4987" y="10544"/>
                  <a:pt x="4978" y="10508"/>
                </a:cubicBezTo>
                <a:cubicBezTo>
                  <a:pt x="4969" y="10472"/>
                  <a:pt x="4950" y="10421"/>
                  <a:pt x="4935" y="10393"/>
                </a:cubicBezTo>
                <a:cubicBezTo>
                  <a:pt x="4910" y="10347"/>
                  <a:pt x="4910" y="10342"/>
                  <a:pt x="4930" y="10319"/>
                </a:cubicBezTo>
                <a:cubicBezTo>
                  <a:pt x="4942" y="10306"/>
                  <a:pt x="4955" y="10271"/>
                  <a:pt x="4959" y="10241"/>
                </a:cubicBezTo>
                <a:cubicBezTo>
                  <a:pt x="4967" y="10181"/>
                  <a:pt x="4938" y="10113"/>
                  <a:pt x="4864" y="10021"/>
                </a:cubicBezTo>
                <a:cubicBezTo>
                  <a:pt x="4796" y="9935"/>
                  <a:pt x="4645" y="9687"/>
                  <a:pt x="4562" y="9524"/>
                </a:cubicBezTo>
                <a:cubicBezTo>
                  <a:pt x="4497" y="9396"/>
                  <a:pt x="4463" y="9309"/>
                  <a:pt x="4423" y="9160"/>
                </a:cubicBezTo>
                <a:cubicBezTo>
                  <a:pt x="4418" y="9141"/>
                  <a:pt x="4410" y="9038"/>
                  <a:pt x="4405" y="8931"/>
                </a:cubicBezTo>
                <a:cubicBezTo>
                  <a:pt x="4397" y="8743"/>
                  <a:pt x="4395" y="8733"/>
                  <a:pt x="4361" y="8697"/>
                </a:cubicBezTo>
                <a:cubicBezTo>
                  <a:pt x="4314" y="8647"/>
                  <a:pt x="4155" y="8387"/>
                  <a:pt x="4109" y="8286"/>
                </a:cubicBezTo>
                <a:cubicBezTo>
                  <a:pt x="4045" y="8144"/>
                  <a:pt x="4026" y="8057"/>
                  <a:pt x="4025" y="7906"/>
                </a:cubicBezTo>
                <a:cubicBezTo>
                  <a:pt x="4025" y="7737"/>
                  <a:pt x="4047" y="7679"/>
                  <a:pt x="4179" y="7506"/>
                </a:cubicBezTo>
                <a:cubicBezTo>
                  <a:pt x="4301" y="7347"/>
                  <a:pt x="4323" y="7299"/>
                  <a:pt x="4323" y="7195"/>
                </a:cubicBezTo>
                <a:cubicBezTo>
                  <a:pt x="4323" y="7148"/>
                  <a:pt x="4315" y="7089"/>
                  <a:pt x="4304" y="7064"/>
                </a:cubicBezTo>
                <a:cubicBezTo>
                  <a:pt x="4293" y="7039"/>
                  <a:pt x="4273" y="6957"/>
                  <a:pt x="4258" y="6884"/>
                </a:cubicBezTo>
                <a:cubicBezTo>
                  <a:pt x="4234" y="6764"/>
                  <a:pt x="4213" y="6697"/>
                  <a:pt x="4140" y="6500"/>
                </a:cubicBezTo>
                <a:cubicBezTo>
                  <a:pt x="4129" y="6470"/>
                  <a:pt x="4115" y="6409"/>
                  <a:pt x="4109" y="6363"/>
                </a:cubicBezTo>
                <a:cubicBezTo>
                  <a:pt x="4102" y="6317"/>
                  <a:pt x="4086" y="6263"/>
                  <a:pt x="4074" y="6243"/>
                </a:cubicBezTo>
                <a:cubicBezTo>
                  <a:pt x="4062" y="6223"/>
                  <a:pt x="3984" y="6137"/>
                  <a:pt x="3902" y="6053"/>
                </a:cubicBezTo>
                <a:cubicBezTo>
                  <a:pt x="3632" y="5778"/>
                  <a:pt x="3598" y="5665"/>
                  <a:pt x="3729" y="5486"/>
                </a:cubicBezTo>
                <a:cubicBezTo>
                  <a:pt x="3751" y="5457"/>
                  <a:pt x="3759" y="5425"/>
                  <a:pt x="3761" y="5366"/>
                </a:cubicBezTo>
                <a:cubicBezTo>
                  <a:pt x="3765" y="5258"/>
                  <a:pt x="3777" y="5174"/>
                  <a:pt x="3791" y="5165"/>
                </a:cubicBezTo>
                <a:cubicBezTo>
                  <a:pt x="3832" y="5140"/>
                  <a:pt x="3753" y="5018"/>
                  <a:pt x="3659" y="4963"/>
                </a:cubicBezTo>
                <a:cubicBezTo>
                  <a:pt x="3603" y="4930"/>
                  <a:pt x="3584" y="4927"/>
                  <a:pt x="3431" y="4923"/>
                </a:cubicBezTo>
                <a:cubicBezTo>
                  <a:pt x="3338" y="4920"/>
                  <a:pt x="3249" y="4911"/>
                  <a:pt x="3233" y="4903"/>
                </a:cubicBezTo>
                <a:cubicBezTo>
                  <a:pt x="3216" y="4895"/>
                  <a:pt x="3169" y="4845"/>
                  <a:pt x="3129" y="4793"/>
                </a:cubicBezTo>
                <a:cubicBezTo>
                  <a:pt x="3040" y="4677"/>
                  <a:pt x="2980" y="4640"/>
                  <a:pt x="2879" y="4640"/>
                </a:cubicBezTo>
                <a:cubicBezTo>
                  <a:pt x="2807" y="4640"/>
                  <a:pt x="2661" y="4667"/>
                  <a:pt x="2600" y="4693"/>
                </a:cubicBezTo>
                <a:cubicBezTo>
                  <a:pt x="2583" y="4699"/>
                  <a:pt x="2498" y="4733"/>
                  <a:pt x="2410" y="4767"/>
                </a:cubicBezTo>
                <a:cubicBezTo>
                  <a:pt x="2322" y="4801"/>
                  <a:pt x="2231" y="4843"/>
                  <a:pt x="2207" y="4861"/>
                </a:cubicBezTo>
                <a:cubicBezTo>
                  <a:pt x="2152" y="4903"/>
                  <a:pt x="2092" y="4902"/>
                  <a:pt x="1974" y="4860"/>
                </a:cubicBezTo>
                <a:cubicBezTo>
                  <a:pt x="1851" y="4815"/>
                  <a:pt x="1771" y="4817"/>
                  <a:pt x="1616" y="4867"/>
                </a:cubicBezTo>
                <a:cubicBezTo>
                  <a:pt x="1458" y="4917"/>
                  <a:pt x="1322" y="4931"/>
                  <a:pt x="1255" y="4903"/>
                </a:cubicBezTo>
                <a:cubicBezTo>
                  <a:pt x="1182" y="4872"/>
                  <a:pt x="849" y="4630"/>
                  <a:pt x="764" y="4546"/>
                </a:cubicBezTo>
                <a:cubicBezTo>
                  <a:pt x="718" y="4500"/>
                  <a:pt x="662" y="4422"/>
                  <a:pt x="617" y="4339"/>
                </a:cubicBezTo>
                <a:cubicBezTo>
                  <a:pt x="539" y="4200"/>
                  <a:pt x="512" y="4169"/>
                  <a:pt x="254" y="3930"/>
                </a:cubicBezTo>
                <a:cubicBezTo>
                  <a:pt x="107" y="3794"/>
                  <a:pt x="100" y="3785"/>
                  <a:pt x="92" y="3724"/>
                </a:cubicBezTo>
                <a:cubicBezTo>
                  <a:pt x="75" y="3591"/>
                  <a:pt x="60" y="3536"/>
                  <a:pt x="31" y="3494"/>
                </a:cubicBezTo>
                <a:lnTo>
                  <a:pt x="0" y="3451"/>
                </a:lnTo>
                <a:lnTo>
                  <a:pt x="33" y="3415"/>
                </a:lnTo>
                <a:cubicBezTo>
                  <a:pt x="128" y="3314"/>
                  <a:pt x="203" y="3122"/>
                  <a:pt x="203" y="2982"/>
                </a:cubicBezTo>
                <a:cubicBezTo>
                  <a:pt x="203" y="2927"/>
                  <a:pt x="186" y="2831"/>
                  <a:pt x="157" y="2716"/>
                </a:cubicBezTo>
                <a:cubicBezTo>
                  <a:pt x="131" y="2617"/>
                  <a:pt x="110" y="2505"/>
                  <a:pt x="110" y="2468"/>
                </a:cubicBezTo>
                <a:cubicBezTo>
                  <a:pt x="110" y="2409"/>
                  <a:pt x="117" y="2392"/>
                  <a:pt x="174" y="2317"/>
                </a:cubicBezTo>
                <a:cubicBezTo>
                  <a:pt x="209" y="2271"/>
                  <a:pt x="249" y="2203"/>
                  <a:pt x="262" y="2166"/>
                </a:cubicBezTo>
                <a:cubicBezTo>
                  <a:pt x="301" y="2061"/>
                  <a:pt x="422" y="1831"/>
                  <a:pt x="509" y="1696"/>
                </a:cubicBezTo>
                <a:cubicBezTo>
                  <a:pt x="580" y="1586"/>
                  <a:pt x="598" y="1568"/>
                  <a:pt x="660" y="1539"/>
                </a:cubicBezTo>
                <a:cubicBezTo>
                  <a:pt x="698" y="1521"/>
                  <a:pt x="742" y="1507"/>
                  <a:pt x="757" y="1507"/>
                </a:cubicBezTo>
                <a:cubicBezTo>
                  <a:pt x="794" y="1506"/>
                  <a:pt x="931" y="1423"/>
                  <a:pt x="995" y="1362"/>
                </a:cubicBezTo>
                <a:cubicBezTo>
                  <a:pt x="1069" y="1291"/>
                  <a:pt x="1097" y="1220"/>
                  <a:pt x="1106" y="1076"/>
                </a:cubicBezTo>
                <a:cubicBezTo>
                  <a:pt x="1110" y="1008"/>
                  <a:pt x="1122" y="935"/>
                  <a:pt x="1133" y="913"/>
                </a:cubicBezTo>
                <a:cubicBezTo>
                  <a:pt x="1159" y="862"/>
                  <a:pt x="1237" y="770"/>
                  <a:pt x="1427" y="567"/>
                </a:cubicBezTo>
                <a:cubicBezTo>
                  <a:pt x="1509" y="479"/>
                  <a:pt x="1577" y="402"/>
                  <a:pt x="1577" y="396"/>
                </a:cubicBezTo>
                <a:cubicBezTo>
                  <a:pt x="1577" y="390"/>
                  <a:pt x="1595" y="358"/>
                  <a:pt x="1617" y="326"/>
                </a:cubicBezTo>
                <a:lnTo>
                  <a:pt x="1657" y="268"/>
                </a:lnTo>
                <a:lnTo>
                  <a:pt x="1747" y="313"/>
                </a:lnTo>
                <a:cubicBezTo>
                  <a:pt x="1913" y="397"/>
                  <a:pt x="2120" y="409"/>
                  <a:pt x="2209" y="341"/>
                </a:cubicBezTo>
                <a:cubicBezTo>
                  <a:pt x="2321" y="256"/>
                  <a:pt x="2668" y="128"/>
                  <a:pt x="2905" y="86"/>
                </a:cubicBezTo>
                <a:cubicBezTo>
                  <a:pt x="3032" y="63"/>
                  <a:pt x="3034" y="63"/>
                  <a:pt x="3128" y="93"/>
                </a:cubicBezTo>
                <a:cubicBezTo>
                  <a:pt x="3221" y="122"/>
                  <a:pt x="3225" y="122"/>
                  <a:pt x="3277" y="99"/>
                </a:cubicBezTo>
                <a:cubicBezTo>
                  <a:pt x="3402" y="45"/>
                  <a:pt x="3418" y="42"/>
                  <a:pt x="3483" y="61"/>
                </a:cubicBezTo>
                <a:cubicBezTo>
                  <a:pt x="3570" y="88"/>
                  <a:pt x="3602" y="84"/>
                  <a:pt x="3677" y="40"/>
                </a:cubicBezTo>
                <a:cubicBezTo>
                  <a:pt x="3713" y="18"/>
                  <a:pt x="3753" y="0"/>
                  <a:pt x="3765" y="0"/>
                </a:cubicBezTo>
                <a:cubicBezTo>
                  <a:pt x="3778" y="0"/>
                  <a:pt x="3807" y="21"/>
                  <a:pt x="3832" y="46"/>
                </a:cubicBezTo>
                <a:cubicBezTo>
                  <a:pt x="3877" y="95"/>
                  <a:pt x="3907" y="103"/>
                  <a:pt x="3951" y="79"/>
                </a:cubicBezTo>
                <a:cubicBezTo>
                  <a:pt x="3987" y="60"/>
                  <a:pt x="3983" y="83"/>
                  <a:pt x="3943" y="120"/>
                </a:cubicBezTo>
                <a:cubicBezTo>
                  <a:pt x="3903" y="158"/>
                  <a:pt x="3901" y="198"/>
                  <a:pt x="3937" y="243"/>
                </a:cubicBezTo>
                <a:cubicBezTo>
                  <a:pt x="3970" y="286"/>
                  <a:pt x="3970" y="334"/>
                  <a:pt x="3937" y="389"/>
                </a:cubicBezTo>
                <a:cubicBezTo>
                  <a:pt x="3879" y="484"/>
                  <a:pt x="3924" y="622"/>
                  <a:pt x="4034" y="685"/>
                </a:cubicBezTo>
                <a:cubicBezTo>
                  <a:pt x="4081" y="712"/>
                  <a:pt x="4113" y="718"/>
                  <a:pt x="4230" y="723"/>
                </a:cubicBezTo>
                <a:cubicBezTo>
                  <a:pt x="4403" y="730"/>
                  <a:pt x="4443" y="749"/>
                  <a:pt x="4650" y="915"/>
                </a:cubicBezTo>
                <a:cubicBezTo>
                  <a:pt x="4829" y="1060"/>
                  <a:pt x="4900" y="1096"/>
                  <a:pt x="5019" y="1104"/>
                </a:cubicBezTo>
                <a:cubicBezTo>
                  <a:pt x="5101" y="1109"/>
                  <a:pt x="5111" y="1107"/>
                  <a:pt x="5142" y="1075"/>
                </a:cubicBezTo>
                <a:cubicBezTo>
                  <a:pt x="5172" y="1046"/>
                  <a:pt x="5177" y="1030"/>
                  <a:pt x="5177" y="954"/>
                </a:cubicBezTo>
                <a:cubicBezTo>
                  <a:pt x="5177" y="841"/>
                  <a:pt x="5203" y="809"/>
                  <a:pt x="5330" y="768"/>
                </a:cubicBezTo>
                <a:cubicBezTo>
                  <a:pt x="5430" y="736"/>
                  <a:pt x="5563" y="734"/>
                  <a:pt x="5563" y="765"/>
                </a:cubicBezTo>
                <a:cubicBezTo>
                  <a:pt x="5563" y="774"/>
                  <a:pt x="5587" y="804"/>
                  <a:pt x="5616" y="832"/>
                </a:cubicBezTo>
                <a:cubicBezTo>
                  <a:pt x="5665" y="880"/>
                  <a:pt x="5675" y="884"/>
                  <a:pt x="5772" y="893"/>
                </a:cubicBezTo>
                <a:cubicBezTo>
                  <a:pt x="5831" y="899"/>
                  <a:pt x="5926" y="921"/>
                  <a:pt x="5990" y="944"/>
                </a:cubicBezTo>
                <a:cubicBezTo>
                  <a:pt x="6216" y="1024"/>
                  <a:pt x="6412" y="1056"/>
                  <a:pt x="6517" y="1028"/>
                </a:cubicBezTo>
                <a:cubicBezTo>
                  <a:pt x="6546" y="1021"/>
                  <a:pt x="6618" y="1001"/>
                  <a:pt x="6677" y="985"/>
                </a:cubicBezTo>
                <a:lnTo>
                  <a:pt x="6783" y="956"/>
                </a:lnTo>
                <a:lnTo>
                  <a:pt x="6892" y="993"/>
                </a:lnTo>
                <a:cubicBezTo>
                  <a:pt x="6999" y="1029"/>
                  <a:pt x="7053" y="1032"/>
                  <a:pt x="7150" y="1007"/>
                </a:cubicBezTo>
                <a:cubicBezTo>
                  <a:pt x="7180" y="999"/>
                  <a:pt x="7187" y="1006"/>
                  <a:pt x="7227" y="1089"/>
                </a:cubicBezTo>
                <a:cubicBezTo>
                  <a:pt x="7250" y="1139"/>
                  <a:pt x="7270" y="1199"/>
                  <a:pt x="7270" y="1222"/>
                </a:cubicBezTo>
                <a:cubicBezTo>
                  <a:pt x="7270" y="1262"/>
                  <a:pt x="7198" y="1474"/>
                  <a:pt x="7176" y="1498"/>
                </a:cubicBezTo>
                <a:cubicBezTo>
                  <a:pt x="7156" y="1519"/>
                  <a:pt x="7104" y="1467"/>
                  <a:pt x="7017" y="1338"/>
                </a:cubicBezTo>
                <a:cubicBezTo>
                  <a:pt x="6969" y="1268"/>
                  <a:pt x="6924" y="1209"/>
                  <a:pt x="6917" y="1208"/>
                </a:cubicBezTo>
                <a:cubicBezTo>
                  <a:pt x="6909" y="1207"/>
                  <a:pt x="6901" y="1220"/>
                  <a:pt x="6899" y="1237"/>
                </a:cubicBezTo>
                <a:cubicBezTo>
                  <a:pt x="6896" y="1257"/>
                  <a:pt x="6936" y="1342"/>
                  <a:pt x="7014" y="1477"/>
                </a:cubicBezTo>
                <a:cubicBezTo>
                  <a:pt x="7321" y="2017"/>
                  <a:pt x="7360" y="2089"/>
                  <a:pt x="7368" y="2141"/>
                </a:cubicBezTo>
                <a:cubicBezTo>
                  <a:pt x="7380" y="2221"/>
                  <a:pt x="7423" y="2309"/>
                  <a:pt x="7497" y="2407"/>
                </a:cubicBezTo>
                <a:lnTo>
                  <a:pt x="7563" y="2495"/>
                </a:lnTo>
                <a:lnTo>
                  <a:pt x="7563" y="2625"/>
                </a:lnTo>
                <a:cubicBezTo>
                  <a:pt x="7563" y="2749"/>
                  <a:pt x="7565" y="2759"/>
                  <a:pt x="7603" y="2810"/>
                </a:cubicBezTo>
                <a:cubicBezTo>
                  <a:pt x="7625" y="2840"/>
                  <a:pt x="7655" y="2872"/>
                  <a:pt x="7671" y="2880"/>
                </a:cubicBezTo>
                <a:cubicBezTo>
                  <a:pt x="7686" y="2889"/>
                  <a:pt x="7722" y="2916"/>
                  <a:pt x="7750" y="2942"/>
                </a:cubicBezTo>
                <a:cubicBezTo>
                  <a:pt x="7804" y="2990"/>
                  <a:pt x="7829" y="3048"/>
                  <a:pt x="7857" y="3190"/>
                </a:cubicBezTo>
                <a:cubicBezTo>
                  <a:pt x="7876" y="3288"/>
                  <a:pt x="7912" y="3330"/>
                  <a:pt x="8042" y="3408"/>
                </a:cubicBezTo>
                <a:cubicBezTo>
                  <a:pt x="8120" y="3455"/>
                  <a:pt x="8157" y="3487"/>
                  <a:pt x="8190" y="3538"/>
                </a:cubicBezTo>
                <a:cubicBezTo>
                  <a:pt x="8255" y="3637"/>
                  <a:pt x="8322" y="3704"/>
                  <a:pt x="8371" y="3720"/>
                </a:cubicBezTo>
                <a:cubicBezTo>
                  <a:pt x="8405" y="3731"/>
                  <a:pt x="8416" y="3744"/>
                  <a:pt x="8423" y="3781"/>
                </a:cubicBezTo>
                <a:cubicBezTo>
                  <a:pt x="8427" y="3807"/>
                  <a:pt x="8428" y="3839"/>
                  <a:pt x="8423" y="3854"/>
                </a:cubicBezTo>
                <a:cubicBezTo>
                  <a:pt x="8417" y="3871"/>
                  <a:pt x="8429" y="3897"/>
                  <a:pt x="8459" y="3935"/>
                </a:cubicBezTo>
                <a:cubicBezTo>
                  <a:pt x="8538" y="4035"/>
                  <a:pt x="8600" y="4093"/>
                  <a:pt x="8626" y="4093"/>
                </a:cubicBezTo>
                <a:cubicBezTo>
                  <a:pt x="8641" y="4093"/>
                  <a:pt x="8679" y="4074"/>
                  <a:pt x="8711" y="4050"/>
                </a:cubicBezTo>
                <a:cubicBezTo>
                  <a:pt x="8767" y="4008"/>
                  <a:pt x="8777" y="4006"/>
                  <a:pt x="8930" y="3998"/>
                </a:cubicBezTo>
                <a:cubicBezTo>
                  <a:pt x="9065" y="3990"/>
                  <a:pt x="9116" y="3980"/>
                  <a:pt x="9258" y="3935"/>
                </a:cubicBezTo>
                <a:cubicBezTo>
                  <a:pt x="9351" y="3906"/>
                  <a:pt x="9448" y="3878"/>
                  <a:pt x="9474" y="3873"/>
                </a:cubicBezTo>
                <a:cubicBezTo>
                  <a:pt x="9518" y="3864"/>
                  <a:pt x="9523" y="3867"/>
                  <a:pt x="9531" y="3900"/>
                </a:cubicBezTo>
                <a:cubicBezTo>
                  <a:pt x="9555" y="3995"/>
                  <a:pt x="9493" y="4223"/>
                  <a:pt x="9386" y="4426"/>
                </a:cubicBezTo>
                <a:cubicBezTo>
                  <a:pt x="9358" y="4481"/>
                  <a:pt x="9242" y="4666"/>
                  <a:pt x="9129" y="4835"/>
                </a:cubicBezTo>
                <a:cubicBezTo>
                  <a:pt x="8878" y="5213"/>
                  <a:pt x="8882" y="5208"/>
                  <a:pt x="8453" y="5485"/>
                </a:cubicBezTo>
                <a:cubicBezTo>
                  <a:pt x="8206" y="5644"/>
                  <a:pt x="8081" y="5792"/>
                  <a:pt x="8011" y="6008"/>
                </a:cubicBezTo>
                <a:cubicBezTo>
                  <a:pt x="7999" y="6045"/>
                  <a:pt x="7963" y="6107"/>
                  <a:pt x="7930" y="6145"/>
                </a:cubicBezTo>
                <a:cubicBezTo>
                  <a:pt x="7848" y="6241"/>
                  <a:pt x="7835" y="6289"/>
                  <a:pt x="7856" y="6436"/>
                </a:cubicBezTo>
                <a:cubicBezTo>
                  <a:pt x="7865" y="6500"/>
                  <a:pt x="7877" y="6602"/>
                  <a:pt x="7883" y="6662"/>
                </a:cubicBezTo>
                <a:cubicBezTo>
                  <a:pt x="7895" y="6777"/>
                  <a:pt x="7905" y="6799"/>
                  <a:pt x="7998" y="6915"/>
                </a:cubicBezTo>
                <a:cubicBezTo>
                  <a:pt x="8067" y="7000"/>
                  <a:pt x="8077" y="7030"/>
                  <a:pt x="8052" y="7069"/>
                </a:cubicBezTo>
                <a:cubicBezTo>
                  <a:pt x="8038" y="7091"/>
                  <a:pt x="8030" y="7163"/>
                  <a:pt x="8024" y="7313"/>
                </a:cubicBezTo>
                <a:cubicBezTo>
                  <a:pt x="8016" y="7497"/>
                  <a:pt x="8018" y="7532"/>
                  <a:pt x="8037" y="7571"/>
                </a:cubicBezTo>
                <a:cubicBezTo>
                  <a:pt x="8083" y="7662"/>
                  <a:pt x="8029" y="7802"/>
                  <a:pt x="7919" y="7878"/>
                </a:cubicBezTo>
                <a:cubicBezTo>
                  <a:pt x="7887" y="7900"/>
                  <a:pt x="7780" y="7957"/>
                  <a:pt x="7682" y="8006"/>
                </a:cubicBezTo>
                <a:cubicBezTo>
                  <a:pt x="7475" y="8107"/>
                  <a:pt x="7417" y="8150"/>
                  <a:pt x="7377" y="8232"/>
                </a:cubicBezTo>
                <a:cubicBezTo>
                  <a:pt x="7361" y="8265"/>
                  <a:pt x="7337" y="8295"/>
                  <a:pt x="7323" y="8300"/>
                </a:cubicBezTo>
                <a:cubicBezTo>
                  <a:pt x="7310" y="8304"/>
                  <a:pt x="7276" y="8332"/>
                  <a:pt x="7249" y="8362"/>
                </a:cubicBezTo>
                <a:cubicBezTo>
                  <a:pt x="7207" y="8409"/>
                  <a:pt x="7201" y="8423"/>
                  <a:pt x="7208" y="8464"/>
                </a:cubicBezTo>
                <a:cubicBezTo>
                  <a:pt x="7212" y="8489"/>
                  <a:pt x="7236" y="8541"/>
                  <a:pt x="7260" y="8579"/>
                </a:cubicBezTo>
                <a:cubicBezTo>
                  <a:pt x="7285" y="8616"/>
                  <a:pt x="7313" y="8666"/>
                  <a:pt x="7322" y="8690"/>
                </a:cubicBezTo>
                <a:cubicBezTo>
                  <a:pt x="7345" y="8746"/>
                  <a:pt x="7336" y="8978"/>
                  <a:pt x="7309" y="9033"/>
                </a:cubicBezTo>
                <a:cubicBezTo>
                  <a:pt x="7292" y="9068"/>
                  <a:pt x="7280" y="9074"/>
                  <a:pt x="7223" y="9080"/>
                </a:cubicBezTo>
                <a:cubicBezTo>
                  <a:pt x="7186" y="9084"/>
                  <a:pt x="7136" y="9098"/>
                  <a:pt x="7112" y="9111"/>
                </a:cubicBezTo>
                <a:cubicBezTo>
                  <a:pt x="7051" y="9144"/>
                  <a:pt x="6952" y="9236"/>
                  <a:pt x="6928" y="9284"/>
                </a:cubicBezTo>
                <a:cubicBezTo>
                  <a:pt x="6909" y="9321"/>
                  <a:pt x="6909" y="9325"/>
                  <a:pt x="6942" y="9359"/>
                </a:cubicBezTo>
                <a:cubicBezTo>
                  <a:pt x="7014" y="9433"/>
                  <a:pt x="6982" y="9525"/>
                  <a:pt x="6831" y="9686"/>
                </a:cubicBezTo>
                <a:cubicBezTo>
                  <a:pt x="6755" y="9766"/>
                  <a:pt x="6707" y="9833"/>
                  <a:pt x="6669" y="9907"/>
                </a:cubicBezTo>
                <a:cubicBezTo>
                  <a:pt x="6601" y="10044"/>
                  <a:pt x="6434" y="10275"/>
                  <a:pt x="6353" y="10347"/>
                </a:cubicBezTo>
                <a:cubicBezTo>
                  <a:pt x="6269" y="10420"/>
                  <a:pt x="6228" y="10441"/>
                  <a:pt x="6117" y="10462"/>
                </a:cubicBezTo>
                <a:cubicBezTo>
                  <a:pt x="6060" y="10473"/>
                  <a:pt x="6016" y="10489"/>
                  <a:pt x="6006" y="10503"/>
                </a:cubicBezTo>
                <a:cubicBezTo>
                  <a:pt x="5988" y="10528"/>
                  <a:pt x="5896" y="10559"/>
                  <a:pt x="5843" y="10559"/>
                </a:cubicBezTo>
                <a:cubicBezTo>
                  <a:pt x="5825" y="10559"/>
                  <a:pt x="5798" y="10550"/>
                  <a:pt x="5784" y="10539"/>
                </a:cubicBezTo>
                <a:cubicBezTo>
                  <a:pt x="5728" y="10497"/>
                  <a:pt x="5585" y="10519"/>
                  <a:pt x="5424" y="10594"/>
                </a:cubicBezTo>
                <a:cubicBezTo>
                  <a:pt x="5270" y="10666"/>
                  <a:pt x="5187" y="10680"/>
                  <a:pt x="5126" y="10647"/>
                </a:cubicBezTo>
                <a:close/>
                <a:moveTo>
                  <a:pt x="8565" y="9153"/>
                </a:moveTo>
                <a:cubicBezTo>
                  <a:pt x="8491" y="9087"/>
                  <a:pt x="8467" y="9029"/>
                  <a:pt x="8468" y="8921"/>
                </a:cubicBezTo>
                <a:cubicBezTo>
                  <a:pt x="8469" y="8856"/>
                  <a:pt x="8462" y="8816"/>
                  <a:pt x="8443" y="8779"/>
                </a:cubicBezTo>
                <a:cubicBezTo>
                  <a:pt x="8428" y="8751"/>
                  <a:pt x="8417" y="8703"/>
                  <a:pt x="8417" y="8673"/>
                </a:cubicBezTo>
                <a:cubicBezTo>
                  <a:pt x="8417" y="8628"/>
                  <a:pt x="8425" y="8611"/>
                  <a:pt x="8465" y="8572"/>
                </a:cubicBezTo>
                <a:cubicBezTo>
                  <a:pt x="8492" y="8547"/>
                  <a:pt x="8536" y="8478"/>
                  <a:pt x="8565" y="8415"/>
                </a:cubicBezTo>
                <a:lnTo>
                  <a:pt x="8617" y="8303"/>
                </a:lnTo>
                <a:lnTo>
                  <a:pt x="8584" y="8215"/>
                </a:lnTo>
                <a:cubicBezTo>
                  <a:pt x="8538" y="8091"/>
                  <a:pt x="8532" y="8061"/>
                  <a:pt x="8543" y="7992"/>
                </a:cubicBezTo>
                <a:cubicBezTo>
                  <a:pt x="8556" y="7906"/>
                  <a:pt x="8608" y="7853"/>
                  <a:pt x="8732" y="7800"/>
                </a:cubicBezTo>
                <a:cubicBezTo>
                  <a:pt x="8864" y="7745"/>
                  <a:pt x="8921" y="7705"/>
                  <a:pt x="9037" y="7584"/>
                </a:cubicBezTo>
                <a:cubicBezTo>
                  <a:pt x="9198" y="7418"/>
                  <a:pt x="9217" y="7392"/>
                  <a:pt x="9217" y="7333"/>
                </a:cubicBezTo>
                <a:cubicBezTo>
                  <a:pt x="9217" y="7289"/>
                  <a:pt x="9221" y="7280"/>
                  <a:pt x="9242" y="7280"/>
                </a:cubicBezTo>
                <a:cubicBezTo>
                  <a:pt x="9303" y="7280"/>
                  <a:pt x="9346" y="7379"/>
                  <a:pt x="9396" y="7633"/>
                </a:cubicBezTo>
                <a:cubicBezTo>
                  <a:pt x="9425" y="7786"/>
                  <a:pt x="9425" y="7790"/>
                  <a:pt x="9377" y="7780"/>
                </a:cubicBezTo>
                <a:cubicBezTo>
                  <a:pt x="9337" y="7771"/>
                  <a:pt x="9337" y="7772"/>
                  <a:pt x="9336" y="7829"/>
                </a:cubicBezTo>
                <a:cubicBezTo>
                  <a:pt x="9336" y="7902"/>
                  <a:pt x="9302" y="8117"/>
                  <a:pt x="9275" y="8213"/>
                </a:cubicBezTo>
                <a:cubicBezTo>
                  <a:pt x="9252" y="8293"/>
                  <a:pt x="9195" y="8457"/>
                  <a:pt x="9149" y="8573"/>
                </a:cubicBezTo>
                <a:cubicBezTo>
                  <a:pt x="9134" y="8613"/>
                  <a:pt x="9101" y="8704"/>
                  <a:pt x="9076" y="8774"/>
                </a:cubicBezTo>
                <a:cubicBezTo>
                  <a:pt x="9012" y="8958"/>
                  <a:pt x="8973" y="9039"/>
                  <a:pt x="8919" y="9101"/>
                </a:cubicBezTo>
                <a:cubicBezTo>
                  <a:pt x="8855" y="9174"/>
                  <a:pt x="8798" y="9200"/>
                  <a:pt x="8698" y="9200"/>
                </a:cubicBezTo>
                <a:cubicBezTo>
                  <a:pt x="8624" y="9200"/>
                  <a:pt x="8612" y="9196"/>
                  <a:pt x="8565" y="9153"/>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TextBox 33">
            <a:extLst>
              <a:ext uri="{FF2B5EF4-FFF2-40B4-BE49-F238E27FC236}">
                <a16:creationId xmlns:a16="http://schemas.microsoft.com/office/drawing/2014/main" id="{46041EF5-02E5-43EB-BD27-3605DFFB101D}"/>
              </a:ext>
            </a:extLst>
          </p:cNvPr>
          <p:cNvSpPr txBox="1"/>
          <p:nvPr/>
        </p:nvSpPr>
        <p:spPr>
          <a:xfrm>
            <a:off x="1311276" y="2302851"/>
            <a:ext cx="2070379" cy="861796"/>
          </a:xfrm>
          <a:prstGeom prst="rect">
            <a:avLst/>
          </a:prstGeom>
        </p:spPr>
        <p:txBody>
          <a:bodyPr vert="horz" wrap="square" lIns="0" tIns="0" rIns="0" bIns="0" rtlCol="0" anchor="b" anchorCtr="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buClr>
                <a:schemeClr val="bg1"/>
              </a:buClr>
            </a:pPr>
            <a:r>
              <a:rPr lang="en-US" sz="3200" b="1" dirty="0">
                <a:solidFill>
                  <a:schemeClr val="bg1"/>
                </a:solidFill>
              </a:rPr>
              <a:t>1,3 billion</a:t>
            </a:r>
            <a:r>
              <a:rPr lang="en-US" sz="3600" dirty="0">
                <a:solidFill>
                  <a:schemeClr val="bg1"/>
                </a:solidFill>
              </a:rPr>
              <a:t> </a:t>
            </a:r>
            <a:r>
              <a:rPr lang="en-US" sz="1800" dirty="0">
                <a:solidFill>
                  <a:schemeClr val="bg1"/>
                </a:solidFill>
              </a:rPr>
              <a:t>Population of Africa </a:t>
            </a:r>
            <a:endParaRPr lang="en-US" sz="3600" dirty="0">
              <a:solidFill>
                <a:schemeClr val="bg1"/>
              </a:solidFill>
            </a:endParaRPr>
          </a:p>
        </p:txBody>
      </p:sp>
      <p:grpSp>
        <p:nvGrpSpPr>
          <p:cNvPr id="4" name="Group 3">
            <a:extLst>
              <a:ext uri="{FF2B5EF4-FFF2-40B4-BE49-F238E27FC236}">
                <a16:creationId xmlns:a16="http://schemas.microsoft.com/office/drawing/2014/main" id="{B41C8403-5022-46C6-A4FC-9CFA92B5BD6C}"/>
              </a:ext>
            </a:extLst>
          </p:cNvPr>
          <p:cNvGrpSpPr/>
          <p:nvPr/>
        </p:nvGrpSpPr>
        <p:grpSpPr>
          <a:xfrm>
            <a:off x="4683538" y="1301372"/>
            <a:ext cx="3084399" cy="1319725"/>
            <a:chOff x="4683538" y="1301372"/>
            <a:chExt cx="3084399" cy="1319725"/>
          </a:xfrm>
        </p:grpSpPr>
        <p:sp>
          <p:nvSpPr>
            <p:cNvPr id="37" name="TextBox 36">
              <a:extLst>
                <a:ext uri="{FF2B5EF4-FFF2-40B4-BE49-F238E27FC236}">
                  <a16:creationId xmlns:a16="http://schemas.microsoft.com/office/drawing/2014/main" id="{A8A3A9B4-F741-42E6-8933-DDFA4D5472E5}"/>
                </a:ext>
              </a:extLst>
            </p:cNvPr>
            <p:cNvSpPr txBox="1"/>
            <p:nvPr/>
          </p:nvSpPr>
          <p:spPr>
            <a:xfrm>
              <a:off x="4683538" y="1790100"/>
              <a:ext cx="3084399" cy="830997"/>
            </a:xfrm>
            <a:prstGeom prst="rect">
              <a:avLst/>
            </a:prstGeom>
          </p:spPr>
          <p:txBody>
            <a:bodyPr vert="horz" wrap="square" lIns="0" tIns="0" rIns="0" bIns="0" rtlCol="0" anchor="b" anchorCtr="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ZA" sz="1800" b="1" dirty="0">
                  <a:solidFill>
                    <a:schemeClr val="accent5"/>
                  </a:solidFill>
                </a:rPr>
                <a:t>Number of COVID-19 vaccine doses required for full population </a:t>
              </a:r>
            </a:p>
          </p:txBody>
        </p:sp>
        <p:pic>
          <p:nvPicPr>
            <p:cNvPr id="40" name="CustomIcon">
              <a:extLst>
                <a:ext uri="{FF2B5EF4-FFF2-40B4-BE49-F238E27FC236}">
                  <a16:creationId xmlns:a16="http://schemas.microsoft.com/office/drawing/2014/main" id="{D1019CD9-2021-4F6B-83A9-7B474294CD35}"/>
                </a:ext>
              </a:extLst>
            </p:cNvPr>
            <p:cNvPicPr>
              <a:picLocks noChangeAspect="1"/>
            </p:cNvPicPr>
            <p:nvPr>
              <p:custDataLst>
                <p:tags r:id="rId26"/>
              </p:custDataLst>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683538" y="1301372"/>
              <a:ext cx="455712" cy="455724"/>
            </a:xfrm>
            <a:prstGeom prst="rect">
              <a:avLst/>
            </a:prstGeom>
          </p:spPr>
        </p:pic>
      </p:grpSp>
      <p:pic>
        <p:nvPicPr>
          <p:cNvPr id="48" name="CustomIcon">
            <a:extLst>
              <a:ext uri="{FF2B5EF4-FFF2-40B4-BE49-F238E27FC236}">
                <a16:creationId xmlns:a16="http://schemas.microsoft.com/office/drawing/2014/main" id="{91FC3CAA-DF41-45F5-A5CA-0B53D7507D6A}"/>
              </a:ext>
            </a:extLst>
          </p:cNvPr>
          <p:cNvPicPr>
            <a:picLocks noChangeAspect="1"/>
          </p:cNvPicPr>
          <p:nvPr>
            <p:custDataLst>
              <p:tags r:id="rId24"/>
            </p:custDataLst>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8618643" y="1301372"/>
            <a:ext cx="391051" cy="391061"/>
          </a:xfrm>
          <a:prstGeom prst="rect">
            <a:avLst/>
          </a:prstGeom>
        </p:spPr>
      </p:pic>
      <p:pic>
        <p:nvPicPr>
          <p:cNvPr id="28" name="CustomIcon">
            <a:extLst>
              <a:ext uri="{FF2B5EF4-FFF2-40B4-BE49-F238E27FC236}">
                <a16:creationId xmlns:a16="http://schemas.microsoft.com/office/drawing/2014/main" id="{6AD2F8EE-1D3D-411C-961B-A33DAD0408F0}"/>
              </a:ext>
            </a:extLst>
          </p:cNvPr>
          <p:cNvPicPr>
            <a:picLocks noChangeAspect="1"/>
          </p:cNvPicPr>
          <p:nvPr>
            <p:custDataLst>
              <p:tags r:id="rId25"/>
            </p:custDataLst>
          </p:nvPr>
        </p:nvPicPr>
        <p:blipFill>
          <a:blip r:embed="rId36" cstate="print">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10989" y="2510155"/>
            <a:ext cx="569090" cy="569104"/>
          </a:xfrm>
          <a:prstGeom prst="rect">
            <a:avLst/>
          </a:prstGeom>
        </p:spPr>
      </p:pic>
      <p:pic>
        <p:nvPicPr>
          <p:cNvPr id="152" name="Picture 151">
            <a:extLst>
              <a:ext uri="{FF2B5EF4-FFF2-40B4-BE49-F238E27FC236}">
                <a16:creationId xmlns:a16="http://schemas.microsoft.com/office/drawing/2014/main" id="{323F7AFE-5B0D-4AFC-AC51-61A5C1C2CCF7}"/>
              </a:ext>
            </a:extLst>
          </p:cNvPr>
          <p:cNvPicPr/>
          <p:nvPr/>
        </p:nvPicPr>
        <p:blipFill>
          <a:blip r:embed="rId38" cstate="print">
            <a:extLst>
              <a:ext uri="{28A0092B-C50C-407E-A947-70E740481C1C}">
                <a14:useLocalDpi xmlns:a14="http://schemas.microsoft.com/office/drawing/2010/main" val="0"/>
              </a:ext>
            </a:extLst>
          </a:blip>
          <a:stretch>
            <a:fillRect/>
          </a:stretch>
        </p:blipFill>
        <p:spPr>
          <a:xfrm>
            <a:off x="10651240" y="6273876"/>
            <a:ext cx="1228910" cy="571875"/>
          </a:xfrm>
          <a:prstGeom prst="rect">
            <a:avLst/>
          </a:prstGeom>
          <a:ln>
            <a:noFill/>
          </a:ln>
          <a:effectLst/>
        </p:spPr>
      </p:pic>
      <p:sp>
        <p:nvSpPr>
          <p:cNvPr id="153" name="Slide Number">
            <a:extLst>
              <a:ext uri="{FF2B5EF4-FFF2-40B4-BE49-F238E27FC236}">
                <a16:creationId xmlns:a16="http://schemas.microsoft.com/office/drawing/2014/main" id="{A2F63CA9-1B04-4799-A4BD-288A17C96AF8}"/>
              </a:ext>
            </a:extLst>
          </p:cNvPr>
          <p:cNvSpPr txBox="1">
            <a:spLocks/>
          </p:cNvSpPr>
          <p:nvPr/>
        </p:nvSpPr>
        <p:spPr bwMode="auto">
          <a:xfrm>
            <a:off x="11929063" y="66312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23</a:t>
            </a:fld>
            <a:endParaRPr lang="en-US" sz="1000" baseline="0" dirty="0">
              <a:solidFill>
                <a:schemeClr val="tx1"/>
              </a:solidFill>
              <a:latin typeface="+mn-lt"/>
            </a:endParaRPr>
          </a:p>
        </p:txBody>
      </p:sp>
      <p:pic>
        <p:nvPicPr>
          <p:cNvPr id="154" name="Picture 153" descr="African Union">
            <a:extLst>
              <a:ext uri="{FF2B5EF4-FFF2-40B4-BE49-F238E27FC236}">
                <a16:creationId xmlns:a16="http://schemas.microsoft.com/office/drawing/2014/main" id="{EE2A4619-9DC9-4649-92B6-AF10F7F5D0AA}"/>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29954" y="6303969"/>
            <a:ext cx="1228910" cy="522766"/>
          </a:xfrm>
          <a:prstGeom prst="rect">
            <a:avLst/>
          </a:prstGeom>
          <a:ln w="38100" cap="sq">
            <a:noFill/>
            <a:prstDash val="solid"/>
            <a:miter lim="800000"/>
          </a:ln>
          <a:effectLst/>
        </p:spPr>
      </p:pic>
      <p:cxnSp>
        <p:nvCxnSpPr>
          <p:cNvPr id="8" name="Straight Connector 7">
            <a:extLst>
              <a:ext uri="{FF2B5EF4-FFF2-40B4-BE49-F238E27FC236}">
                <a16:creationId xmlns:a16="http://schemas.microsoft.com/office/drawing/2014/main" id="{5AB45B58-C843-4E72-BEE0-9C7194921EFD}"/>
              </a:ext>
            </a:extLst>
          </p:cNvPr>
          <p:cNvCxnSpPr/>
          <p:nvPr/>
        </p:nvCxnSpPr>
        <p:spPr>
          <a:xfrm>
            <a:off x="8193290" y="1235987"/>
            <a:ext cx="0" cy="4690251"/>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CCBC25F-4A6F-466C-841F-E82294A7E9F3}"/>
              </a:ext>
            </a:extLst>
          </p:cNvPr>
          <p:cNvSpPr txBox="1">
            <a:spLocks/>
          </p:cNvSpPr>
          <p:nvPr/>
        </p:nvSpPr>
        <p:spPr>
          <a:xfrm>
            <a:off x="8618643" y="2122205"/>
            <a:ext cx="334010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ZA" sz="1400" dirty="0"/>
              <a:t>$B, share of total population vaccinated</a:t>
            </a:r>
          </a:p>
        </p:txBody>
      </p:sp>
      <p:cxnSp>
        <p:nvCxnSpPr>
          <p:cNvPr id="47" name="Straight Connector 46">
            <a:extLst>
              <a:ext uri="{FF2B5EF4-FFF2-40B4-BE49-F238E27FC236}">
                <a16:creationId xmlns:a16="http://schemas.microsoft.com/office/drawing/2014/main" id="{0332AC86-9A1F-401E-9F89-56C8470293EF}"/>
              </a:ext>
            </a:extLst>
          </p:cNvPr>
          <p:cNvCxnSpPr/>
          <p:nvPr/>
        </p:nvCxnSpPr>
        <p:spPr>
          <a:xfrm>
            <a:off x="4370483" y="1235987"/>
            <a:ext cx="0" cy="4690251"/>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93BCF310-4DB2-4D08-95CD-02CB6E10B322}"/>
              </a:ext>
            </a:extLst>
          </p:cNvPr>
          <p:cNvSpPr txBox="1"/>
          <p:nvPr/>
        </p:nvSpPr>
        <p:spPr>
          <a:xfrm>
            <a:off x="4918587" y="3280684"/>
            <a:ext cx="2614300" cy="1846659"/>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ZA" sz="6000" b="1" dirty="0">
                <a:solidFill>
                  <a:srgbClr val="303D24"/>
                </a:solidFill>
              </a:rPr>
              <a:t>~3 billion</a:t>
            </a:r>
          </a:p>
        </p:txBody>
      </p:sp>
    </p:spTree>
    <p:extLst>
      <p:ext uri="{BB962C8B-B14F-4D97-AF65-F5344CB8AC3E}">
        <p14:creationId xmlns:p14="http://schemas.microsoft.com/office/powerpoint/2010/main" val="19248644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a:t>What is next?</a:t>
            </a:r>
            <a:endParaRPr lang="en-US" dirty="0"/>
          </a:p>
        </p:txBody>
      </p:sp>
      <p:sp>
        <p:nvSpPr>
          <p:cNvPr id="3" name="TextBox 2"/>
          <p:cNvSpPr txBox="1"/>
          <p:nvPr/>
        </p:nvSpPr>
        <p:spPr>
          <a:xfrm>
            <a:off x="711199" y="1219200"/>
            <a:ext cx="11247543" cy="332398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800" dirty="0">
                <a:solidFill>
                  <a:schemeClr val="tx1"/>
                </a:solidFill>
                <a:latin typeface="+mj-lt"/>
              </a:rPr>
              <a:t>Preparedness for 2</a:t>
            </a:r>
            <a:r>
              <a:rPr lang="en-US" sz="2800" baseline="30000" dirty="0">
                <a:solidFill>
                  <a:schemeClr val="tx1"/>
                </a:solidFill>
                <a:latin typeface="+mj-lt"/>
              </a:rPr>
              <a:t>nd</a:t>
            </a:r>
            <a:r>
              <a:rPr lang="en-US" sz="2800" dirty="0">
                <a:solidFill>
                  <a:schemeClr val="tx1"/>
                </a:solidFill>
                <a:latin typeface="+mj-lt"/>
              </a:rPr>
              <a:t> wave</a:t>
            </a:r>
          </a:p>
          <a:p>
            <a:pPr marL="285750" indent="-285750">
              <a:lnSpc>
                <a:spcPct val="150000"/>
              </a:lnSpc>
              <a:buFont typeface="Arial" panose="020B0604020202020204" pitchFamily="34" charset="0"/>
              <a:buChar char="•"/>
            </a:pPr>
            <a:r>
              <a:rPr lang="en-US" sz="2800" dirty="0">
                <a:solidFill>
                  <a:schemeClr val="tx1"/>
                </a:solidFill>
                <a:latin typeface="+mj-lt"/>
              </a:rPr>
              <a:t>Continuation of PACT (Test, Trace, and Treat)</a:t>
            </a:r>
          </a:p>
          <a:p>
            <a:pPr marL="285750" indent="-285750">
              <a:lnSpc>
                <a:spcPct val="150000"/>
              </a:lnSpc>
              <a:buFont typeface="Arial" panose="020B0604020202020204" pitchFamily="34" charset="0"/>
              <a:buChar char="•"/>
            </a:pPr>
            <a:r>
              <a:rPr lang="en-US" sz="2800" dirty="0">
                <a:solidFill>
                  <a:schemeClr val="tx1"/>
                </a:solidFill>
                <a:latin typeface="+mj-lt"/>
              </a:rPr>
              <a:t>Vaccination ( Vaccine Trials, accessibility &amp; availability and regulation)</a:t>
            </a:r>
          </a:p>
          <a:p>
            <a:pPr marL="285750" indent="-285750">
              <a:lnSpc>
                <a:spcPct val="150000"/>
              </a:lnSpc>
              <a:buFont typeface="Arial" panose="020B0604020202020204" pitchFamily="34" charset="0"/>
              <a:buChar char="•"/>
            </a:pPr>
            <a:r>
              <a:rPr lang="en-US" sz="2800" dirty="0">
                <a:solidFill>
                  <a:schemeClr val="tx1"/>
                </a:solidFill>
                <a:latin typeface="+mj-lt"/>
              </a:rPr>
              <a:t>Africa against COVID-19: Saving Lives, Economies, and Livelihoods</a:t>
            </a:r>
          </a:p>
        </p:txBody>
      </p:sp>
    </p:spTree>
    <p:extLst>
      <p:ext uri="{BB962C8B-B14F-4D97-AF65-F5344CB8AC3E}">
        <p14:creationId xmlns:p14="http://schemas.microsoft.com/office/powerpoint/2010/main" val="904364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903"/>
        <p:cNvGrpSpPr/>
        <p:nvPr/>
      </p:nvGrpSpPr>
      <p:grpSpPr>
        <a:xfrm>
          <a:off x="0" y="0"/>
          <a:ext cx="0" cy="0"/>
          <a:chOff x="0" y="0"/>
          <a:chExt cx="0" cy="0"/>
        </a:xfrm>
      </p:grpSpPr>
      <p:sp>
        <p:nvSpPr>
          <p:cNvPr id="904" name="Google Shape;904;p64"/>
          <p:cNvSpPr txBox="1">
            <a:spLocks noGrp="1"/>
          </p:cNvSpPr>
          <p:nvPr>
            <p:ph type="body" idx="1"/>
          </p:nvPr>
        </p:nvSpPr>
        <p:spPr>
          <a:xfrm>
            <a:off x="430000" y="1400575"/>
            <a:ext cx="4871400" cy="3498900"/>
          </a:xfrm>
          <a:prstGeom prst="rect">
            <a:avLst/>
          </a:prstGeom>
        </p:spPr>
        <p:txBody>
          <a:bodyPr spcFirstLastPara="1" wrap="square" lIns="396000" tIns="45700" rIns="90000" bIns="45700" anchor="ctr" anchorCtr="0">
            <a:noAutofit/>
          </a:bodyPr>
          <a:lstStyle/>
          <a:p>
            <a:pPr marL="0" lvl="0" indent="0" algn="l" rtl="0">
              <a:spcBef>
                <a:spcPts val="1000"/>
              </a:spcBef>
              <a:spcAft>
                <a:spcPts val="0"/>
              </a:spcAft>
              <a:buNone/>
            </a:pPr>
            <a:r>
              <a:rPr lang="en-US" sz="4500" b="1"/>
              <a:t>Thank you!</a:t>
            </a:r>
            <a:endParaRPr sz="4500" b="1"/>
          </a:p>
          <a:p>
            <a:pPr marL="0" lvl="0" indent="0" algn="l" rtl="0">
              <a:spcBef>
                <a:spcPts val="1000"/>
              </a:spcBef>
              <a:spcAft>
                <a:spcPts val="0"/>
              </a:spcAft>
              <a:buNone/>
            </a:pPr>
            <a:r>
              <a:rPr lang="en-US" sz="2000" i="1"/>
              <a:t>For more information please contact: </a:t>
            </a:r>
            <a:r>
              <a:rPr lang="en-US" sz="2000" i="1" u="sng">
                <a:solidFill>
                  <a:schemeClr val="hlink"/>
                </a:solidFill>
                <a:hlinkClick r:id="rId3"/>
              </a:rPr>
              <a:t>AfricaCDCEBS@africa-union.org</a:t>
            </a:r>
            <a:r>
              <a:rPr lang="en-US" sz="2000" i="1"/>
              <a:t> </a:t>
            </a:r>
            <a:endParaRPr sz="2000" i="1"/>
          </a:p>
          <a:p>
            <a:pPr marL="0" lvl="0" indent="0" algn="l" rtl="0">
              <a:spcBef>
                <a:spcPts val="1000"/>
              </a:spcBef>
              <a:spcAft>
                <a:spcPts val="0"/>
              </a:spcAft>
              <a:buNone/>
            </a:pPr>
            <a:r>
              <a:rPr lang="en-US" sz="2000" i="1"/>
              <a:t>or visit our website at: </a:t>
            </a:r>
            <a:r>
              <a:rPr lang="en-US" sz="2000" i="1" u="sng">
                <a:solidFill>
                  <a:schemeClr val="hlink"/>
                </a:solidFill>
                <a:hlinkClick r:id="rId4"/>
              </a:rPr>
              <a:t>https://africacdc.org/covid-19/</a:t>
            </a:r>
            <a:r>
              <a:rPr lang="en-US" sz="2000" i="1"/>
              <a:t> </a:t>
            </a:r>
            <a:endParaRPr sz="2000" i="1"/>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15"/>
        <p:cNvGrpSpPr/>
        <p:nvPr/>
      </p:nvGrpSpPr>
      <p:grpSpPr>
        <a:xfrm>
          <a:off x="0" y="0"/>
          <a:ext cx="0" cy="0"/>
          <a:chOff x="0" y="0"/>
          <a:chExt cx="0" cy="0"/>
        </a:xfrm>
      </p:grpSpPr>
      <p:sp>
        <p:nvSpPr>
          <p:cNvPr id="516" name="Google Shape;516;p83"/>
          <p:cNvSpPr txBox="1"/>
          <p:nvPr/>
        </p:nvSpPr>
        <p:spPr>
          <a:xfrm>
            <a:off x="7741920" y="6432550"/>
            <a:ext cx="4114800" cy="365100"/>
          </a:xfrm>
          <a:prstGeom prst="rect">
            <a:avLst/>
          </a:prstGeom>
          <a:noFill/>
          <a:ln>
            <a:noFill/>
          </a:ln>
        </p:spPr>
        <p:txBody>
          <a:bodyPr spcFirstLastPara="1" wrap="square" lIns="91425" tIns="45700" rIns="91425" bIns="45700" anchor="ctr" anchorCtr="0">
            <a:noAutofit/>
          </a:bodyPr>
          <a:lstStyle/>
          <a:p>
            <a:pPr algn="r">
              <a:buSzPts val="1200"/>
            </a:pPr>
            <a:r>
              <a:rPr lang="en-US" sz="1200" b="1">
                <a:solidFill>
                  <a:srgbClr val="951F39"/>
                </a:solidFill>
              </a:rPr>
              <a:t>Safeguarding Africa’s Health | www.africacdc.org</a:t>
            </a:r>
            <a:endParaRPr sz="1200" b="1">
              <a:solidFill>
                <a:srgbClr val="951F39"/>
              </a:solidFill>
            </a:endParaRPr>
          </a:p>
        </p:txBody>
      </p:sp>
      <p:sp>
        <p:nvSpPr>
          <p:cNvPr id="517" name="Google Shape;517;p83"/>
          <p:cNvSpPr txBox="1"/>
          <p:nvPr/>
        </p:nvSpPr>
        <p:spPr>
          <a:xfrm>
            <a:off x="107425" y="6329996"/>
            <a:ext cx="4114800" cy="255300"/>
          </a:xfrm>
          <a:prstGeom prst="rect">
            <a:avLst/>
          </a:prstGeom>
          <a:noFill/>
          <a:ln>
            <a:noFill/>
          </a:ln>
        </p:spPr>
        <p:txBody>
          <a:bodyPr spcFirstLastPara="1" wrap="square" lIns="91425" tIns="91425" rIns="91425" bIns="91425" anchor="t" anchorCtr="0">
            <a:noAutofit/>
          </a:bodyPr>
          <a:lstStyle/>
          <a:p>
            <a:pPr>
              <a:buSzPts val="1200"/>
            </a:pPr>
            <a:r>
              <a:rPr lang="en-US" sz="1200" b="1">
                <a:latin typeface="Calibri"/>
                <a:ea typeface="Calibri"/>
                <a:cs typeface="Calibri"/>
                <a:sym typeface="Calibri"/>
              </a:rPr>
              <a:t>*Africa numbers are taken from official RCC and Member State reports. </a:t>
            </a:r>
            <a:endParaRPr sz="1200" b="1">
              <a:latin typeface="Calibri"/>
              <a:ea typeface="Calibri"/>
              <a:cs typeface="Calibri"/>
              <a:sym typeface="Calibri"/>
            </a:endParaRPr>
          </a:p>
        </p:txBody>
      </p:sp>
      <p:sp>
        <p:nvSpPr>
          <p:cNvPr id="518" name="Google Shape;518;p83"/>
          <p:cNvSpPr/>
          <p:nvPr/>
        </p:nvSpPr>
        <p:spPr>
          <a:xfrm>
            <a:off x="2354055" y="1787675"/>
            <a:ext cx="1728900" cy="1349100"/>
          </a:xfrm>
          <a:prstGeom prst="roundRect">
            <a:avLst>
              <a:gd name="adj" fmla="val 16667"/>
            </a:avLst>
          </a:prstGeom>
          <a:solidFill>
            <a:srgbClr val="E6B8AF"/>
          </a:solidFill>
          <a:ln w="9525" cap="flat" cmpd="sng">
            <a:solidFill>
              <a:srgbClr val="E6B8AF"/>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22</a:t>
            </a:r>
            <a:endParaRPr sz="6000" b="1">
              <a:solidFill>
                <a:srgbClr val="FFFFFF"/>
              </a:solidFill>
            </a:endParaRPr>
          </a:p>
          <a:p>
            <a:pPr algn="ctr">
              <a:buSzPts val="1200"/>
            </a:pPr>
            <a:r>
              <a:rPr lang="en-US" sz="1200" b="1">
                <a:solidFill>
                  <a:srgbClr val="FFFFFF"/>
                </a:solidFill>
              </a:rPr>
              <a:t>countries</a:t>
            </a:r>
            <a:endParaRPr sz="1200" b="1">
              <a:solidFill>
                <a:srgbClr val="FFFFFF"/>
              </a:solidFill>
            </a:endParaRPr>
          </a:p>
          <a:p>
            <a:pPr algn="ctr">
              <a:buSzPts val="1200"/>
            </a:pPr>
            <a:r>
              <a:rPr lang="en-US" sz="1200" b="1">
                <a:solidFill>
                  <a:srgbClr val="FFFFFF"/>
                </a:solidFill>
              </a:rPr>
              <a:t>≤ 5K cases</a:t>
            </a:r>
            <a:endParaRPr sz="1200" b="1">
              <a:solidFill>
                <a:srgbClr val="FFFFFF"/>
              </a:solidFill>
            </a:endParaRPr>
          </a:p>
        </p:txBody>
      </p:sp>
      <p:sp>
        <p:nvSpPr>
          <p:cNvPr id="519" name="Google Shape;519;p83"/>
          <p:cNvSpPr/>
          <p:nvPr/>
        </p:nvSpPr>
        <p:spPr>
          <a:xfrm>
            <a:off x="502150" y="3231519"/>
            <a:ext cx="1728900" cy="1349100"/>
          </a:xfrm>
          <a:prstGeom prst="roundRect">
            <a:avLst>
              <a:gd name="adj" fmla="val 16667"/>
            </a:avLst>
          </a:prstGeom>
          <a:solidFill>
            <a:srgbClr val="DD7E6B"/>
          </a:solidFill>
          <a:ln w="9525" cap="flat" cmpd="sng">
            <a:solidFill>
              <a:srgbClr val="DD7E6B"/>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11</a:t>
            </a:r>
            <a:endParaRPr sz="6000" b="1">
              <a:solidFill>
                <a:srgbClr val="FFFFFF"/>
              </a:solidFill>
            </a:endParaRPr>
          </a:p>
          <a:p>
            <a:pPr algn="ctr">
              <a:buSzPts val="1200"/>
            </a:pPr>
            <a:r>
              <a:rPr lang="en-US" sz="1200" b="1">
                <a:solidFill>
                  <a:srgbClr val="FFFFFF"/>
                </a:solidFill>
              </a:rPr>
              <a:t>countries</a:t>
            </a:r>
            <a:endParaRPr sz="1200" b="1">
              <a:solidFill>
                <a:srgbClr val="FFFFFF"/>
              </a:solidFill>
            </a:endParaRPr>
          </a:p>
          <a:p>
            <a:pPr algn="ctr">
              <a:buSzPts val="1200"/>
            </a:pPr>
            <a:r>
              <a:rPr lang="en-US" sz="1200" b="1">
                <a:solidFill>
                  <a:srgbClr val="FFFFFF"/>
                </a:solidFill>
              </a:rPr>
              <a:t>&gt;5K - 10K cases</a:t>
            </a:r>
            <a:endParaRPr sz="1200" b="1">
              <a:solidFill>
                <a:srgbClr val="FFFFFF"/>
              </a:solidFill>
            </a:endParaRPr>
          </a:p>
        </p:txBody>
      </p:sp>
      <p:sp>
        <p:nvSpPr>
          <p:cNvPr id="520" name="Google Shape;520;p83"/>
          <p:cNvSpPr/>
          <p:nvPr/>
        </p:nvSpPr>
        <p:spPr>
          <a:xfrm>
            <a:off x="2354055" y="4675364"/>
            <a:ext cx="1728900" cy="1349100"/>
          </a:xfrm>
          <a:prstGeom prst="roundRect">
            <a:avLst>
              <a:gd name="adj" fmla="val 16667"/>
            </a:avLst>
          </a:prstGeom>
          <a:solidFill>
            <a:srgbClr val="5B0F00"/>
          </a:solidFill>
          <a:ln w="9525" cap="flat" cmpd="sng">
            <a:solidFill>
              <a:srgbClr val="5B0F00"/>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1</a:t>
            </a:r>
            <a:endParaRPr sz="6000" b="1">
              <a:solidFill>
                <a:srgbClr val="FFFFFF"/>
              </a:solidFill>
            </a:endParaRPr>
          </a:p>
          <a:p>
            <a:pPr algn="ctr">
              <a:buSzPts val="1200"/>
            </a:pPr>
            <a:r>
              <a:rPr lang="en-US" sz="1200" b="1">
                <a:solidFill>
                  <a:srgbClr val="FFFFFF"/>
                </a:solidFill>
              </a:rPr>
              <a:t>country</a:t>
            </a:r>
            <a:endParaRPr sz="1200" b="1">
              <a:solidFill>
                <a:srgbClr val="FFFFFF"/>
              </a:solidFill>
            </a:endParaRPr>
          </a:p>
          <a:p>
            <a:pPr algn="ctr">
              <a:buSzPts val="1200"/>
            </a:pPr>
            <a:r>
              <a:rPr lang="en-US" sz="1200" b="1">
                <a:solidFill>
                  <a:srgbClr val="FFFFFF"/>
                </a:solidFill>
              </a:rPr>
              <a:t>&gt;500K cases</a:t>
            </a:r>
            <a:endParaRPr sz="1200" b="1">
              <a:solidFill>
                <a:srgbClr val="FFFFFF"/>
              </a:solidFill>
            </a:endParaRPr>
          </a:p>
        </p:txBody>
      </p:sp>
      <p:sp>
        <p:nvSpPr>
          <p:cNvPr id="521" name="Google Shape;521;p83"/>
          <p:cNvSpPr/>
          <p:nvPr/>
        </p:nvSpPr>
        <p:spPr>
          <a:xfrm>
            <a:off x="2354055" y="3231519"/>
            <a:ext cx="1728900" cy="1349100"/>
          </a:xfrm>
          <a:prstGeom prst="roundRect">
            <a:avLst>
              <a:gd name="adj" fmla="val 16667"/>
            </a:avLst>
          </a:prstGeom>
          <a:solidFill>
            <a:srgbClr val="A61C00"/>
          </a:solidFill>
          <a:ln w="9525" cap="flat" cmpd="sng">
            <a:solidFill>
              <a:srgbClr val="A61C00"/>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14</a:t>
            </a:r>
            <a:endParaRPr sz="6000" b="1">
              <a:solidFill>
                <a:srgbClr val="FFFFFF"/>
              </a:solidFill>
            </a:endParaRPr>
          </a:p>
          <a:p>
            <a:pPr algn="ctr">
              <a:buSzPts val="1200"/>
            </a:pPr>
            <a:r>
              <a:rPr lang="en-US" sz="1200" b="1">
                <a:solidFill>
                  <a:srgbClr val="FFFFFF"/>
                </a:solidFill>
              </a:rPr>
              <a:t>countries</a:t>
            </a:r>
            <a:endParaRPr sz="1200" b="1">
              <a:solidFill>
                <a:srgbClr val="FFFFFF"/>
              </a:solidFill>
            </a:endParaRPr>
          </a:p>
          <a:p>
            <a:pPr algn="ctr">
              <a:buSzPts val="1200"/>
            </a:pPr>
            <a:r>
              <a:rPr lang="en-US" sz="1200" b="1">
                <a:solidFill>
                  <a:srgbClr val="FFFFFF"/>
                </a:solidFill>
              </a:rPr>
              <a:t>&gt;10K - 50K cases</a:t>
            </a:r>
            <a:endParaRPr sz="1200" b="1">
              <a:solidFill>
                <a:srgbClr val="FFFFFF"/>
              </a:solidFill>
            </a:endParaRPr>
          </a:p>
        </p:txBody>
      </p:sp>
      <p:sp>
        <p:nvSpPr>
          <p:cNvPr id="522" name="Google Shape;522;p83"/>
          <p:cNvSpPr/>
          <p:nvPr/>
        </p:nvSpPr>
        <p:spPr>
          <a:xfrm>
            <a:off x="502150" y="4675364"/>
            <a:ext cx="1728900" cy="1349100"/>
          </a:xfrm>
          <a:prstGeom prst="roundRect">
            <a:avLst>
              <a:gd name="adj" fmla="val 16667"/>
            </a:avLst>
          </a:prstGeom>
          <a:solidFill>
            <a:srgbClr val="85200C"/>
          </a:solidFill>
          <a:ln w="9525" cap="flat" cmpd="sng">
            <a:solidFill>
              <a:srgbClr val="85200C"/>
            </a:solidFill>
            <a:prstDash val="solid"/>
            <a:round/>
            <a:headEnd type="none" w="sm" len="sm"/>
            <a:tailEnd type="none" w="sm" len="sm"/>
          </a:ln>
        </p:spPr>
        <p:txBody>
          <a:bodyPr spcFirstLastPara="1" wrap="square" lIns="91425" tIns="91425" rIns="91425" bIns="91425" anchor="ctr" anchorCtr="0">
            <a:noAutofit/>
          </a:bodyPr>
          <a:lstStyle/>
          <a:p>
            <a:pPr algn="ctr">
              <a:buSzPts val="5900"/>
            </a:pPr>
            <a:r>
              <a:rPr lang="en-US" sz="5900" b="1">
                <a:solidFill>
                  <a:srgbClr val="FFFFFF"/>
                </a:solidFill>
              </a:rPr>
              <a:t>7</a:t>
            </a:r>
            <a:endParaRPr sz="5900" b="1">
              <a:solidFill>
                <a:srgbClr val="FFFFFF"/>
              </a:solidFill>
            </a:endParaRPr>
          </a:p>
          <a:p>
            <a:pPr algn="ctr">
              <a:buSzPts val="1200"/>
            </a:pPr>
            <a:r>
              <a:rPr lang="en-US" sz="1200" b="1">
                <a:solidFill>
                  <a:srgbClr val="FFFFFF"/>
                </a:solidFill>
              </a:rPr>
              <a:t>country</a:t>
            </a:r>
            <a:endParaRPr sz="1200" b="1">
              <a:solidFill>
                <a:srgbClr val="FFFFFF"/>
              </a:solidFill>
            </a:endParaRPr>
          </a:p>
          <a:p>
            <a:pPr algn="ctr">
              <a:buSzPts val="1200"/>
            </a:pPr>
            <a:r>
              <a:rPr lang="en-US" sz="1200" b="1">
                <a:solidFill>
                  <a:srgbClr val="FFFFFF"/>
                </a:solidFill>
              </a:rPr>
              <a:t>&gt;50K - 500K cases</a:t>
            </a:r>
            <a:endParaRPr sz="1200" b="1">
              <a:solidFill>
                <a:srgbClr val="FFFFFF"/>
              </a:solidFill>
            </a:endParaRPr>
          </a:p>
        </p:txBody>
      </p:sp>
      <p:sp>
        <p:nvSpPr>
          <p:cNvPr id="523" name="Google Shape;523;p83"/>
          <p:cNvSpPr txBox="1"/>
          <p:nvPr/>
        </p:nvSpPr>
        <p:spPr>
          <a:xfrm>
            <a:off x="2237325" y="123450"/>
            <a:ext cx="7647600" cy="1154700"/>
          </a:xfrm>
          <a:prstGeom prst="rect">
            <a:avLst/>
          </a:prstGeom>
          <a:noFill/>
          <a:ln>
            <a:noFill/>
          </a:ln>
        </p:spPr>
        <p:txBody>
          <a:bodyPr spcFirstLastPara="1" wrap="square" lIns="91425" tIns="45700" rIns="91425" bIns="45700" anchor="t" anchorCtr="0">
            <a:noAutofit/>
          </a:bodyPr>
          <a:lstStyle/>
          <a:p>
            <a:pPr>
              <a:lnSpc>
                <a:spcPct val="90000"/>
              </a:lnSpc>
              <a:buSzPts val="3100"/>
            </a:pPr>
            <a:r>
              <a:rPr lang="en-US" sz="3100" b="1">
                <a:solidFill>
                  <a:srgbClr val="53575A"/>
                </a:solidFill>
              </a:rPr>
              <a:t>Cumulative COVID-19 cases* </a:t>
            </a:r>
            <a:endParaRPr sz="3100" b="1">
              <a:solidFill>
                <a:srgbClr val="53575A"/>
              </a:solidFill>
            </a:endParaRPr>
          </a:p>
          <a:p>
            <a:pPr>
              <a:lnSpc>
                <a:spcPct val="90000"/>
              </a:lnSpc>
              <a:buSzPts val="3100"/>
            </a:pPr>
            <a:r>
              <a:rPr lang="en-US" sz="3100" b="1">
                <a:solidFill>
                  <a:srgbClr val="53575A"/>
                </a:solidFill>
              </a:rPr>
              <a:t>by AU Member State</a:t>
            </a:r>
            <a:endParaRPr sz="2800" b="1">
              <a:solidFill>
                <a:srgbClr val="53575A"/>
              </a:solidFill>
            </a:endParaRPr>
          </a:p>
          <a:p>
            <a:pPr>
              <a:lnSpc>
                <a:spcPct val="90000"/>
              </a:lnSpc>
              <a:buSzPts val="1800"/>
            </a:pPr>
            <a:r>
              <a:rPr lang="en-US" sz="1800" b="1">
                <a:solidFill>
                  <a:srgbClr val="740000"/>
                </a:solidFill>
              </a:rPr>
              <a:t>as of 9 November 2020 9am EAT</a:t>
            </a:r>
            <a:endParaRPr sz="3400" b="1">
              <a:solidFill>
                <a:srgbClr val="740000"/>
              </a:solidFill>
            </a:endParaRPr>
          </a:p>
        </p:txBody>
      </p:sp>
      <p:pic>
        <p:nvPicPr>
          <p:cNvPr id="524" name="Google Shape;524;p83"/>
          <p:cNvPicPr preferRelativeResize="0"/>
          <p:nvPr/>
        </p:nvPicPr>
        <p:blipFill rotWithShape="1">
          <a:blip r:embed="rId3">
            <a:alphaModFix/>
          </a:blip>
          <a:srcRect/>
          <a:stretch/>
        </p:blipFill>
        <p:spPr>
          <a:xfrm>
            <a:off x="5454550" y="1278150"/>
            <a:ext cx="6147150" cy="5154400"/>
          </a:xfrm>
          <a:prstGeom prst="rect">
            <a:avLst/>
          </a:prstGeom>
          <a:noFill/>
          <a:ln>
            <a:noFill/>
          </a:ln>
        </p:spPr>
      </p:pic>
    </p:spTree>
    <p:extLst>
      <p:ext uri="{BB962C8B-B14F-4D97-AF65-F5344CB8AC3E}">
        <p14:creationId xmlns:p14="http://schemas.microsoft.com/office/powerpoint/2010/main" val="1490649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29"/>
        <p:cNvGrpSpPr/>
        <p:nvPr/>
      </p:nvGrpSpPr>
      <p:grpSpPr>
        <a:xfrm>
          <a:off x="0" y="0"/>
          <a:ext cx="0" cy="0"/>
          <a:chOff x="0" y="0"/>
          <a:chExt cx="0" cy="0"/>
        </a:xfrm>
      </p:grpSpPr>
      <p:sp>
        <p:nvSpPr>
          <p:cNvPr id="530" name="Google Shape;530;p84"/>
          <p:cNvSpPr txBox="1"/>
          <p:nvPr/>
        </p:nvSpPr>
        <p:spPr>
          <a:xfrm>
            <a:off x="7741920" y="6356350"/>
            <a:ext cx="4114800" cy="365100"/>
          </a:xfrm>
          <a:prstGeom prst="rect">
            <a:avLst/>
          </a:prstGeom>
          <a:noFill/>
          <a:ln>
            <a:noFill/>
          </a:ln>
        </p:spPr>
        <p:txBody>
          <a:bodyPr spcFirstLastPara="1" wrap="square" lIns="91425" tIns="45700" rIns="91425" bIns="45700" anchor="ctr" anchorCtr="0">
            <a:noAutofit/>
          </a:bodyPr>
          <a:lstStyle/>
          <a:p>
            <a:pPr algn="r">
              <a:buSzPts val="1200"/>
            </a:pPr>
            <a:r>
              <a:rPr lang="en-US" sz="1200" b="1">
                <a:solidFill>
                  <a:srgbClr val="951F39"/>
                </a:solidFill>
              </a:rPr>
              <a:t>Safeguarding Africa’s Health | www.africacdc.org</a:t>
            </a:r>
            <a:endParaRPr sz="1200" b="1">
              <a:solidFill>
                <a:srgbClr val="951F39"/>
              </a:solidFill>
            </a:endParaRPr>
          </a:p>
        </p:txBody>
      </p:sp>
      <p:sp>
        <p:nvSpPr>
          <p:cNvPr id="531" name="Google Shape;531;p84"/>
          <p:cNvSpPr/>
          <p:nvPr/>
        </p:nvSpPr>
        <p:spPr>
          <a:xfrm>
            <a:off x="449051" y="3311675"/>
            <a:ext cx="1728900" cy="1446300"/>
          </a:xfrm>
          <a:prstGeom prst="roundRect">
            <a:avLst>
              <a:gd name="adj" fmla="val 16667"/>
            </a:avLst>
          </a:prstGeom>
          <a:solidFill>
            <a:srgbClr val="38761D"/>
          </a:solidFill>
          <a:ln w="9525" cap="flat" cmpd="sng">
            <a:solidFill>
              <a:srgbClr val="38761D"/>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47</a:t>
            </a:r>
            <a:endParaRPr sz="6000" b="1">
              <a:solidFill>
                <a:srgbClr val="FFFFFF"/>
              </a:solidFill>
            </a:endParaRPr>
          </a:p>
          <a:p>
            <a:pPr algn="ctr">
              <a:buSzPts val="1100"/>
            </a:pPr>
            <a:r>
              <a:rPr lang="en-US" sz="1100" b="1">
                <a:solidFill>
                  <a:srgbClr val="FFFFFF"/>
                </a:solidFill>
              </a:rPr>
              <a:t>countries</a:t>
            </a:r>
            <a:endParaRPr sz="1100" b="1">
              <a:solidFill>
                <a:srgbClr val="FFFFFF"/>
              </a:solidFill>
            </a:endParaRPr>
          </a:p>
          <a:p>
            <a:pPr algn="ctr">
              <a:buSzPts val="1100"/>
            </a:pPr>
            <a:r>
              <a:rPr lang="en-US" sz="1100" b="1">
                <a:solidFill>
                  <a:srgbClr val="FFFFFF"/>
                </a:solidFill>
              </a:rPr>
              <a:t>&lt; 40 case /1M/day</a:t>
            </a:r>
            <a:endParaRPr sz="1100" b="1">
              <a:solidFill>
                <a:srgbClr val="FFFFFF"/>
              </a:solidFill>
            </a:endParaRPr>
          </a:p>
        </p:txBody>
      </p:sp>
      <p:sp>
        <p:nvSpPr>
          <p:cNvPr id="532" name="Google Shape;532;p84"/>
          <p:cNvSpPr/>
          <p:nvPr/>
        </p:nvSpPr>
        <p:spPr>
          <a:xfrm>
            <a:off x="449051" y="4859622"/>
            <a:ext cx="1728900" cy="1446300"/>
          </a:xfrm>
          <a:prstGeom prst="roundRect">
            <a:avLst>
              <a:gd name="adj" fmla="val 16667"/>
            </a:avLst>
          </a:prstGeom>
          <a:solidFill>
            <a:srgbClr val="CC0000"/>
          </a:solidFill>
          <a:ln w="9525" cap="flat" cmpd="sng">
            <a:solidFill>
              <a:srgbClr val="CC0000"/>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0</a:t>
            </a:r>
            <a:endParaRPr sz="6000" b="1">
              <a:solidFill>
                <a:srgbClr val="FFFFFF"/>
              </a:solidFill>
            </a:endParaRPr>
          </a:p>
          <a:p>
            <a:pPr algn="ctr">
              <a:buSzPts val="1100"/>
            </a:pPr>
            <a:r>
              <a:rPr lang="en-US" sz="1100" b="1">
                <a:solidFill>
                  <a:srgbClr val="FFFFFF"/>
                </a:solidFill>
              </a:rPr>
              <a:t>countries</a:t>
            </a:r>
            <a:endParaRPr sz="1100" b="1">
              <a:solidFill>
                <a:srgbClr val="FFFFFF"/>
              </a:solidFill>
            </a:endParaRPr>
          </a:p>
          <a:p>
            <a:pPr algn="ctr">
              <a:buSzPts val="1100"/>
            </a:pPr>
            <a:r>
              <a:rPr lang="en-US" sz="1100" b="1">
                <a:solidFill>
                  <a:srgbClr val="FFFFFF"/>
                </a:solidFill>
              </a:rPr>
              <a:t>80-100 cases /1M</a:t>
            </a:r>
            <a:endParaRPr sz="1100" b="1">
              <a:solidFill>
                <a:srgbClr val="FFFFFF"/>
              </a:solidFill>
            </a:endParaRPr>
          </a:p>
        </p:txBody>
      </p:sp>
      <p:sp>
        <p:nvSpPr>
          <p:cNvPr id="533" name="Google Shape;533;p84"/>
          <p:cNvSpPr/>
          <p:nvPr/>
        </p:nvSpPr>
        <p:spPr>
          <a:xfrm>
            <a:off x="2345267" y="4883569"/>
            <a:ext cx="1728900" cy="1446300"/>
          </a:xfrm>
          <a:prstGeom prst="roundRect">
            <a:avLst>
              <a:gd name="adj" fmla="val 16667"/>
            </a:avLst>
          </a:prstGeom>
          <a:solidFill>
            <a:srgbClr val="5B0F00"/>
          </a:solidFill>
          <a:ln w="9525" cap="flat" cmpd="sng">
            <a:solidFill>
              <a:srgbClr val="5B0F00"/>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4</a:t>
            </a:r>
            <a:endParaRPr sz="6000" b="1">
              <a:solidFill>
                <a:srgbClr val="FFFFFF"/>
              </a:solidFill>
            </a:endParaRPr>
          </a:p>
          <a:p>
            <a:pPr algn="ctr">
              <a:buSzPts val="1100"/>
            </a:pPr>
            <a:r>
              <a:rPr lang="en-US" sz="1100" b="1">
                <a:solidFill>
                  <a:srgbClr val="FFFFFF"/>
                </a:solidFill>
              </a:rPr>
              <a:t>countries</a:t>
            </a:r>
            <a:endParaRPr sz="1100" b="1">
              <a:solidFill>
                <a:srgbClr val="FFFFFF"/>
              </a:solidFill>
            </a:endParaRPr>
          </a:p>
          <a:p>
            <a:pPr algn="ctr">
              <a:buSzPts val="1100"/>
            </a:pPr>
            <a:r>
              <a:rPr lang="en-US" sz="1100" b="1">
                <a:solidFill>
                  <a:srgbClr val="FFFFFF"/>
                </a:solidFill>
              </a:rPr>
              <a:t>&gt;100 cases /1M</a:t>
            </a:r>
            <a:endParaRPr sz="1100" b="1">
              <a:solidFill>
                <a:srgbClr val="FFFFFF"/>
              </a:solidFill>
            </a:endParaRPr>
          </a:p>
        </p:txBody>
      </p:sp>
      <p:sp>
        <p:nvSpPr>
          <p:cNvPr id="534" name="Google Shape;534;p84"/>
          <p:cNvSpPr/>
          <p:nvPr/>
        </p:nvSpPr>
        <p:spPr>
          <a:xfrm>
            <a:off x="2407150" y="3335622"/>
            <a:ext cx="1728900" cy="1446300"/>
          </a:xfrm>
          <a:prstGeom prst="roundRect">
            <a:avLst>
              <a:gd name="adj" fmla="val 16667"/>
            </a:avLst>
          </a:prstGeom>
          <a:solidFill>
            <a:srgbClr val="FBBC04"/>
          </a:solidFill>
          <a:ln w="9525" cap="flat" cmpd="sng">
            <a:solidFill>
              <a:srgbClr val="FBBC04"/>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1</a:t>
            </a:r>
            <a:endParaRPr sz="6000" b="1">
              <a:solidFill>
                <a:srgbClr val="FFFFFF"/>
              </a:solidFill>
            </a:endParaRPr>
          </a:p>
          <a:p>
            <a:pPr algn="ctr">
              <a:buSzPts val="1100"/>
            </a:pPr>
            <a:r>
              <a:rPr lang="en-US" sz="1100" b="1">
                <a:solidFill>
                  <a:srgbClr val="FFFFFF"/>
                </a:solidFill>
              </a:rPr>
              <a:t>countries</a:t>
            </a:r>
            <a:endParaRPr sz="1100" b="1">
              <a:solidFill>
                <a:srgbClr val="FFFFFF"/>
              </a:solidFill>
            </a:endParaRPr>
          </a:p>
          <a:p>
            <a:pPr algn="ctr">
              <a:buSzPts val="1100"/>
            </a:pPr>
            <a:r>
              <a:rPr lang="en-US" sz="1100" b="1">
                <a:solidFill>
                  <a:srgbClr val="FFFFFF"/>
                </a:solidFill>
              </a:rPr>
              <a:t>40-80 cases /1M</a:t>
            </a:r>
            <a:endParaRPr sz="1100" b="1">
              <a:solidFill>
                <a:srgbClr val="FFFFFF"/>
              </a:solidFill>
            </a:endParaRPr>
          </a:p>
        </p:txBody>
      </p:sp>
      <p:sp>
        <p:nvSpPr>
          <p:cNvPr id="535" name="Google Shape;535;p84"/>
          <p:cNvSpPr txBox="1"/>
          <p:nvPr/>
        </p:nvSpPr>
        <p:spPr>
          <a:xfrm>
            <a:off x="107425" y="6330003"/>
            <a:ext cx="4114800" cy="457500"/>
          </a:xfrm>
          <a:prstGeom prst="rect">
            <a:avLst/>
          </a:prstGeom>
          <a:noFill/>
          <a:ln>
            <a:noFill/>
          </a:ln>
        </p:spPr>
        <p:txBody>
          <a:bodyPr spcFirstLastPara="1" wrap="square" lIns="91425" tIns="91425" rIns="91425" bIns="91425" anchor="t" anchorCtr="0">
            <a:noAutofit/>
          </a:bodyPr>
          <a:lstStyle/>
          <a:p>
            <a:pPr>
              <a:buSzPts val="1200"/>
            </a:pPr>
            <a:r>
              <a:rPr lang="en-US" sz="1200" b="1">
                <a:latin typeface="Calibri"/>
                <a:ea typeface="Calibri"/>
                <a:cs typeface="Calibri"/>
                <a:sym typeface="Calibri"/>
              </a:rPr>
              <a:t>*cases/1,000,000 population as reported from official RCC and Member State reports.</a:t>
            </a:r>
            <a:endParaRPr sz="1200" b="1">
              <a:latin typeface="Calibri"/>
              <a:ea typeface="Calibri"/>
              <a:cs typeface="Calibri"/>
              <a:sym typeface="Calibri"/>
            </a:endParaRPr>
          </a:p>
        </p:txBody>
      </p:sp>
      <p:pic>
        <p:nvPicPr>
          <p:cNvPr id="536" name="Google Shape;536;p84"/>
          <p:cNvPicPr preferRelativeResize="0"/>
          <p:nvPr/>
        </p:nvPicPr>
        <p:blipFill rotWithShape="1">
          <a:blip r:embed="rId3">
            <a:alphaModFix/>
          </a:blip>
          <a:srcRect/>
          <a:stretch/>
        </p:blipFill>
        <p:spPr>
          <a:xfrm>
            <a:off x="6514375" y="1300350"/>
            <a:ext cx="5343026" cy="5055999"/>
          </a:xfrm>
          <a:prstGeom prst="rect">
            <a:avLst/>
          </a:prstGeom>
          <a:noFill/>
          <a:ln>
            <a:noFill/>
          </a:ln>
        </p:spPr>
      </p:pic>
      <p:sp>
        <p:nvSpPr>
          <p:cNvPr id="537" name="Google Shape;537;p84"/>
          <p:cNvSpPr/>
          <p:nvPr/>
        </p:nvSpPr>
        <p:spPr>
          <a:xfrm>
            <a:off x="449051" y="1787675"/>
            <a:ext cx="1728900" cy="1446300"/>
          </a:xfrm>
          <a:prstGeom prst="roundRect">
            <a:avLst>
              <a:gd name="adj" fmla="val 16667"/>
            </a:avLst>
          </a:prstGeom>
          <a:solidFill>
            <a:srgbClr val="D6CEC5"/>
          </a:solidFill>
          <a:ln w="9525" cap="flat" cmpd="sng">
            <a:solidFill>
              <a:srgbClr val="D6CEC5"/>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3</a:t>
            </a:r>
            <a:endParaRPr sz="6000" b="1">
              <a:solidFill>
                <a:srgbClr val="FFFFFF"/>
              </a:solidFill>
            </a:endParaRPr>
          </a:p>
          <a:p>
            <a:pPr algn="ctr">
              <a:buSzPts val="1100"/>
            </a:pPr>
            <a:r>
              <a:rPr lang="en-US" sz="1100" b="1">
                <a:solidFill>
                  <a:srgbClr val="FFFFFF"/>
                </a:solidFill>
              </a:rPr>
              <a:t>countries</a:t>
            </a:r>
            <a:endParaRPr sz="1100" b="1">
              <a:solidFill>
                <a:srgbClr val="FFFFFF"/>
              </a:solidFill>
            </a:endParaRPr>
          </a:p>
          <a:p>
            <a:pPr algn="ctr">
              <a:buSzPts val="1100"/>
            </a:pPr>
            <a:r>
              <a:rPr lang="en-US" sz="1100" b="1">
                <a:solidFill>
                  <a:srgbClr val="FFFFFF"/>
                </a:solidFill>
              </a:rPr>
              <a:t>No information</a:t>
            </a:r>
            <a:endParaRPr sz="1100" b="1">
              <a:solidFill>
                <a:srgbClr val="FFFFFF"/>
              </a:solidFill>
            </a:endParaRPr>
          </a:p>
        </p:txBody>
      </p:sp>
      <p:sp>
        <p:nvSpPr>
          <p:cNvPr id="538" name="Google Shape;538;p84"/>
          <p:cNvSpPr txBox="1"/>
          <p:nvPr/>
        </p:nvSpPr>
        <p:spPr>
          <a:xfrm>
            <a:off x="2237325" y="123450"/>
            <a:ext cx="7875000" cy="1154700"/>
          </a:xfrm>
          <a:prstGeom prst="rect">
            <a:avLst/>
          </a:prstGeom>
          <a:noFill/>
          <a:ln>
            <a:noFill/>
          </a:ln>
        </p:spPr>
        <p:txBody>
          <a:bodyPr spcFirstLastPara="1" wrap="square" lIns="91425" tIns="45700" rIns="91425" bIns="45700" anchor="t" anchorCtr="0">
            <a:noAutofit/>
          </a:bodyPr>
          <a:lstStyle/>
          <a:p>
            <a:pPr>
              <a:lnSpc>
                <a:spcPct val="90000"/>
              </a:lnSpc>
              <a:buSzPts val="1100"/>
            </a:pPr>
            <a:r>
              <a:rPr lang="en-US" sz="3100" b="1">
                <a:solidFill>
                  <a:srgbClr val="53575A"/>
                </a:solidFill>
              </a:rPr>
              <a:t>New COVID-19 cases* reported/1 million population per day by AU Member State</a:t>
            </a:r>
            <a:endParaRPr sz="3100" b="1">
              <a:solidFill>
                <a:srgbClr val="53575A"/>
              </a:solidFill>
            </a:endParaRPr>
          </a:p>
          <a:p>
            <a:pPr>
              <a:lnSpc>
                <a:spcPct val="90000"/>
              </a:lnSpc>
              <a:buSzPts val="1800"/>
            </a:pPr>
            <a:r>
              <a:rPr lang="en-US" sz="1800" b="1">
                <a:solidFill>
                  <a:srgbClr val="740000"/>
                </a:solidFill>
              </a:rPr>
              <a:t>Epi Week 45: 2 - 8 November 2020</a:t>
            </a:r>
            <a:endParaRPr sz="3400" b="1">
              <a:solidFill>
                <a:srgbClr val="740000"/>
              </a:solidFill>
            </a:endParaRPr>
          </a:p>
        </p:txBody>
      </p:sp>
    </p:spTree>
    <p:extLst>
      <p:ext uri="{BB962C8B-B14F-4D97-AF65-F5344CB8AC3E}">
        <p14:creationId xmlns:p14="http://schemas.microsoft.com/office/powerpoint/2010/main" val="34130008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43"/>
        <p:cNvGrpSpPr/>
        <p:nvPr/>
      </p:nvGrpSpPr>
      <p:grpSpPr>
        <a:xfrm>
          <a:off x="0" y="0"/>
          <a:ext cx="0" cy="0"/>
          <a:chOff x="0" y="0"/>
          <a:chExt cx="0" cy="0"/>
        </a:xfrm>
      </p:grpSpPr>
      <p:sp>
        <p:nvSpPr>
          <p:cNvPr id="544" name="Google Shape;544;p85"/>
          <p:cNvSpPr/>
          <p:nvPr/>
        </p:nvSpPr>
        <p:spPr>
          <a:xfrm>
            <a:off x="839800" y="3625019"/>
            <a:ext cx="1728900" cy="1349100"/>
          </a:xfrm>
          <a:prstGeom prst="roundRect">
            <a:avLst>
              <a:gd name="adj" fmla="val 16667"/>
            </a:avLst>
          </a:prstGeom>
          <a:solidFill>
            <a:srgbClr val="008800"/>
          </a:solidFill>
          <a:ln w="9525" cap="flat" cmpd="sng">
            <a:solidFill>
              <a:srgbClr val="008800"/>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30</a:t>
            </a:r>
            <a:endParaRPr sz="6000" b="1">
              <a:solidFill>
                <a:srgbClr val="FFFFFF"/>
              </a:solidFill>
            </a:endParaRPr>
          </a:p>
          <a:p>
            <a:pPr algn="ctr">
              <a:buSzPts val="1200"/>
            </a:pPr>
            <a:r>
              <a:rPr lang="en-US" sz="1200" b="1">
                <a:solidFill>
                  <a:srgbClr val="FFFFFF"/>
                </a:solidFill>
              </a:rPr>
              <a:t>MS reporting &lt;2%</a:t>
            </a:r>
            <a:endParaRPr sz="1200" b="1">
              <a:solidFill>
                <a:srgbClr val="FFFFFF"/>
              </a:solidFill>
            </a:endParaRPr>
          </a:p>
        </p:txBody>
      </p:sp>
      <p:sp>
        <p:nvSpPr>
          <p:cNvPr id="545" name="Google Shape;545;p85"/>
          <p:cNvSpPr/>
          <p:nvPr/>
        </p:nvSpPr>
        <p:spPr>
          <a:xfrm>
            <a:off x="2691705" y="5068864"/>
            <a:ext cx="1728900" cy="1349100"/>
          </a:xfrm>
          <a:prstGeom prst="roundRect">
            <a:avLst>
              <a:gd name="adj" fmla="val 16667"/>
            </a:avLst>
          </a:prstGeom>
          <a:solidFill>
            <a:srgbClr val="5B0F00"/>
          </a:solidFill>
          <a:ln w="9525" cap="flat" cmpd="sng">
            <a:solidFill>
              <a:srgbClr val="5B0F00"/>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5</a:t>
            </a:r>
            <a:endParaRPr sz="6000" b="1">
              <a:solidFill>
                <a:srgbClr val="FFFFFF"/>
              </a:solidFill>
            </a:endParaRPr>
          </a:p>
          <a:p>
            <a:pPr algn="ctr">
              <a:buSzPts val="1200"/>
            </a:pPr>
            <a:r>
              <a:rPr lang="en-US" sz="1200" b="1">
                <a:solidFill>
                  <a:srgbClr val="FFFFFF"/>
                </a:solidFill>
              </a:rPr>
              <a:t>MS reporting &gt;5%</a:t>
            </a:r>
            <a:endParaRPr sz="1200" b="1">
              <a:solidFill>
                <a:srgbClr val="FFFFFF"/>
              </a:solidFill>
            </a:endParaRPr>
          </a:p>
        </p:txBody>
      </p:sp>
      <p:sp>
        <p:nvSpPr>
          <p:cNvPr id="546" name="Google Shape;546;p85"/>
          <p:cNvSpPr/>
          <p:nvPr/>
        </p:nvSpPr>
        <p:spPr>
          <a:xfrm>
            <a:off x="2691705" y="3625019"/>
            <a:ext cx="1728900" cy="1349100"/>
          </a:xfrm>
          <a:prstGeom prst="roundRect">
            <a:avLst>
              <a:gd name="adj" fmla="val 16667"/>
            </a:avLst>
          </a:prstGeom>
          <a:solidFill>
            <a:srgbClr val="FFC000"/>
          </a:solidFill>
          <a:ln w="9525" cap="flat" cmpd="sng">
            <a:solidFill>
              <a:srgbClr val="FFC000"/>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10</a:t>
            </a:r>
            <a:endParaRPr sz="6000" b="1">
              <a:solidFill>
                <a:srgbClr val="FFFFFF"/>
              </a:solidFill>
            </a:endParaRPr>
          </a:p>
          <a:p>
            <a:pPr algn="ctr">
              <a:buSzPts val="1200"/>
            </a:pPr>
            <a:r>
              <a:rPr lang="en-US" sz="1200" b="1">
                <a:solidFill>
                  <a:srgbClr val="FFFFFF"/>
                </a:solidFill>
              </a:rPr>
              <a:t>MS reporting 2-2.5%</a:t>
            </a:r>
            <a:endParaRPr sz="1200" b="1">
              <a:solidFill>
                <a:srgbClr val="FFFFFF"/>
              </a:solidFill>
            </a:endParaRPr>
          </a:p>
        </p:txBody>
      </p:sp>
      <p:sp>
        <p:nvSpPr>
          <p:cNvPr id="547" name="Google Shape;547;p85"/>
          <p:cNvSpPr/>
          <p:nvPr/>
        </p:nvSpPr>
        <p:spPr>
          <a:xfrm>
            <a:off x="839800" y="5068864"/>
            <a:ext cx="1728900" cy="1349100"/>
          </a:xfrm>
          <a:prstGeom prst="roundRect">
            <a:avLst>
              <a:gd name="adj" fmla="val 16667"/>
            </a:avLst>
          </a:prstGeom>
          <a:solidFill>
            <a:srgbClr val="CC0000"/>
          </a:solidFill>
          <a:ln w="9525" cap="flat" cmpd="sng">
            <a:solidFill>
              <a:srgbClr val="CC0000"/>
            </a:solidFill>
            <a:prstDash val="solid"/>
            <a:round/>
            <a:headEnd type="none" w="sm" len="sm"/>
            <a:tailEnd type="none" w="sm" len="sm"/>
          </a:ln>
        </p:spPr>
        <p:txBody>
          <a:bodyPr spcFirstLastPara="1" wrap="square" lIns="91425" tIns="91425" rIns="91425" bIns="91425" anchor="ctr" anchorCtr="0">
            <a:noAutofit/>
          </a:bodyPr>
          <a:lstStyle/>
          <a:p>
            <a:pPr algn="ctr">
              <a:buSzPts val="5900"/>
            </a:pPr>
            <a:r>
              <a:rPr lang="en-US" sz="5900" b="1">
                <a:solidFill>
                  <a:srgbClr val="FFFFFF"/>
                </a:solidFill>
              </a:rPr>
              <a:t>9</a:t>
            </a:r>
            <a:endParaRPr sz="5900" b="1">
              <a:solidFill>
                <a:srgbClr val="FFFFFF"/>
              </a:solidFill>
            </a:endParaRPr>
          </a:p>
          <a:p>
            <a:pPr algn="ctr">
              <a:buSzPts val="1200"/>
            </a:pPr>
            <a:r>
              <a:rPr lang="en-US" sz="1200" b="1">
                <a:solidFill>
                  <a:srgbClr val="FFFFFF"/>
                </a:solidFill>
              </a:rPr>
              <a:t>MS reporting 2.5-5%</a:t>
            </a:r>
            <a:endParaRPr sz="1200" b="1">
              <a:solidFill>
                <a:srgbClr val="FFFFFF"/>
              </a:solidFill>
            </a:endParaRPr>
          </a:p>
        </p:txBody>
      </p:sp>
      <p:sp>
        <p:nvSpPr>
          <p:cNvPr id="548" name="Google Shape;548;p85"/>
          <p:cNvSpPr txBox="1"/>
          <p:nvPr/>
        </p:nvSpPr>
        <p:spPr>
          <a:xfrm>
            <a:off x="2237325" y="123450"/>
            <a:ext cx="7875000" cy="1154700"/>
          </a:xfrm>
          <a:prstGeom prst="rect">
            <a:avLst/>
          </a:prstGeom>
          <a:noFill/>
          <a:ln>
            <a:noFill/>
          </a:ln>
        </p:spPr>
        <p:txBody>
          <a:bodyPr spcFirstLastPara="1" wrap="square" lIns="91425" tIns="45700" rIns="91425" bIns="45700" anchor="t" anchorCtr="0">
            <a:noAutofit/>
          </a:bodyPr>
          <a:lstStyle/>
          <a:p>
            <a:pPr>
              <a:lnSpc>
                <a:spcPct val="90000"/>
              </a:lnSpc>
              <a:buSzPts val="1100"/>
            </a:pPr>
            <a:r>
              <a:rPr lang="en-US" sz="3100" b="1">
                <a:solidFill>
                  <a:srgbClr val="53575A"/>
                </a:solidFill>
              </a:rPr>
              <a:t>Case fatality rate (CFR) by AU Member State</a:t>
            </a:r>
            <a:endParaRPr sz="3100" b="1">
              <a:solidFill>
                <a:srgbClr val="53575A"/>
              </a:solidFill>
            </a:endParaRPr>
          </a:p>
          <a:p>
            <a:pPr>
              <a:lnSpc>
                <a:spcPct val="90000"/>
              </a:lnSpc>
              <a:buSzPts val="3400"/>
            </a:pPr>
            <a:endParaRPr sz="3400" b="1">
              <a:solidFill>
                <a:srgbClr val="740000"/>
              </a:solidFill>
            </a:endParaRPr>
          </a:p>
        </p:txBody>
      </p:sp>
      <p:pic>
        <p:nvPicPr>
          <p:cNvPr id="549" name="Google Shape;549;p85"/>
          <p:cNvPicPr preferRelativeResize="0"/>
          <p:nvPr/>
        </p:nvPicPr>
        <p:blipFill rotWithShape="1">
          <a:blip r:embed="rId3">
            <a:alphaModFix/>
          </a:blip>
          <a:srcRect/>
          <a:stretch/>
        </p:blipFill>
        <p:spPr>
          <a:xfrm>
            <a:off x="5944605" y="1049550"/>
            <a:ext cx="5574506" cy="5275049"/>
          </a:xfrm>
          <a:prstGeom prst="rect">
            <a:avLst/>
          </a:prstGeom>
          <a:noFill/>
          <a:ln>
            <a:noFill/>
          </a:ln>
        </p:spPr>
      </p:pic>
      <p:sp>
        <p:nvSpPr>
          <p:cNvPr id="550" name="Google Shape;550;p85"/>
          <p:cNvSpPr txBox="1"/>
          <p:nvPr/>
        </p:nvSpPr>
        <p:spPr>
          <a:xfrm>
            <a:off x="535150" y="1128050"/>
            <a:ext cx="5061600" cy="365100"/>
          </a:xfrm>
          <a:prstGeom prst="rect">
            <a:avLst/>
          </a:prstGeom>
          <a:noFill/>
          <a:ln>
            <a:noFill/>
          </a:ln>
        </p:spPr>
        <p:txBody>
          <a:bodyPr spcFirstLastPara="1" wrap="square" lIns="91425" tIns="91425" rIns="91425" bIns="91425" anchor="t" anchorCtr="0">
            <a:noAutofit/>
          </a:bodyPr>
          <a:lstStyle/>
          <a:p>
            <a:pPr>
              <a:lnSpc>
                <a:spcPct val="90000"/>
              </a:lnSpc>
              <a:buSzPts val="1100"/>
            </a:pPr>
            <a:r>
              <a:rPr lang="en-US" sz="1800" b="1">
                <a:solidFill>
                  <a:srgbClr val="740000"/>
                </a:solidFill>
              </a:rPr>
              <a:t>Epi Week 44: 2 -8 November 2020</a:t>
            </a:r>
            <a:endParaRPr/>
          </a:p>
        </p:txBody>
      </p:sp>
      <p:sp>
        <p:nvSpPr>
          <p:cNvPr id="551" name="Google Shape;551;p85"/>
          <p:cNvSpPr/>
          <p:nvPr/>
        </p:nvSpPr>
        <p:spPr>
          <a:xfrm>
            <a:off x="906251" y="1940075"/>
            <a:ext cx="1728900" cy="1446300"/>
          </a:xfrm>
          <a:prstGeom prst="roundRect">
            <a:avLst>
              <a:gd name="adj" fmla="val 16667"/>
            </a:avLst>
          </a:prstGeom>
          <a:solidFill>
            <a:srgbClr val="D6CEC5"/>
          </a:solidFill>
          <a:ln w="9525" cap="flat" cmpd="sng">
            <a:solidFill>
              <a:srgbClr val="D6CEC5"/>
            </a:solidFill>
            <a:prstDash val="solid"/>
            <a:round/>
            <a:headEnd type="none" w="sm" len="sm"/>
            <a:tailEnd type="none" w="sm" len="sm"/>
          </a:ln>
        </p:spPr>
        <p:txBody>
          <a:bodyPr spcFirstLastPara="1" wrap="square" lIns="91425" tIns="91425" rIns="91425" bIns="91425" anchor="ctr" anchorCtr="0">
            <a:noAutofit/>
          </a:bodyPr>
          <a:lstStyle/>
          <a:p>
            <a:pPr algn="ctr">
              <a:buSzPts val="6000"/>
            </a:pPr>
            <a:r>
              <a:rPr lang="en-US" sz="6000" b="1">
                <a:solidFill>
                  <a:srgbClr val="FFFFFF"/>
                </a:solidFill>
              </a:rPr>
              <a:t>1</a:t>
            </a:r>
            <a:endParaRPr sz="6000" b="1">
              <a:solidFill>
                <a:srgbClr val="FFFFFF"/>
              </a:solidFill>
            </a:endParaRPr>
          </a:p>
          <a:p>
            <a:pPr algn="ctr">
              <a:buSzPts val="1100"/>
            </a:pPr>
            <a:r>
              <a:rPr lang="en-US" sz="1100" b="1">
                <a:solidFill>
                  <a:srgbClr val="FFFFFF"/>
                </a:solidFill>
              </a:rPr>
              <a:t>countries</a:t>
            </a:r>
            <a:endParaRPr sz="1100" b="1">
              <a:solidFill>
                <a:srgbClr val="FFFFFF"/>
              </a:solidFill>
            </a:endParaRPr>
          </a:p>
          <a:p>
            <a:pPr algn="ctr">
              <a:buSzPts val="1100"/>
            </a:pPr>
            <a:r>
              <a:rPr lang="en-US" sz="1100" b="1">
                <a:solidFill>
                  <a:srgbClr val="FFFFFF"/>
                </a:solidFill>
              </a:rPr>
              <a:t>No information</a:t>
            </a:r>
            <a:endParaRPr sz="1100" b="1">
              <a:solidFill>
                <a:srgbClr val="FFFFFF"/>
              </a:solidFill>
            </a:endParaRPr>
          </a:p>
        </p:txBody>
      </p:sp>
    </p:spTree>
    <p:extLst>
      <p:ext uri="{BB962C8B-B14F-4D97-AF65-F5344CB8AC3E}">
        <p14:creationId xmlns:p14="http://schemas.microsoft.com/office/powerpoint/2010/main" val="951509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56"/>
        <p:cNvGrpSpPr/>
        <p:nvPr/>
      </p:nvGrpSpPr>
      <p:grpSpPr>
        <a:xfrm>
          <a:off x="0" y="0"/>
          <a:ext cx="0" cy="0"/>
          <a:chOff x="0" y="0"/>
          <a:chExt cx="0" cy="0"/>
        </a:xfrm>
      </p:grpSpPr>
      <p:sp>
        <p:nvSpPr>
          <p:cNvPr id="557" name="Google Shape;557;p86"/>
          <p:cNvSpPr txBox="1"/>
          <p:nvPr/>
        </p:nvSpPr>
        <p:spPr>
          <a:xfrm>
            <a:off x="7741920" y="6432550"/>
            <a:ext cx="4114800" cy="365100"/>
          </a:xfrm>
          <a:prstGeom prst="rect">
            <a:avLst/>
          </a:prstGeom>
          <a:noFill/>
          <a:ln>
            <a:noFill/>
          </a:ln>
        </p:spPr>
        <p:txBody>
          <a:bodyPr spcFirstLastPara="1" wrap="square" lIns="91425" tIns="45700" rIns="91425" bIns="45700" anchor="ctr" anchorCtr="0">
            <a:noAutofit/>
          </a:bodyPr>
          <a:lstStyle/>
          <a:p>
            <a:pPr algn="r">
              <a:buSzPts val="1200"/>
            </a:pPr>
            <a:r>
              <a:rPr lang="en-US" sz="1200" b="1">
                <a:solidFill>
                  <a:srgbClr val="951F39"/>
                </a:solidFill>
              </a:rPr>
              <a:t>Safeguarding Africa’s Health | www.africacdc.org</a:t>
            </a:r>
            <a:endParaRPr sz="1200" b="1">
              <a:solidFill>
                <a:srgbClr val="951F39"/>
              </a:solidFill>
            </a:endParaRPr>
          </a:p>
        </p:txBody>
      </p:sp>
      <p:sp>
        <p:nvSpPr>
          <p:cNvPr id="558" name="Google Shape;558;p86"/>
          <p:cNvSpPr txBox="1">
            <a:spLocks noGrp="1"/>
          </p:cNvSpPr>
          <p:nvPr>
            <p:ph type="title"/>
          </p:nvPr>
        </p:nvSpPr>
        <p:spPr>
          <a:xfrm>
            <a:off x="2242050" y="152400"/>
            <a:ext cx="7870800" cy="878700"/>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dk1"/>
              </a:buClr>
              <a:buSzPts val="3200"/>
              <a:buFont typeface="Arial"/>
              <a:buNone/>
            </a:pPr>
            <a:r>
              <a:rPr lang="en-US" sz="3100"/>
              <a:t>Total COVID-19 tests conducted in Africa </a:t>
            </a:r>
            <a:endParaRPr sz="3100"/>
          </a:p>
          <a:p>
            <a:pPr marL="0" lvl="0" indent="0" algn="l" rtl="0">
              <a:lnSpc>
                <a:spcPct val="90000"/>
              </a:lnSpc>
              <a:spcBef>
                <a:spcPts val="0"/>
              </a:spcBef>
              <a:spcAft>
                <a:spcPts val="0"/>
              </a:spcAft>
              <a:buClr>
                <a:schemeClr val="dk1"/>
              </a:buClr>
              <a:buSzPts val="1100"/>
              <a:buFont typeface="Arial"/>
              <a:buNone/>
            </a:pPr>
            <a:r>
              <a:rPr lang="en-US" sz="1800">
                <a:solidFill>
                  <a:srgbClr val="740000"/>
                </a:solidFill>
              </a:rPr>
              <a:t>between 14 February - 2 November 2020</a:t>
            </a:r>
            <a:endParaRPr sz="2900"/>
          </a:p>
        </p:txBody>
      </p:sp>
      <p:grpSp>
        <p:nvGrpSpPr>
          <p:cNvPr id="559" name="Google Shape;559;p86"/>
          <p:cNvGrpSpPr/>
          <p:nvPr/>
        </p:nvGrpSpPr>
        <p:grpSpPr>
          <a:xfrm>
            <a:off x="10049380" y="1235751"/>
            <a:ext cx="1938600" cy="4783500"/>
            <a:chOff x="10066875" y="1410700"/>
            <a:chExt cx="1938600" cy="4783500"/>
          </a:xfrm>
        </p:grpSpPr>
        <p:sp>
          <p:nvSpPr>
            <p:cNvPr id="560" name="Google Shape;560;p86"/>
            <p:cNvSpPr/>
            <p:nvPr/>
          </p:nvSpPr>
          <p:spPr>
            <a:xfrm>
              <a:off x="10117325" y="1410700"/>
              <a:ext cx="1809900" cy="4783500"/>
            </a:xfrm>
            <a:prstGeom prst="round1Rect">
              <a:avLst>
                <a:gd name="adj" fmla="val 22937"/>
              </a:avLst>
            </a:prstGeom>
            <a:solidFill>
              <a:srgbClr val="00600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a:buSzPts val="1400"/>
              </a:pPr>
              <a:endParaRPr/>
            </a:p>
          </p:txBody>
        </p:sp>
        <p:sp>
          <p:nvSpPr>
            <p:cNvPr id="561" name="Google Shape;561;p86"/>
            <p:cNvSpPr txBox="1"/>
            <p:nvPr/>
          </p:nvSpPr>
          <p:spPr>
            <a:xfrm>
              <a:off x="10066875" y="1663150"/>
              <a:ext cx="1938600" cy="1164300"/>
            </a:xfrm>
            <a:prstGeom prst="rect">
              <a:avLst/>
            </a:prstGeom>
            <a:noFill/>
            <a:ln>
              <a:noFill/>
            </a:ln>
          </p:spPr>
          <p:txBody>
            <a:bodyPr spcFirstLastPara="1" wrap="square" lIns="91425" tIns="91425" rIns="91425" bIns="91425" anchor="t" anchorCtr="0">
              <a:noAutofit/>
            </a:bodyPr>
            <a:lstStyle/>
            <a:p>
              <a:pPr algn="ctr">
                <a:buSzPts val="1100"/>
              </a:pPr>
              <a:r>
                <a:rPr lang="en-US" sz="3600" b="1">
                  <a:solidFill>
                    <a:srgbClr val="FFFFFF"/>
                  </a:solidFill>
                </a:rPr>
                <a:t>&gt;18M</a:t>
              </a:r>
              <a:r>
                <a:rPr lang="en-US" sz="3600">
                  <a:solidFill>
                    <a:srgbClr val="FFFFFF"/>
                  </a:solidFill>
                </a:rPr>
                <a:t> </a:t>
              </a:r>
              <a:br>
                <a:rPr lang="en-US" sz="3600">
                  <a:solidFill>
                    <a:srgbClr val="FFFFFF"/>
                  </a:solidFill>
                </a:rPr>
              </a:br>
              <a:r>
                <a:rPr lang="en-US" sz="1900">
                  <a:solidFill>
                    <a:srgbClr val="FFFFFF"/>
                  </a:solidFill>
                </a:rPr>
                <a:t>tests conducted</a:t>
              </a:r>
              <a:endParaRPr sz="1100"/>
            </a:p>
          </p:txBody>
        </p:sp>
        <p:sp>
          <p:nvSpPr>
            <p:cNvPr id="562" name="Google Shape;562;p86"/>
            <p:cNvSpPr txBox="1"/>
            <p:nvPr/>
          </p:nvSpPr>
          <p:spPr>
            <a:xfrm>
              <a:off x="10195575" y="3143390"/>
              <a:ext cx="1584900" cy="1290600"/>
            </a:xfrm>
            <a:prstGeom prst="rect">
              <a:avLst/>
            </a:prstGeom>
            <a:noFill/>
            <a:ln>
              <a:noFill/>
            </a:ln>
          </p:spPr>
          <p:txBody>
            <a:bodyPr spcFirstLastPara="1" wrap="square" lIns="91425" tIns="91425" rIns="91425" bIns="91425" anchor="t" anchorCtr="0">
              <a:noAutofit/>
            </a:bodyPr>
            <a:lstStyle/>
            <a:p>
              <a:pPr algn="ctr">
                <a:buSzPts val="3600"/>
              </a:pPr>
              <a:r>
                <a:rPr lang="en-US" sz="3600" b="1">
                  <a:solidFill>
                    <a:srgbClr val="FFFFFF"/>
                  </a:solidFill>
                </a:rPr>
                <a:t>10.5</a:t>
              </a:r>
              <a:endParaRPr sz="3800">
                <a:solidFill>
                  <a:srgbClr val="FFFFFF"/>
                </a:solidFill>
              </a:endParaRPr>
            </a:p>
            <a:p>
              <a:pPr algn="ctr">
                <a:buSzPts val="1800"/>
              </a:pPr>
              <a:r>
                <a:rPr lang="en-US" sz="1800">
                  <a:solidFill>
                    <a:srgbClr val="FFFFFF"/>
                  </a:solidFill>
                </a:rPr>
                <a:t>tests per reported case</a:t>
              </a:r>
              <a:endParaRPr sz="100"/>
            </a:p>
          </p:txBody>
        </p:sp>
        <p:sp>
          <p:nvSpPr>
            <p:cNvPr id="563" name="Google Shape;563;p86"/>
            <p:cNvSpPr txBox="1"/>
            <p:nvPr/>
          </p:nvSpPr>
          <p:spPr>
            <a:xfrm>
              <a:off x="10269725" y="4707548"/>
              <a:ext cx="1584900" cy="1290600"/>
            </a:xfrm>
            <a:prstGeom prst="rect">
              <a:avLst/>
            </a:prstGeom>
            <a:noFill/>
            <a:ln>
              <a:noFill/>
            </a:ln>
          </p:spPr>
          <p:txBody>
            <a:bodyPr spcFirstLastPara="1" wrap="square" lIns="91425" tIns="91425" rIns="91425" bIns="91425" anchor="t" anchorCtr="0">
              <a:noAutofit/>
            </a:bodyPr>
            <a:lstStyle/>
            <a:p>
              <a:pPr algn="ctr">
                <a:buSzPts val="3600"/>
              </a:pPr>
              <a:r>
                <a:rPr lang="en-US" sz="3600" b="1">
                  <a:solidFill>
                    <a:srgbClr val="FFFFFF"/>
                  </a:solidFill>
                </a:rPr>
                <a:t>9.6%</a:t>
              </a:r>
              <a:r>
                <a:rPr lang="en-US" sz="3600">
                  <a:solidFill>
                    <a:srgbClr val="FFFFFF"/>
                  </a:solidFill>
                </a:rPr>
                <a:t> </a:t>
              </a:r>
              <a:r>
                <a:rPr lang="en-US" sz="2100">
                  <a:solidFill>
                    <a:srgbClr val="FFFFFF"/>
                  </a:solidFill>
                </a:rPr>
                <a:t>positivity rate</a:t>
              </a:r>
              <a:endParaRPr sz="500"/>
            </a:p>
          </p:txBody>
        </p:sp>
        <p:cxnSp>
          <p:nvCxnSpPr>
            <p:cNvPr id="564" name="Google Shape;564;p86"/>
            <p:cNvCxnSpPr/>
            <p:nvPr/>
          </p:nvCxnSpPr>
          <p:spPr>
            <a:xfrm>
              <a:off x="10269725" y="4641148"/>
              <a:ext cx="1584900" cy="9900"/>
            </a:xfrm>
            <a:prstGeom prst="straightConnector1">
              <a:avLst/>
            </a:prstGeom>
            <a:noFill/>
            <a:ln w="38100" cap="flat" cmpd="sng">
              <a:solidFill>
                <a:srgbClr val="FFFFFF"/>
              </a:solidFill>
              <a:prstDash val="solid"/>
              <a:round/>
              <a:headEnd type="none" w="sm" len="sm"/>
              <a:tailEnd type="none" w="sm" len="sm"/>
            </a:ln>
          </p:spPr>
        </p:cxnSp>
        <p:cxnSp>
          <p:nvCxnSpPr>
            <p:cNvPr id="565" name="Google Shape;565;p86"/>
            <p:cNvCxnSpPr/>
            <p:nvPr/>
          </p:nvCxnSpPr>
          <p:spPr>
            <a:xfrm>
              <a:off x="10215150" y="2964300"/>
              <a:ext cx="1584900" cy="9900"/>
            </a:xfrm>
            <a:prstGeom prst="straightConnector1">
              <a:avLst/>
            </a:prstGeom>
            <a:noFill/>
            <a:ln w="38100" cap="flat" cmpd="sng">
              <a:solidFill>
                <a:srgbClr val="FFFFFF"/>
              </a:solidFill>
              <a:prstDash val="solid"/>
              <a:round/>
              <a:headEnd type="none" w="sm" len="sm"/>
              <a:tailEnd type="none" w="sm" len="sm"/>
            </a:ln>
          </p:spPr>
        </p:cxnSp>
      </p:grpSp>
      <p:sp>
        <p:nvSpPr>
          <p:cNvPr id="566" name="Google Shape;566;p86"/>
          <p:cNvSpPr txBox="1"/>
          <p:nvPr/>
        </p:nvSpPr>
        <p:spPr>
          <a:xfrm>
            <a:off x="107425" y="6329996"/>
            <a:ext cx="4114800" cy="255300"/>
          </a:xfrm>
          <a:prstGeom prst="rect">
            <a:avLst/>
          </a:prstGeom>
          <a:noFill/>
          <a:ln>
            <a:noFill/>
          </a:ln>
        </p:spPr>
        <p:txBody>
          <a:bodyPr spcFirstLastPara="1" wrap="square" lIns="91425" tIns="91425" rIns="91425" bIns="91425" anchor="t" anchorCtr="0">
            <a:noAutofit/>
          </a:bodyPr>
          <a:lstStyle/>
          <a:p>
            <a:pPr>
              <a:buSzPts val="1200"/>
            </a:pPr>
            <a:r>
              <a:rPr lang="en-US" sz="1200" b="1">
                <a:latin typeface="Calibri"/>
                <a:ea typeface="Calibri"/>
                <a:cs typeface="Calibri"/>
                <a:sym typeface="Calibri"/>
              </a:rPr>
              <a:t>*Africa numbers are taken from official RCC and Member State reports. </a:t>
            </a:r>
            <a:endParaRPr sz="1200" b="1">
              <a:latin typeface="Calibri"/>
              <a:ea typeface="Calibri"/>
              <a:cs typeface="Calibri"/>
              <a:sym typeface="Calibri"/>
            </a:endParaRPr>
          </a:p>
        </p:txBody>
      </p:sp>
      <p:pic>
        <p:nvPicPr>
          <p:cNvPr id="567" name="Google Shape;567;p86" title="Chart"/>
          <p:cNvPicPr preferRelativeResize="0"/>
          <p:nvPr/>
        </p:nvPicPr>
        <p:blipFill rotWithShape="1">
          <a:blip r:embed="rId3">
            <a:alphaModFix/>
          </a:blip>
          <a:srcRect/>
          <a:stretch/>
        </p:blipFill>
        <p:spPr>
          <a:xfrm>
            <a:off x="927650" y="1259700"/>
            <a:ext cx="9121725" cy="4944376"/>
          </a:xfrm>
          <a:prstGeom prst="rect">
            <a:avLst/>
          </a:prstGeom>
          <a:noFill/>
          <a:ln>
            <a:noFill/>
          </a:ln>
        </p:spPr>
      </p:pic>
    </p:spTree>
    <p:extLst>
      <p:ext uri="{BB962C8B-B14F-4D97-AF65-F5344CB8AC3E}">
        <p14:creationId xmlns:p14="http://schemas.microsoft.com/office/powerpoint/2010/main" val="2768358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48"/>
        <p:cNvGrpSpPr/>
        <p:nvPr/>
      </p:nvGrpSpPr>
      <p:grpSpPr>
        <a:xfrm>
          <a:off x="0" y="0"/>
          <a:ext cx="0" cy="0"/>
          <a:chOff x="0" y="0"/>
          <a:chExt cx="0" cy="0"/>
        </a:xfrm>
      </p:grpSpPr>
      <p:pic>
        <p:nvPicPr>
          <p:cNvPr id="1149" name="Google Shape;1149;p100"/>
          <p:cNvPicPr preferRelativeResize="0"/>
          <p:nvPr/>
        </p:nvPicPr>
        <p:blipFill rotWithShape="1">
          <a:blip r:embed="rId3">
            <a:alphaModFix/>
          </a:blip>
          <a:srcRect/>
          <a:stretch/>
        </p:blipFill>
        <p:spPr>
          <a:xfrm>
            <a:off x="50792" y="19520"/>
            <a:ext cx="11912616" cy="6742760"/>
          </a:xfrm>
          <a:prstGeom prst="rect">
            <a:avLst/>
          </a:prstGeom>
          <a:noFill/>
          <a:ln>
            <a:noFill/>
          </a:ln>
        </p:spPr>
      </p:pic>
    </p:spTree>
    <p:extLst>
      <p:ext uri="{BB962C8B-B14F-4D97-AF65-F5344CB8AC3E}">
        <p14:creationId xmlns:p14="http://schemas.microsoft.com/office/powerpoint/2010/main" val="2720529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53"/>
        <p:cNvGrpSpPr/>
        <p:nvPr/>
      </p:nvGrpSpPr>
      <p:grpSpPr>
        <a:xfrm>
          <a:off x="0" y="0"/>
          <a:ext cx="0" cy="0"/>
          <a:chOff x="0" y="0"/>
          <a:chExt cx="0" cy="0"/>
        </a:xfrm>
      </p:grpSpPr>
      <p:pic>
        <p:nvPicPr>
          <p:cNvPr id="1154" name="Google Shape;1154;p101"/>
          <p:cNvPicPr preferRelativeResize="0"/>
          <p:nvPr/>
        </p:nvPicPr>
        <p:blipFill rotWithShape="1">
          <a:blip r:embed="rId3">
            <a:alphaModFix/>
          </a:blip>
          <a:srcRect/>
          <a:stretch/>
        </p:blipFill>
        <p:spPr>
          <a:xfrm>
            <a:off x="15740" y="69299"/>
            <a:ext cx="11906520" cy="6846401"/>
          </a:xfrm>
          <a:prstGeom prst="rect">
            <a:avLst/>
          </a:prstGeom>
          <a:noFill/>
          <a:ln>
            <a:noFill/>
          </a:ln>
        </p:spPr>
      </p:pic>
    </p:spTree>
    <p:extLst>
      <p:ext uri="{BB962C8B-B14F-4D97-AF65-F5344CB8AC3E}">
        <p14:creationId xmlns:p14="http://schemas.microsoft.com/office/powerpoint/2010/main" val="38601389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72"/>
        <p:cNvGrpSpPr/>
        <p:nvPr/>
      </p:nvGrpSpPr>
      <p:grpSpPr>
        <a:xfrm>
          <a:off x="0" y="0"/>
          <a:ext cx="0" cy="0"/>
          <a:chOff x="0" y="0"/>
          <a:chExt cx="0" cy="0"/>
        </a:xfrm>
      </p:grpSpPr>
      <p:sp>
        <p:nvSpPr>
          <p:cNvPr id="573" name="Google Shape;573;p87"/>
          <p:cNvSpPr txBox="1">
            <a:spLocks noGrp="1"/>
          </p:cNvSpPr>
          <p:nvPr>
            <p:ph type="title"/>
          </p:nvPr>
        </p:nvSpPr>
        <p:spPr>
          <a:xfrm>
            <a:off x="831850" y="1709738"/>
            <a:ext cx="10515600" cy="2852700"/>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SzPts val="6000"/>
              <a:buNone/>
            </a:pPr>
            <a:r>
              <a:rPr lang="en-US" dirty="0">
                <a:solidFill>
                  <a:schemeClr val="tx1"/>
                </a:solidFill>
              </a:rPr>
              <a:t>Africa CDC COVID-19 Response Initiatives</a:t>
            </a:r>
            <a:endParaRPr dirty="0">
              <a:solidFill>
                <a:schemeClr val="tx1"/>
              </a:solidFill>
            </a:endParaRPr>
          </a:p>
        </p:txBody>
      </p:sp>
      <p:sp>
        <p:nvSpPr>
          <p:cNvPr id="574" name="Google Shape;574;p87"/>
          <p:cNvSpPr txBox="1">
            <a:spLocks noGrp="1"/>
          </p:cNvSpPr>
          <p:nvPr>
            <p:ph type="body" idx="1"/>
          </p:nvPr>
        </p:nvSpPr>
        <p:spPr>
          <a:xfrm>
            <a:off x="831850" y="4589463"/>
            <a:ext cx="10515600" cy="15003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1000"/>
              </a:spcBef>
              <a:spcAft>
                <a:spcPts val="0"/>
              </a:spcAft>
              <a:buSzPts val="2400"/>
              <a:buNone/>
            </a:pPr>
            <a:endParaRPr/>
          </a:p>
        </p:txBody>
      </p:sp>
    </p:spTree>
    <p:extLst>
      <p:ext uri="{BB962C8B-B14F-4D97-AF65-F5344CB8AC3E}">
        <p14:creationId xmlns:p14="http://schemas.microsoft.com/office/powerpoint/2010/main" val="41485463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nnMu74A1y2a4fxsbvy1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mS7KM.w.jH6z5880fZBUQ"/>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ynnMu74A1y2a4fxsbvy1ew"/>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mS7KM.w.jH6z5880fZBU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9_kNPqG4icJMcirKv8OO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F2hZ7wPlpcR2ucBXVv6Gw"/>
</p:tagLst>
</file>

<file path=ppt/tags/tag137.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38.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39.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1.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2.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3.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4.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5.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6.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7.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8.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49.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1.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2.xml><?xml version="1.0" encoding="utf-8"?>
<p:tagLst xmlns:a="http://schemas.openxmlformats.org/drawingml/2006/main" xmlns:r="http://schemas.openxmlformats.org/officeDocument/2006/relationships" xmlns:p="http://schemas.openxmlformats.org/presentationml/2006/main">
  <p:tag name="NAME" val="ConnectorRectangle"/>
</p:tagLst>
</file>

<file path=ppt/tags/tag153.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4.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5.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6.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7.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8.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59.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61.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62.xml><?xml version="1.0" encoding="utf-8"?>
<p:tagLst xmlns:a="http://schemas.openxmlformats.org/drawingml/2006/main" xmlns:r="http://schemas.openxmlformats.org/officeDocument/2006/relationships" xmlns:p="http://schemas.openxmlformats.org/presentationml/2006/main">
  <p:tag name="MTTABLE" val="Cell"/>
  <p:tag name="MTNUMBER" val="0.223875078476907"/>
  <p:tag name="LEFT" val="9.375039"/>
  <p:tag name="WIDTH" val="170.6"/>
  <p:tag name="TOP" val="109.3875"/>
  <p:tag name="HEIGHT" val="4.707559"/>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7GMHitP9ZyA4O7bL6d01mw"/>
</p:tagLst>
</file>

<file path=ppt/tags/tag165.xml><?xml version="1.0" encoding="utf-8"?>
<p:tagLst xmlns:a="http://schemas.openxmlformats.org/drawingml/2006/main" xmlns:r="http://schemas.openxmlformats.org/officeDocument/2006/relationships" xmlns:p="http://schemas.openxmlformats.org/presentationml/2006/main">
  <p:tag name="NAME" val="Rectangle"/>
</p:tagLst>
</file>

<file path=ppt/tags/tag166.xml><?xml version="1.0" encoding="utf-8"?>
<p:tagLst xmlns:a="http://schemas.openxmlformats.org/drawingml/2006/main" xmlns:r="http://schemas.openxmlformats.org/officeDocument/2006/relationships" xmlns:p="http://schemas.openxmlformats.org/presentationml/2006/main">
  <p:tag name="NAME" val="TrackerNum"/>
</p:tagLst>
</file>

<file path=ppt/tags/tag167.xml><?xml version="1.0" encoding="utf-8"?>
<p:tagLst xmlns:a="http://schemas.openxmlformats.org/drawingml/2006/main" xmlns:r="http://schemas.openxmlformats.org/officeDocument/2006/relationships" xmlns:p="http://schemas.openxmlformats.org/presentationml/2006/main">
  <p:tag name="NAME" val="TrackerNum"/>
</p:tagLst>
</file>

<file path=ppt/tags/tag168.xml><?xml version="1.0" encoding="utf-8"?>
<p:tagLst xmlns:a="http://schemas.openxmlformats.org/drawingml/2006/main" xmlns:r="http://schemas.openxmlformats.org/officeDocument/2006/relationships" xmlns:p="http://schemas.openxmlformats.org/presentationml/2006/main">
  <p:tag name="NAME" val="TrackerNum"/>
</p:tagLst>
</file>

<file path=ppt/tags/tag169.xml><?xml version="1.0" encoding="utf-8"?>
<p:tagLst xmlns:a="http://schemas.openxmlformats.org/drawingml/2006/main" xmlns:r="http://schemas.openxmlformats.org/officeDocument/2006/relationships" xmlns:p="http://schemas.openxmlformats.org/presentationml/2006/main">
  <p:tag name="NAME" val="Rectangl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NAME" val="TrackerNum"/>
</p:tagLst>
</file>

<file path=ppt/tags/tag171.xml><?xml version="1.0" encoding="utf-8"?>
<p:tagLst xmlns:a="http://schemas.openxmlformats.org/drawingml/2006/main" xmlns:r="http://schemas.openxmlformats.org/officeDocument/2006/relationships" xmlns:p="http://schemas.openxmlformats.org/presentationml/2006/main">
  <p:tag name="NAME" val="DoubleChevron3"/>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7GMHitP9ZyA4O7bL6d01mw"/>
</p:tagLst>
</file>

<file path=ppt/tags/tag174.xml><?xml version="1.0" encoding="utf-8"?>
<p:tagLst xmlns:a="http://schemas.openxmlformats.org/drawingml/2006/main" xmlns:r="http://schemas.openxmlformats.org/officeDocument/2006/relationships" xmlns:p="http://schemas.openxmlformats.org/presentationml/2006/main">
  <p:tag name="NAME" val="DoubleChevron3"/>
</p:tagLst>
</file>

<file path=ppt/tags/tag175.xml><?xml version="1.0" encoding="utf-8"?>
<p:tagLst xmlns:a="http://schemas.openxmlformats.org/drawingml/2006/main" xmlns:r="http://schemas.openxmlformats.org/officeDocument/2006/relationships" xmlns:p="http://schemas.openxmlformats.org/presentationml/2006/main">
  <p:tag name="NAME" val="DoubleChevron3"/>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Kd1gpMkUJo_DuQ2_R6QtQ"/>
</p:tagLst>
</file>

<file path=ppt/tags/tag178.xml><?xml version="1.0" encoding="utf-8"?>
<p:tagLst xmlns:a="http://schemas.openxmlformats.org/drawingml/2006/main" xmlns:r="http://schemas.openxmlformats.org/officeDocument/2006/relationships" xmlns:p="http://schemas.openxmlformats.org/presentationml/2006/main">
  <p:tag name="NAME" val="Rectangle"/>
</p:tagLst>
</file>

<file path=ppt/tags/tag179.xml><?xml version="1.0" encoding="utf-8"?>
<p:tagLst xmlns:a="http://schemas.openxmlformats.org/drawingml/2006/main" xmlns:r="http://schemas.openxmlformats.org/officeDocument/2006/relationships" xmlns:p="http://schemas.openxmlformats.org/presentationml/2006/main">
  <p:tag name="NAME" val="DoubleChevron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CustomIcon"/>
</p:tagLst>
</file>

<file path=ppt/tags/tag181.xml><?xml version="1.0" encoding="utf-8"?>
<p:tagLst xmlns:a="http://schemas.openxmlformats.org/drawingml/2006/main" xmlns:r="http://schemas.openxmlformats.org/officeDocument/2006/relationships" xmlns:p="http://schemas.openxmlformats.org/presentationml/2006/main">
  <p:tag name="NAME" val="CustomIcon"/>
</p:tagLst>
</file>

<file path=ppt/tags/tag182.xml><?xml version="1.0" encoding="utf-8"?>
<p:tagLst xmlns:a="http://schemas.openxmlformats.org/drawingml/2006/main" xmlns:r="http://schemas.openxmlformats.org/officeDocument/2006/relationships" xmlns:p="http://schemas.openxmlformats.org/presentationml/2006/main">
  <p:tag name="NAME" val="CustomIcon"/>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zkHSoo1Qghj5iMIa4i07w"/>
</p:tagLst>
</file>

<file path=ppt/tags/tag185.xml><?xml version="1.0" encoding="utf-8"?>
<p:tagLst xmlns:a="http://schemas.openxmlformats.org/drawingml/2006/main" xmlns:r="http://schemas.openxmlformats.org/officeDocument/2006/relationships" xmlns:p="http://schemas.openxmlformats.org/presentationml/2006/main">
  <p:tag name="NAME" val="Rectangle"/>
</p:tagLst>
</file>

<file path=ppt/tags/tag186.xml><?xml version="1.0" encoding="utf-8"?>
<p:tagLst xmlns:a="http://schemas.openxmlformats.org/drawingml/2006/main" xmlns:r="http://schemas.openxmlformats.org/officeDocument/2006/relationships" xmlns:p="http://schemas.openxmlformats.org/presentationml/2006/main">
  <p:tag name="NAME" val="CustomIcon"/>
</p:tagLst>
</file>

<file path=ppt/tags/tag187.xml><?xml version="1.0" encoding="utf-8"?>
<p:tagLst xmlns:a="http://schemas.openxmlformats.org/drawingml/2006/main" xmlns:r="http://schemas.openxmlformats.org/officeDocument/2006/relationships" xmlns:p="http://schemas.openxmlformats.org/presentationml/2006/main">
  <p:tag name="NAME" val="CustomIcon"/>
</p:tagLst>
</file>

<file path=ppt/tags/tag188.xml><?xml version="1.0" encoding="utf-8"?>
<p:tagLst xmlns:a="http://schemas.openxmlformats.org/drawingml/2006/main" xmlns:r="http://schemas.openxmlformats.org/officeDocument/2006/relationships" xmlns:p="http://schemas.openxmlformats.org/presentationml/2006/main">
  <p:tag name="NAME" val="CustomIcon"/>
</p:tagLst>
</file>

<file path=ppt/tags/tag189.xml><?xml version="1.0" encoding="utf-8"?>
<p:tagLst xmlns:a="http://schemas.openxmlformats.org/drawingml/2006/main" xmlns:r="http://schemas.openxmlformats.org/officeDocument/2006/relationships" xmlns:p="http://schemas.openxmlformats.org/presentationml/2006/main">
  <p:tag name="NAME" val="CustomIco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nnMu74A1y2a4fxsbvy1ew"/>
</p:tagLst>
</file>

<file path=ppt/tags/tag190.xml><?xml version="1.0" encoding="utf-8"?>
<p:tagLst xmlns:a="http://schemas.openxmlformats.org/drawingml/2006/main" xmlns:r="http://schemas.openxmlformats.org/officeDocument/2006/relationships" xmlns:p="http://schemas.openxmlformats.org/presentationml/2006/main">
  <p:tag name="NAME" val="CustomIcon"/>
</p:tagLst>
</file>

<file path=ppt/tags/tag191.xml><?xml version="1.0" encoding="utf-8"?>
<p:tagLst xmlns:a="http://schemas.openxmlformats.org/drawingml/2006/main" xmlns:r="http://schemas.openxmlformats.org/officeDocument/2006/relationships" xmlns:p="http://schemas.openxmlformats.org/presentationml/2006/main">
  <p:tag name="NAME" val="DoubleChevron3"/>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IZfkWwnQvkP9jRkRDrzM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sj.nNGgY9BmU18IjGz1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XL_Muz3S15TpINqcQ2ag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hJ7VGYbxBIAm98YUhB9Y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3n_AJRRLv.viKlDMXNcP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x.e4zYYbhDTZO5AI6l9z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BCplrIZMzUkutrmXMbU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NvbXi8FccD2Vi0N830KhD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n06VgtOuFjx3JfCqvraFz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074WdXJVRRPXO6dAelb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ST0FbIRPcJGlUbbz95Ox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C5jlj11pUJt.He6Jy5.5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WYtTrKbxjbDrhaaT.F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Ut5f4dtw2b1.d5LnXMOw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rkk8KqyR4mhdNXwjMX5A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yjya0nbLT3jsMgG.apmP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ho6KEYzgoOw1BenpVPL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mS7KM.w.jH6z5880fZBU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9sYArcEcVZh6Y8t7fgH3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3xNGq3.fkS8Fqpi_ABID7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6JyRQZoMunHfuSWORe3b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CTqIIHfpC0fg3FFqBR05T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Oj4OwvKGYQ.8hkNeAL_Ta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sQFAiknZAajezjeDKdT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NrxEyVScvxSI9HQWXKdg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JWu1qVjXIDY.7d1AOgpQ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lb3LLw1iGH.X3QAhX521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k4ZAMGyEgZOgQ0234cm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yhVqe85qwgbRB0g8QxOwI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W0mduXEwKKbhh3haqLhi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5IEFlPJqL27G4lkXpZDlr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iKh_GNGe1lL.brYG1SvN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KVVZLQGNkzBmzvtCQR3.B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1LaUEKyFPnviWBeJlmjHn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o5VI_8CY92NHn0hKmNSf3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pmyzcA4rPwZqQUSS9_kX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Fx5sFdcEy_Ez_UV7X_s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8szIRVBxIRTC9B2JfJN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eJub8R8vzE4li9Jpcgf6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gpmyzcA4rPwZqQUSS9_kX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j4OwvKGYQ.8hkNeAL_Ta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06VgtOuFjx3JfCqvraFz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cETRJ6p7Fv9tWVoe6rgdY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ST0FbIRPcJGlUbbz95Ox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CNNPggDDxEPGUwCidVx05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Ut5f4dtw2b1.d5LnXMOw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06VgtOuFjx3JfCqvraFz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Ut5f4dtw2b1.d5LnXMO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IZfkWwnQvkP9jRkRDrzM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ErgqrRbLCmgWI.RY7oStx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hJ7VGYbxBIAm98YUhB9Y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_oYstk356eWchyYwy71BP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cETRJ6p7Fv9tWVoe6rgdY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OSzjfhOks5vBawM4Ul_cH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2hCTUr0Q4yNxTY3nHuoA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sQFAiknZAajezjeDKdT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9JWu1qVjXIDY.7d1AOgpQA"/>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4lb3LLw1iGH.X3QAhX521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k4ZAMGyEgZOgQ0234cmH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yhVqe85qwgbRB0g8QxOwI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WW0mduXEwKKbhh3haqLhi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5IEFlPJqL27G4lkXpZDlr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GiKh_GNGe1lL.brYG1SvN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VVZLQGNkzBmzvtCQR3.B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1LaUEKyFPnviWBeJlmjHn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o5VI_8CY92NHn0hKmNSf3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gpmyzcA4rPwZqQUSS9_kXw"/>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GFx5sFdcEy_Ez_UV7X_sJ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n8szIRVBxIRTC9B2JfJNB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eJub8R8vzE4li9Jpcgf6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pmyzcA4rPwZqQUSS9_kX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Oj4OwvKGYQ.8hkNeAL_Ta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cETRJ6p7Fv9tWVoe6rgd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9bo2BHgyUo4Ee4gPei5HNQ"/>
</p:tagLst>
</file>

<file path=ppt/tags/tag268.xml><?xml version="1.0" encoding="utf-8"?>
<p:tagLst xmlns:a="http://schemas.openxmlformats.org/drawingml/2006/main" xmlns:r="http://schemas.openxmlformats.org/officeDocument/2006/relationships" xmlns:p="http://schemas.openxmlformats.org/presentationml/2006/main">
  <p:tag name="NAME" val="TrackerNum"/>
</p:tagLst>
</file>

<file path=ppt/tags/tag269.xml><?xml version="1.0" encoding="utf-8"?>
<p:tagLst xmlns:a="http://schemas.openxmlformats.org/drawingml/2006/main" xmlns:r="http://schemas.openxmlformats.org/officeDocument/2006/relationships" xmlns:p="http://schemas.openxmlformats.org/presentationml/2006/main">
  <p:tag name="NAME" val="TrackerNum"/>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NAME" val="TrackerNum"/>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gayRaBnGwSrcsjnG6DGsO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eNTnOSDjsGQAFuLSv88Aq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O3DTopF1l1fBz06WxW7j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SDWZE.uh2T4cIlRxoF4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l8ku47XM_aQCFrpFzu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XLNHukXJn3Q3biwg_3gW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g8vGJm.XM3bg4cI1mgQTl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L3b17RwTijheMIhIFZGCQ"/>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SS5EENicgt5qPZNoDdIJG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6tt2qNlq89yWp3W0J5xP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ewLyNonrnPn.k9kEjFlG4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5NjDWjM0jpKev4uzfMcOp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3n3vB1zuSOV6OT9N1CqoX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UgzSlIbFKZE.tI6i5yj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uM2n7IbgZUB1i7L0BDFtp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QDIioDKqbyGqL6XEJYuq_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c_e5uNSu5JAxK1nypD4zO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LSzUe4hCR9ieJbewz8vyTA"/>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u9C7ZSWdIelE5YWOwfhF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5Dhu4n_lu1OFo1NXbSr3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TXKRDX3ziaGDgl1sXbV8g"/>
</p:tagLst>
</file>

<file path=ppt/tags/tag293.xml><?xml version="1.0" encoding="utf-8"?>
<p:tagLst xmlns:a="http://schemas.openxmlformats.org/drawingml/2006/main" xmlns:r="http://schemas.openxmlformats.org/officeDocument/2006/relationships" xmlns:p="http://schemas.openxmlformats.org/presentationml/2006/main">
  <p:tag name="NAME" val="CustomIcon"/>
</p:tagLst>
</file>

<file path=ppt/tags/tag294.xml><?xml version="1.0" encoding="utf-8"?>
<p:tagLst xmlns:a="http://schemas.openxmlformats.org/drawingml/2006/main" xmlns:r="http://schemas.openxmlformats.org/officeDocument/2006/relationships" xmlns:p="http://schemas.openxmlformats.org/presentationml/2006/main">
  <p:tag name="NAME" val="CustomIcon"/>
</p:tagLst>
</file>

<file path=ppt/tags/tag295.xml><?xml version="1.0" encoding="utf-8"?>
<p:tagLst xmlns:a="http://schemas.openxmlformats.org/drawingml/2006/main" xmlns:r="http://schemas.openxmlformats.org/officeDocument/2006/relationships" xmlns:p="http://schemas.openxmlformats.org/presentationml/2006/main">
  <p:tag name="NAME" val="CustomIc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nnMu74A1y2a4fxsbvy1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mS7KM.w.jH6z5880fZB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nnMu74A1y2a4fxsbvy1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mS7KM.w.jH6z5880fZBU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nnMu74A1y2a4fxsbvy1e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mS7KM.w.jH6z5880fZBU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6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12.xml><?xml version="1.0" encoding="utf-8"?>
<a:theme xmlns:a="http://schemas.openxmlformats.org/drawingml/2006/main" name="5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1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4.xml><?xml version="1.0" encoding="utf-8"?>
<a:theme xmlns:a="http://schemas.openxmlformats.org/drawingml/2006/main" name="1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5.xml><?xml version="1.0" encoding="utf-8"?>
<a:theme xmlns:a="http://schemas.openxmlformats.org/drawingml/2006/main" name="2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6.xml><?xml version="1.0" encoding="utf-8"?>
<a:theme xmlns:a="http://schemas.openxmlformats.org/drawingml/2006/main" name="3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frica CDC_CF_GAE440.potx" id="{FE778DB6-A231-4256-9609-C32C828C1E95}" vid="{556BD2BE-1853-4D71-9A76-EFC859238E80}"/>
    </a:ext>
  </a:extLst>
</a:theme>
</file>

<file path=ppt/theme/theme7.xml><?xml version="1.0" encoding="utf-8"?>
<a:theme xmlns:a="http://schemas.openxmlformats.org/drawingml/2006/main" name="4_Africa CDC_CF_GAE440">
  <a:themeElements>
    <a:clrScheme name="Current">
      <a:dk1>
        <a:srgbClr val="000000"/>
      </a:dk1>
      <a:lt1>
        <a:srgbClr val="FFFFFF"/>
      </a:lt1>
      <a:dk2>
        <a:srgbClr val="303D24"/>
      </a:dk2>
      <a:lt2>
        <a:srgbClr val="FFFFFF"/>
      </a:lt2>
      <a:accent1>
        <a:srgbClr val="DED1B8"/>
      </a:accent1>
      <a:accent2>
        <a:srgbClr val="6B9850"/>
      </a:accent2>
      <a:accent3>
        <a:srgbClr val="4D6B38"/>
      </a:accent3>
      <a:accent4>
        <a:srgbClr val="303D24"/>
      </a:accent4>
      <a:accent5>
        <a:srgbClr val="836C3D"/>
      </a:accent5>
      <a:accent6>
        <a:srgbClr val="808080"/>
      </a:accent6>
      <a:hlink>
        <a:srgbClr val="4D6B38"/>
      </a:hlink>
      <a:folHlink>
        <a:srgbClr val="303D2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305</Words>
  <Application>Microsoft Office PowerPoint</Application>
  <PresentationFormat>Breitbild</PresentationFormat>
  <Paragraphs>462</Paragraphs>
  <Slides>25</Slides>
  <Notes>13</Notes>
  <HiddenSlides>0</HiddenSlides>
  <MMClips>0</MMClips>
  <ScaleCrop>false</ScaleCrop>
  <HeadingPairs>
    <vt:vector size="8" baseType="variant">
      <vt:variant>
        <vt:lpstr>Verwendete Schriftarten</vt:lpstr>
      </vt:variant>
      <vt:variant>
        <vt:i4>6</vt:i4>
      </vt:variant>
      <vt:variant>
        <vt:lpstr>Design</vt:lpstr>
      </vt:variant>
      <vt:variant>
        <vt:i4>12</vt:i4>
      </vt:variant>
      <vt:variant>
        <vt:lpstr>Eingebettete OLE-Server</vt:lpstr>
      </vt:variant>
      <vt:variant>
        <vt:i4>1</vt:i4>
      </vt:variant>
      <vt:variant>
        <vt:lpstr>Folientitel</vt:lpstr>
      </vt:variant>
      <vt:variant>
        <vt:i4>25</vt:i4>
      </vt:variant>
    </vt:vector>
  </HeadingPairs>
  <TitlesOfParts>
    <vt:vector size="44" baseType="lpstr">
      <vt:lpstr>Argumentum Ultra Light</vt:lpstr>
      <vt:lpstr>Arial</vt:lpstr>
      <vt:lpstr>Avenir Black</vt:lpstr>
      <vt:lpstr>Baskerville</vt:lpstr>
      <vt:lpstr>Calibri</vt:lpstr>
      <vt:lpstr>MS London</vt:lpstr>
      <vt:lpstr>1_Office Theme</vt:lpstr>
      <vt:lpstr>Office Theme</vt:lpstr>
      <vt:lpstr>Africa CDC_CF_GAE440</vt:lpstr>
      <vt:lpstr>1_Africa CDC_CF_GAE440</vt:lpstr>
      <vt:lpstr>2_Africa CDC_CF_GAE440</vt:lpstr>
      <vt:lpstr>3_Africa CDC_CF_GAE440</vt:lpstr>
      <vt:lpstr>4_Africa CDC_CF_GAE440</vt:lpstr>
      <vt:lpstr>2_Office Theme</vt:lpstr>
      <vt:lpstr>3_Office Theme</vt:lpstr>
      <vt:lpstr>4_Office Theme</vt:lpstr>
      <vt:lpstr>6_Africa CDC_CF_GAE440</vt:lpstr>
      <vt:lpstr>5_Africa CDC_CF_GAE440</vt:lpstr>
      <vt:lpstr>think-cell Slide</vt:lpstr>
      <vt:lpstr>Africa CDC Response  to COVID-19 Pandemic  in Africa   Dr. Wessam Mankoula Africa CDC Incident Manger for COVID-19</vt:lpstr>
      <vt:lpstr>COVID-19 Situation in Africa as of 9 November 2020, 9am EAT</vt:lpstr>
      <vt:lpstr>PowerPoint-Präsentation</vt:lpstr>
      <vt:lpstr>PowerPoint-Präsentation</vt:lpstr>
      <vt:lpstr>PowerPoint-Präsentation</vt:lpstr>
      <vt:lpstr>Total COVID-19 tests conducted in Africa  between 14 February - 2 November 2020</vt:lpstr>
      <vt:lpstr>PowerPoint-Präsentation</vt:lpstr>
      <vt:lpstr>PowerPoint-Präsentation</vt:lpstr>
      <vt:lpstr>Africa CDC COVID-19 Response Initiatives</vt:lpstr>
      <vt:lpstr>The six-pronged approach</vt:lpstr>
      <vt:lpstr>Key milestones in Africa Union Commission and Africa CDC’s COVID-19 response</vt:lpstr>
      <vt:lpstr>Overview of the Africa Task Force for Coronavirus (AFTCOR)</vt:lpstr>
      <vt:lpstr>Surveillance in Feb. 2020: Africa CDC and partners have launched training targeting both enhanced surveillance at points of entry (POE) and event-based surveillance (EBS) in Africa</vt:lpstr>
      <vt:lpstr>Laboratory in Feb. 2020: Africa CDC, and other partners are rolling out a series of trainings in order to ensure MS has access to diagnostic capabilities for COVID-19</vt:lpstr>
      <vt:lpstr>Infection Prevention &amp; Control, Feb 2020: Africa CDC supporting countries on IPC through capability building of 23 Member States and tailored technical assistance</vt:lpstr>
      <vt:lpstr>Risk Communication &amp; Clinical Care Management: Africa CDC is building countries’ risk comms capacities and building out a clinician network </vt:lpstr>
      <vt:lpstr>Africa CDC Summary Dashboard: Trainings and Supplies, 13 November 2020</vt:lpstr>
      <vt:lpstr>Africa CDC Summary Dashboard: Work Force Deployment, 13 November 2020</vt:lpstr>
      <vt:lpstr>PowerPoint-Präsentation</vt:lpstr>
      <vt:lpstr>PowerPoint-Präsentation</vt:lpstr>
      <vt:lpstr>Considerations for opening economies</vt:lpstr>
      <vt:lpstr>The Africa COVID-19 Vaccine Development and Access Strategy has three major prongs</vt:lpstr>
      <vt:lpstr>Fully vaccinating the entire African population is expected to cost $23-35 B</vt:lpstr>
      <vt:lpstr>What is next?</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Pandemic  Epidemiological Situation  as of 26 August 2020</dc:title>
  <dc:creator>Wessam Mankoula</dc:creator>
  <cp:lastModifiedBy>Tomczyk, Sara</cp:lastModifiedBy>
  <cp:revision>23</cp:revision>
  <dcterms:modified xsi:type="dcterms:W3CDTF">2020-11-18T10:32:21Z</dcterms:modified>
</cp:coreProperties>
</file>